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ags/tag1.xml" ContentType="application/vnd.openxmlformats-officedocument.presentationml.tags+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theme/theme2.xml" ContentType="application/vnd.openxmlformats-officedocument.theme+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3.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4.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5.xml" ContentType="application/vnd.openxmlformats-officedocument.theme+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6.xml" ContentType="application/vnd.openxmlformats-officedocument.theme+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5" r:id="rId2"/>
    <p:sldMasterId id="2147484376" r:id="rId3"/>
    <p:sldMasterId id="2147484388" r:id="rId4"/>
    <p:sldMasterId id="2147484405" r:id="rId5"/>
    <p:sldMasterId id="2147484417" r:id="rId6"/>
    <p:sldMasterId id="2147484452" r:id="rId7"/>
  </p:sldMasterIdLst>
  <p:notesMasterIdLst>
    <p:notesMasterId r:id="rId51"/>
  </p:notesMasterIdLst>
  <p:sldIdLst>
    <p:sldId id="2147477470" r:id="rId8"/>
    <p:sldId id="2147477510" r:id="rId9"/>
    <p:sldId id="257" r:id="rId10"/>
    <p:sldId id="399" r:id="rId11"/>
    <p:sldId id="401" r:id="rId12"/>
    <p:sldId id="383" r:id="rId13"/>
    <p:sldId id="409" r:id="rId14"/>
    <p:sldId id="410" r:id="rId15"/>
    <p:sldId id="390" r:id="rId16"/>
    <p:sldId id="404" r:id="rId17"/>
    <p:sldId id="403" r:id="rId18"/>
    <p:sldId id="405" r:id="rId19"/>
    <p:sldId id="407" r:id="rId20"/>
    <p:sldId id="408" r:id="rId21"/>
    <p:sldId id="402" r:id="rId22"/>
    <p:sldId id="2443" r:id="rId23"/>
    <p:sldId id="2541" r:id="rId24"/>
    <p:sldId id="2147477503" r:id="rId25"/>
    <p:sldId id="262" r:id="rId26"/>
    <p:sldId id="259" r:id="rId27"/>
    <p:sldId id="263" r:id="rId28"/>
    <p:sldId id="2147477501" r:id="rId29"/>
    <p:sldId id="2147477502" r:id="rId30"/>
    <p:sldId id="2147477507" r:id="rId31"/>
    <p:sldId id="269" r:id="rId32"/>
    <p:sldId id="312" r:id="rId33"/>
    <p:sldId id="306" r:id="rId34"/>
    <p:sldId id="308" r:id="rId35"/>
    <p:sldId id="310" r:id="rId36"/>
    <p:sldId id="309" r:id="rId37"/>
    <p:sldId id="307" r:id="rId38"/>
    <p:sldId id="2147477508" r:id="rId39"/>
    <p:sldId id="2533" r:id="rId40"/>
    <p:sldId id="2147477498" r:id="rId41"/>
    <p:sldId id="2147477506" r:id="rId42"/>
    <p:sldId id="2544" r:id="rId43"/>
    <p:sldId id="2147477509" r:id="rId44"/>
    <p:sldId id="2546" r:id="rId45"/>
    <p:sldId id="2147477499" r:id="rId46"/>
    <p:sldId id="2545" r:id="rId47"/>
    <p:sldId id="2147477495" r:id="rId48"/>
    <p:sldId id="2547" r:id="rId49"/>
    <p:sldId id="2548"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49A57A-059C-4EE4-B085-DBAF52F2AF1E}" v="353" dt="2024-07-18T17:07:46.5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80630" autoAdjust="0"/>
  </p:normalViewPr>
  <p:slideViewPr>
    <p:cSldViewPr snapToGrid="0">
      <p:cViewPr varScale="1">
        <p:scale>
          <a:sx n="89" d="100"/>
          <a:sy n="89" d="100"/>
        </p:scale>
        <p:origin x="594"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viewProps" Target="viewProps.xml"/><Relationship Id="rId5" Type="http://schemas.openxmlformats.org/officeDocument/2006/relationships/slideMaster" Target="slideMasters/slideMaster5.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microsoft.com/office/2016/11/relationships/changesInfo" Target="changesInfos/changesInfo1.xml"/><Relationship Id="rId8" Type="http://schemas.openxmlformats.org/officeDocument/2006/relationships/slide" Target="slides/slide1.xml"/><Relationship Id="rId51"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microsoft.com/office/2015/10/relationships/revisionInfo" Target="revisionInfo.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Cernik" userId="1cd5a177061dda4b" providerId="LiveId" clId="{7849A57A-059C-4EE4-B085-DBAF52F2AF1E}"/>
    <pc:docChg chg="undo custSel addSld delSld modSld sldOrd delMainMaster">
      <pc:chgData name="Alex Cernik" userId="1cd5a177061dda4b" providerId="LiveId" clId="{7849A57A-059C-4EE4-B085-DBAF52F2AF1E}" dt="2024-07-18T17:14:18.116" v="748" actId="26606"/>
      <pc:docMkLst>
        <pc:docMk/>
      </pc:docMkLst>
      <pc:sldChg chg="addSp delSp modSp add mod modClrScheme chgLayout">
        <pc:chgData name="Alex Cernik" userId="1cd5a177061dda4b" providerId="LiveId" clId="{7849A57A-059C-4EE4-B085-DBAF52F2AF1E}" dt="2024-07-18T16:53:21.048" v="351" actId="1076"/>
        <pc:sldMkLst>
          <pc:docMk/>
          <pc:sldMk cId="1801526464" sldId="257"/>
        </pc:sldMkLst>
        <pc:spChg chg="mod ord">
          <ac:chgData name="Alex Cernik" userId="1cd5a177061dda4b" providerId="LiveId" clId="{7849A57A-059C-4EE4-B085-DBAF52F2AF1E}" dt="2024-07-18T16:49:07.022" v="276" actId="700"/>
          <ac:spMkLst>
            <pc:docMk/>
            <pc:sldMk cId="1801526464" sldId="257"/>
            <ac:spMk id="2" creationId="{B64F1942-814C-3C4C-B0E1-2BB1C10E5681}"/>
          </ac:spMkLst>
        </pc:spChg>
        <pc:spChg chg="mod ord">
          <ac:chgData name="Alex Cernik" userId="1cd5a177061dda4b" providerId="LiveId" clId="{7849A57A-059C-4EE4-B085-DBAF52F2AF1E}" dt="2024-07-18T16:49:07.040" v="277" actId="27636"/>
          <ac:spMkLst>
            <pc:docMk/>
            <pc:sldMk cId="1801526464" sldId="257"/>
            <ac:spMk id="3" creationId="{48939EE4-25B3-7941-A7C0-F03305913CC2}"/>
          </ac:spMkLst>
        </pc:spChg>
        <pc:picChg chg="add mod modCrop">
          <ac:chgData name="Alex Cernik" userId="1cd5a177061dda4b" providerId="LiveId" clId="{7849A57A-059C-4EE4-B085-DBAF52F2AF1E}" dt="2024-07-18T16:49:49.131" v="282" actId="1076"/>
          <ac:picMkLst>
            <pc:docMk/>
            <pc:sldMk cId="1801526464" sldId="257"/>
            <ac:picMk id="5" creationId="{3D34A123-A4B1-BFE7-5238-1DBB326AD080}"/>
          </ac:picMkLst>
        </pc:picChg>
        <pc:picChg chg="add mod">
          <ac:chgData name="Alex Cernik" userId="1cd5a177061dda4b" providerId="LiveId" clId="{7849A57A-059C-4EE4-B085-DBAF52F2AF1E}" dt="2024-07-18T16:52:16.594" v="346" actId="14100"/>
          <ac:picMkLst>
            <pc:docMk/>
            <pc:sldMk cId="1801526464" sldId="257"/>
            <ac:picMk id="7" creationId="{295E7390-E84F-F06A-ECD6-572161166197}"/>
          </ac:picMkLst>
        </pc:picChg>
        <pc:picChg chg="add del mod">
          <ac:chgData name="Alex Cernik" userId="1cd5a177061dda4b" providerId="LiveId" clId="{7849A57A-059C-4EE4-B085-DBAF52F2AF1E}" dt="2024-07-18T16:52:50.924" v="349" actId="478"/>
          <ac:picMkLst>
            <pc:docMk/>
            <pc:sldMk cId="1801526464" sldId="257"/>
            <ac:picMk id="9" creationId="{CFD9F982-B030-0856-FCA8-655B690F082B}"/>
          </ac:picMkLst>
        </pc:picChg>
        <pc:picChg chg="add mod">
          <ac:chgData name="Alex Cernik" userId="1cd5a177061dda4b" providerId="LiveId" clId="{7849A57A-059C-4EE4-B085-DBAF52F2AF1E}" dt="2024-07-18T16:53:21.048" v="351" actId="1076"/>
          <ac:picMkLst>
            <pc:docMk/>
            <pc:sldMk cId="1801526464" sldId="257"/>
            <ac:picMk id="11" creationId="{85CA6D24-2D67-B5BA-F133-EA5A6117EFEA}"/>
          </ac:picMkLst>
        </pc:picChg>
      </pc:sldChg>
      <pc:sldChg chg="del">
        <pc:chgData name="Alex Cernik" userId="1cd5a177061dda4b" providerId="LiveId" clId="{7849A57A-059C-4EE4-B085-DBAF52F2AF1E}" dt="2024-07-18T16:55:44.251" v="370" actId="47"/>
        <pc:sldMkLst>
          <pc:docMk/>
          <pc:sldMk cId="628954151" sldId="260"/>
        </pc:sldMkLst>
      </pc:sldChg>
      <pc:sldChg chg="del">
        <pc:chgData name="Alex Cernik" userId="1cd5a177061dda4b" providerId="LiveId" clId="{7849A57A-059C-4EE4-B085-DBAF52F2AF1E}" dt="2024-07-18T16:42:17.054" v="13" actId="47"/>
        <pc:sldMkLst>
          <pc:docMk/>
          <pc:sldMk cId="1578937978" sldId="311"/>
        </pc:sldMkLst>
      </pc:sldChg>
      <pc:sldChg chg="add">
        <pc:chgData name="Alex Cernik" userId="1cd5a177061dda4b" providerId="LiveId" clId="{7849A57A-059C-4EE4-B085-DBAF52F2AF1E}" dt="2024-07-18T16:48:57.724" v="275"/>
        <pc:sldMkLst>
          <pc:docMk/>
          <pc:sldMk cId="3516702404" sldId="383"/>
        </pc:sldMkLst>
      </pc:sldChg>
      <pc:sldChg chg="add">
        <pc:chgData name="Alex Cernik" userId="1cd5a177061dda4b" providerId="LiveId" clId="{7849A57A-059C-4EE4-B085-DBAF52F2AF1E}" dt="2024-07-18T16:48:57.724" v="275"/>
        <pc:sldMkLst>
          <pc:docMk/>
          <pc:sldMk cId="3129275614" sldId="390"/>
        </pc:sldMkLst>
      </pc:sldChg>
      <pc:sldChg chg="add">
        <pc:chgData name="Alex Cernik" userId="1cd5a177061dda4b" providerId="LiveId" clId="{7849A57A-059C-4EE4-B085-DBAF52F2AF1E}" dt="2024-07-18T16:48:57.724" v="275"/>
        <pc:sldMkLst>
          <pc:docMk/>
          <pc:sldMk cId="2157287362" sldId="399"/>
        </pc:sldMkLst>
      </pc:sldChg>
      <pc:sldChg chg="add">
        <pc:chgData name="Alex Cernik" userId="1cd5a177061dda4b" providerId="LiveId" clId="{7849A57A-059C-4EE4-B085-DBAF52F2AF1E}" dt="2024-07-18T16:48:57.724" v="275"/>
        <pc:sldMkLst>
          <pc:docMk/>
          <pc:sldMk cId="3592752252" sldId="401"/>
        </pc:sldMkLst>
      </pc:sldChg>
      <pc:sldChg chg="add">
        <pc:chgData name="Alex Cernik" userId="1cd5a177061dda4b" providerId="LiveId" clId="{7849A57A-059C-4EE4-B085-DBAF52F2AF1E}" dt="2024-07-18T16:48:57.724" v="275"/>
        <pc:sldMkLst>
          <pc:docMk/>
          <pc:sldMk cId="3601030846" sldId="402"/>
        </pc:sldMkLst>
      </pc:sldChg>
      <pc:sldChg chg="add">
        <pc:chgData name="Alex Cernik" userId="1cd5a177061dda4b" providerId="LiveId" clId="{7849A57A-059C-4EE4-B085-DBAF52F2AF1E}" dt="2024-07-18T16:48:57.724" v="275"/>
        <pc:sldMkLst>
          <pc:docMk/>
          <pc:sldMk cId="1381236194" sldId="403"/>
        </pc:sldMkLst>
      </pc:sldChg>
      <pc:sldChg chg="add">
        <pc:chgData name="Alex Cernik" userId="1cd5a177061dda4b" providerId="LiveId" clId="{7849A57A-059C-4EE4-B085-DBAF52F2AF1E}" dt="2024-07-18T16:48:57.724" v="275"/>
        <pc:sldMkLst>
          <pc:docMk/>
          <pc:sldMk cId="1244491788" sldId="404"/>
        </pc:sldMkLst>
      </pc:sldChg>
      <pc:sldChg chg="add">
        <pc:chgData name="Alex Cernik" userId="1cd5a177061dda4b" providerId="LiveId" clId="{7849A57A-059C-4EE4-B085-DBAF52F2AF1E}" dt="2024-07-18T16:48:57.724" v="275"/>
        <pc:sldMkLst>
          <pc:docMk/>
          <pc:sldMk cId="1414131099" sldId="405"/>
        </pc:sldMkLst>
      </pc:sldChg>
      <pc:sldChg chg="add">
        <pc:chgData name="Alex Cernik" userId="1cd5a177061dda4b" providerId="LiveId" clId="{7849A57A-059C-4EE4-B085-DBAF52F2AF1E}" dt="2024-07-18T16:48:57.724" v="275"/>
        <pc:sldMkLst>
          <pc:docMk/>
          <pc:sldMk cId="2443780396" sldId="407"/>
        </pc:sldMkLst>
      </pc:sldChg>
      <pc:sldChg chg="add">
        <pc:chgData name="Alex Cernik" userId="1cd5a177061dda4b" providerId="LiveId" clId="{7849A57A-059C-4EE4-B085-DBAF52F2AF1E}" dt="2024-07-18T16:48:57.724" v="275"/>
        <pc:sldMkLst>
          <pc:docMk/>
          <pc:sldMk cId="1632747216" sldId="408"/>
        </pc:sldMkLst>
      </pc:sldChg>
      <pc:sldChg chg="add">
        <pc:chgData name="Alex Cernik" userId="1cd5a177061dda4b" providerId="LiveId" clId="{7849A57A-059C-4EE4-B085-DBAF52F2AF1E}" dt="2024-07-18T16:48:57.724" v="275"/>
        <pc:sldMkLst>
          <pc:docMk/>
          <pc:sldMk cId="2393105636" sldId="409"/>
        </pc:sldMkLst>
      </pc:sldChg>
      <pc:sldChg chg="add">
        <pc:chgData name="Alex Cernik" userId="1cd5a177061dda4b" providerId="LiveId" clId="{7849A57A-059C-4EE4-B085-DBAF52F2AF1E}" dt="2024-07-18T16:48:57.724" v="275"/>
        <pc:sldMkLst>
          <pc:docMk/>
          <pc:sldMk cId="2637919116" sldId="410"/>
        </pc:sldMkLst>
      </pc:sldChg>
      <pc:sldChg chg="del">
        <pc:chgData name="Alex Cernik" userId="1cd5a177061dda4b" providerId="LiveId" clId="{7849A57A-059C-4EE4-B085-DBAF52F2AF1E}" dt="2024-07-18T16:40:25.530" v="4" actId="47"/>
        <pc:sldMkLst>
          <pc:docMk/>
          <pc:sldMk cId="1707704338" sldId="2519"/>
        </pc:sldMkLst>
      </pc:sldChg>
      <pc:sldChg chg="del">
        <pc:chgData name="Alex Cernik" userId="1cd5a177061dda4b" providerId="LiveId" clId="{7849A57A-059C-4EE4-B085-DBAF52F2AF1E}" dt="2024-07-18T16:54:03.826" v="352" actId="47"/>
        <pc:sldMkLst>
          <pc:docMk/>
          <pc:sldMk cId="1373596408" sldId="2527"/>
        </pc:sldMkLst>
      </pc:sldChg>
      <pc:sldChg chg="del ord">
        <pc:chgData name="Alex Cernik" userId="1cd5a177061dda4b" providerId="LiveId" clId="{7849A57A-059C-4EE4-B085-DBAF52F2AF1E}" dt="2024-07-18T16:54:56.441" v="356" actId="47"/>
        <pc:sldMkLst>
          <pc:docMk/>
          <pc:sldMk cId="1154629366" sldId="2540"/>
        </pc:sldMkLst>
      </pc:sldChg>
      <pc:sldChg chg="ord">
        <pc:chgData name="Alex Cernik" userId="1cd5a177061dda4b" providerId="LiveId" clId="{7849A57A-059C-4EE4-B085-DBAF52F2AF1E}" dt="2024-07-18T16:54:41.855" v="355"/>
        <pc:sldMkLst>
          <pc:docMk/>
          <pc:sldMk cId="2497970035" sldId="2541"/>
        </pc:sldMkLst>
      </pc:sldChg>
      <pc:sldChg chg="del">
        <pc:chgData name="Alex Cernik" userId="1cd5a177061dda4b" providerId="LiveId" clId="{7849A57A-059C-4EE4-B085-DBAF52F2AF1E}" dt="2024-07-18T16:54:05.284" v="353" actId="47"/>
        <pc:sldMkLst>
          <pc:docMk/>
          <pc:sldMk cId="912294198" sldId="2542"/>
        </pc:sldMkLst>
      </pc:sldChg>
      <pc:sldChg chg="modNotesTx">
        <pc:chgData name="Alex Cernik" userId="1cd5a177061dda4b" providerId="LiveId" clId="{7849A57A-059C-4EE4-B085-DBAF52F2AF1E}" dt="2024-07-18T16:58:27.640" v="516" actId="33524"/>
        <pc:sldMkLst>
          <pc:docMk/>
          <pc:sldMk cId="2104415018" sldId="2546"/>
        </pc:sldMkLst>
      </pc:sldChg>
      <pc:sldChg chg="addSp delSp modSp add mod">
        <pc:chgData name="Alex Cernik" userId="1cd5a177061dda4b" providerId="LiveId" clId="{7849A57A-059C-4EE4-B085-DBAF52F2AF1E}" dt="2024-07-18T16:59:09.922" v="518" actId="27636"/>
        <pc:sldMkLst>
          <pc:docMk/>
          <pc:sldMk cId="1279744678" sldId="2547"/>
        </pc:sldMkLst>
        <pc:spChg chg="mod">
          <ac:chgData name="Alex Cernik" userId="1cd5a177061dda4b" providerId="LiveId" clId="{7849A57A-059C-4EE4-B085-DBAF52F2AF1E}" dt="2024-07-18T16:59:09.922" v="518" actId="27636"/>
          <ac:spMkLst>
            <pc:docMk/>
            <pc:sldMk cId="1279744678" sldId="2547"/>
            <ac:spMk id="3" creationId="{9EF414E4-F529-3036-7F02-4C8082E116E4}"/>
          </ac:spMkLst>
        </pc:spChg>
        <pc:picChg chg="add mod">
          <ac:chgData name="Alex Cernik" userId="1cd5a177061dda4b" providerId="LiveId" clId="{7849A57A-059C-4EE4-B085-DBAF52F2AF1E}" dt="2024-07-18T16:51:02.772" v="296" actId="1440"/>
          <ac:picMkLst>
            <pc:docMk/>
            <pc:sldMk cId="1279744678" sldId="2547"/>
            <ac:picMk id="2" creationId="{966AFE21-2339-06AF-5FF4-565F5F04FD4A}"/>
          </ac:picMkLst>
        </pc:picChg>
        <pc:picChg chg="del">
          <ac:chgData name="Alex Cernik" userId="1cd5a177061dda4b" providerId="LiveId" clId="{7849A57A-059C-4EE4-B085-DBAF52F2AF1E}" dt="2024-07-18T16:50:07.704" v="283" actId="478"/>
          <ac:picMkLst>
            <pc:docMk/>
            <pc:sldMk cId="1279744678" sldId="2547"/>
            <ac:picMk id="6" creationId="{EEEED14D-C7FE-37B1-4D26-FB0187A24D5A}"/>
          </ac:picMkLst>
        </pc:picChg>
      </pc:sldChg>
      <pc:sldChg chg="addSp delSp modSp add mod">
        <pc:chgData name="Alex Cernik" userId="1cd5a177061dda4b" providerId="LiveId" clId="{7849A57A-059C-4EE4-B085-DBAF52F2AF1E}" dt="2024-07-18T16:50:56.152" v="295" actId="1440"/>
        <pc:sldMkLst>
          <pc:docMk/>
          <pc:sldMk cId="1173322001" sldId="2548"/>
        </pc:sldMkLst>
        <pc:picChg chg="add mod">
          <ac:chgData name="Alex Cernik" userId="1cd5a177061dda4b" providerId="LiveId" clId="{7849A57A-059C-4EE4-B085-DBAF52F2AF1E}" dt="2024-07-18T16:50:56.152" v="295" actId="1440"/>
          <ac:picMkLst>
            <pc:docMk/>
            <pc:sldMk cId="1173322001" sldId="2548"/>
            <ac:picMk id="2" creationId="{FAD1D01C-7CEF-25E0-1F2B-AAB2BD7271D6}"/>
          </ac:picMkLst>
        </pc:picChg>
        <pc:picChg chg="del">
          <ac:chgData name="Alex Cernik" userId="1cd5a177061dda4b" providerId="LiveId" clId="{7849A57A-059C-4EE4-B085-DBAF52F2AF1E}" dt="2024-07-18T16:50:22.488" v="286" actId="478"/>
          <ac:picMkLst>
            <pc:docMk/>
            <pc:sldMk cId="1173322001" sldId="2548"/>
            <ac:picMk id="7" creationId="{99520F49-A929-1187-7E39-B8EAD5F88CE0}"/>
          </ac:picMkLst>
        </pc:picChg>
        <pc:picChg chg="mod">
          <ac:chgData name="Alex Cernik" userId="1cd5a177061dda4b" providerId="LiveId" clId="{7849A57A-059C-4EE4-B085-DBAF52F2AF1E}" dt="2024-07-18T16:50:41.322" v="292" actId="1076"/>
          <ac:picMkLst>
            <pc:docMk/>
            <pc:sldMk cId="1173322001" sldId="2548"/>
            <ac:picMk id="2052" creationId="{C5CCF3C1-FCE8-95CA-597B-78D7DC7B2608}"/>
          </ac:picMkLst>
        </pc:picChg>
      </pc:sldChg>
      <pc:sldChg chg="del">
        <pc:chgData name="Alex Cernik" userId="1cd5a177061dda4b" providerId="LiveId" clId="{7849A57A-059C-4EE4-B085-DBAF52F2AF1E}" dt="2024-07-18T16:41:12.460" v="9" actId="47"/>
        <pc:sldMkLst>
          <pc:docMk/>
          <pc:sldMk cId="3823234024" sldId="2549"/>
        </pc:sldMkLst>
      </pc:sldChg>
      <pc:sldChg chg="addSp delSp modSp mod">
        <pc:chgData name="Alex Cernik" userId="1cd5a177061dda4b" providerId="LiveId" clId="{7849A57A-059C-4EE4-B085-DBAF52F2AF1E}" dt="2024-07-18T17:13:16.161" v="746" actId="14100"/>
        <pc:sldMkLst>
          <pc:docMk/>
          <pc:sldMk cId="2234251632" sldId="2147477470"/>
        </pc:sldMkLst>
        <pc:spChg chg="mod ord">
          <ac:chgData name="Alex Cernik" userId="1cd5a177061dda4b" providerId="LiveId" clId="{7849A57A-059C-4EE4-B085-DBAF52F2AF1E}" dt="2024-07-18T16:39:08.572" v="3" actId="26606"/>
          <ac:spMkLst>
            <pc:docMk/>
            <pc:sldMk cId="2234251632" sldId="2147477470"/>
            <ac:spMk id="3" creationId="{FF8B1F07-DF39-498D-6851-6F3D85F3412D}"/>
          </ac:spMkLst>
        </pc:spChg>
        <pc:spChg chg="del">
          <ac:chgData name="Alex Cernik" userId="1cd5a177061dda4b" providerId="LiveId" clId="{7849A57A-059C-4EE4-B085-DBAF52F2AF1E}" dt="2024-07-18T16:39:08.572" v="3" actId="26606"/>
          <ac:spMkLst>
            <pc:docMk/>
            <pc:sldMk cId="2234251632" sldId="2147477470"/>
            <ac:spMk id="1050" creationId="{AB8C311F-7253-4AED-9701-7FC0708C41C7}"/>
          </ac:spMkLst>
        </pc:spChg>
        <pc:spChg chg="del">
          <ac:chgData name="Alex Cernik" userId="1cd5a177061dda4b" providerId="LiveId" clId="{7849A57A-059C-4EE4-B085-DBAF52F2AF1E}" dt="2024-07-18T16:39:08.572" v="3" actId="26606"/>
          <ac:spMkLst>
            <pc:docMk/>
            <pc:sldMk cId="2234251632" sldId="2147477470"/>
            <ac:spMk id="1051" creationId="{FD073016-B734-483B-8953-5BADEE145112}"/>
          </ac:spMkLst>
        </pc:spChg>
        <pc:spChg chg="del">
          <ac:chgData name="Alex Cernik" userId="1cd5a177061dda4b" providerId="LiveId" clId="{7849A57A-059C-4EE4-B085-DBAF52F2AF1E}" dt="2024-07-18T16:39:08.572" v="3" actId="26606"/>
          <ac:spMkLst>
            <pc:docMk/>
            <pc:sldMk cId="2234251632" sldId="2147477470"/>
            <ac:spMk id="1052" creationId="{90A7EAB6-59D3-4325-8DE6-E0CA4009CE53}"/>
          </ac:spMkLst>
        </pc:spChg>
        <pc:spChg chg="del">
          <ac:chgData name="Alex Cernik" userId="1cd5a177061dda4b" providerId="LiveId" clId="{7849A57A-059C-4EE4-B085-DBAF52F2AF1E}" dt="2024-07-18T16:39:08.572" v="3" actId="26606"/>
          <ac:spMkLst>
            <pc:docMk/>
            <pc:sldMk cId="2234251632" sldId="2147477470"/>
            <ac:spMk id="1053" creationId="{A8D57A06-A426-446D-B02C-A2DC6B62E45E}"/>
          </ac:spMkLst>
        </pc:spChg>
        <pc:spChg chg="add">
          <ac:chgData name="Alex Cernik" userId="1cd5a177061dda4b" providerId="LiveId" clId="{7849A57A-059C-4EE4-B085-DBAF52F2AF1E}" dt="2024-07-18T16:39:08.572" v="3" actId="26606"/>
          <ac:spMkLst>
            <pc:docMk/>
            <pc:sldMk cId="2234251632" sldId="2147477470"/>
            <ac:spMk id="1058" creationId="{42A4FC2C-047E-45A5-965D-8E1E3BF09BC6}"/>
          </ac:spMkLst>
        </pc:spChg>
        <pc:picChg chg="add mod">
          <ac:chgData name="Alex Cernik" userId="1cd5a177061dda4b" providerId="LiveId" clId="{7849A57A-059C-4EE4-B085-DBAF52F2AF1E}" dt="2024-07-18T16:39:08.572" v="3" actId="26606"/>
          <ac:picMkLst>
            <pc:docMk/>
            <pc:sldMk cId="2234251632" sldId="2147477470"/>
            <ac:picMk id="4" creationId="{04188DF7-9A48-703C-A543-1D814202F331}"/>
          </ac:picMkLst>
        </pc:picChg>
        <pc:picChg chg="del">
          <ac:chgData name="Alex Cernik" userId="1cd5a177061dda4b" providerId="LiveId" clId="{7849A57A-059C-4EE4-B085-DBAF52F2AF1E}" dt="2024-07-18T16:38:58.230" v="0" actId="478"/>
          <ac:picMkLst>
            <pc:docMk/>
            <pc:sldMk cId="2234251632" sldId="2147477470"/>
            <ac:picMk id="5" creationId="{5AFDF3C8-45BE-31D6-85F9-9F342E4A9617}"/>
          </ac:picMkLst>
        </pc:picChg>
        <pc:picChg chg="add mod">
          <ac:chgData name="Alex Cernik" userId="1cd5a177061dda4b" providerId="LiveId" clId="{7849A57A-059C-4EE4-B085-DBAF52F2AF1E}" dt="2024-07-18T17:13:16.161" v="746" actId="14100"/>
          <ac:picMkLst>
            <pc:docMk/>
            <pc:sldMk cId="2234251632" sldId="2147477470"/>
            <ac:picMk id="7" creationId="{5943BABA-1DE2-7640-96A3-410B39B3682A}"/>
          </ac:picMkLst>
        </pc:picChg>
        <pc:picChg chg="del">
          <ac:chgData name="Alex Cernik" userId="1cd5a177061dda4b" providerId="LiveId" clId="{7849A57A-059C-4EE4-B085-DBAF52F2AF1E}" dt="2024-07-18T16:38:59.268" v="1" actId="478"/>
          <ac:picMkLst>
            <pc:docMk/>
            <pc:sldMk cId="2234251632" sldId="2147477470"/>
            <ac:picMk id="8" creationId="{699D7166-B0BD-12CD-BAD9-B04BB038BCAB}"/>
          </ac:picMkLst>
        </pc:picChg>
      </pc:sldChg>
      <pc:sldChg chg="modSp mod">
        <pc:chgData name="Alex Cernik" userId="1cd5a177061dda4b" providerId="LiveId" clId="{7849A57A-059C-4EE4-B085-DBAF52F2AF1E}" dt="2024-07-18T16:55:27.914" v="369" actId="20577"/>
        <pc:sldMkLst>
          <pc:docMk/>
          <pc:sldMk cId="1218868012" sldId="2147477503"/>
        </pc:sldMkLst>
        <pc:spChg chg="mod">
          <ac:chgData name="Alex Cernik" userId="1cd5a177061dda4b" providerId="LiveId" clId="{7849A57A-059C-4EE4-B085-DBAF52F2AF1E}" dt="2024-07-18T16:55:27.914" v="369" actId="20577"/>
          <ac:spMkLst>
            <pc:docMk/>
            <pc:sldMk cId="1218868012" sldId="2147477503"/>
            <ac:spMk id="4" creationId="{B2727F40-C1A2-50A2-B455-045B4601D2E9}"/>
          </ac:spMkLst>
        </pc:spChg>
      </pc:sldChg>
      <pc:sldChg chg="addSp delSp modSp mod">
        <pc:chgData name="Alex Cernik" userId="1cd5a177061dda4b" providerId="LiveId" clId="{7849A57A-059C-4EE4-B085-DBAF52F2AF1E}" dt="2024-07-18T17:10:51.056" v="743" actId="1076"/>
        <pc:sldMkLst>
          <pc:docMk/>
          <pc:sldMk cId="2077216324" sldId="2147477507"/>
        </pc:sldMkLst>
        <pc:spChg chg="mod">
          <ac:chgData name="Alex Cernik" userId="1cd5a177061dda4b" providerId="LiveId" clId="{7849A57A-059C-4EE4-B085-DBAF52F2AF1E}" dt="2024-07-18T17:10:51.056" v="743" actId="1076"/>
          <ac:spMkLst>
            <pc:docMk/>
            <pc:sldMk cId="2077216324" sldId="2147477507"/>
            <ac:spMk id="2" creationId="{B8587E0F-C978-9B76-7F50-4866FA3AED53}"/>
          </ac:spMkLst>
        </pc:spChg>
        <pc:spChg chg="mod">
          <ac:chgData name="Alex Cernik" userId="1cd5a177061dda4b" providerId="LiveId" clId="{7849A57A-059C-4EE4-B085-DBAF52F2AF1E}" dt="2024-07-18T17:10:23.619" v="736" actId="255"/>
          <ac:spMkLst>
            <pc:docMk/>
            <pc:sldMk cId="2077216324" sldId="2147477507"/>
            <ac:spMk id="3" creationId="{14F370BF-87E4-AB9F-7673-BD2D55E264A0}"/>
          </ac:spMkLst>
        </pc:spChg>
        <pc:spChg chg="del">
          <ac:chgData name="Alex Cernik" userId="1cd5a177061dda4b" providerId="LiveId" clId="{7849A57A-059C-4EE4-B085-DBAF52F2AF1E}" dt="2024-07-18T17:10:06.535" v="734" actId="26606"/>
          <ac:spMkLst>
            <pc:docMk/>
            <pc:sldMk cId="2077216324" sldId="2147477507"/>
            <ac:spMk id="8" creationId="{577D6B2E-37A3-429E-A37C-F30ED6487282}"/>
          </ac:spMkLst>
        </pc:spChg>
        <pc:spChg chg="del">
          <ac:chgData name="Alex Cernik" userId="1cd5a177061dda4b" providerId="LiveId" clId="{7849A57A-059C-4EE4-B085-DBAF52F2AF1E}" dt="2024-07-18T17:10:06.535" v="734" actId="26606"/>
          <ac:spMkLst>
            <pc:docMk/>
            <pc:sldMk cId="2077216324" sldId="2147477507"/>
            <ac:spMk id="10" creationId="{5CEAD642-85CF-4750-8432-7C80C901F001}"/>
          </ac:spMkLst>
        </pc:spChg>
        <pc:spChg chg="del">
          <ac:chgData name="Alex Cernik" userId="1cd5a177061dda4b" providerId="LiveId" clId="{7849A57A-059C-4EE4-B085-DBAF52F2AF1E}" dt="2024-07-18T17:10:06.535" v="734" actId="26606"/>
          <ac:spMkLst>
            <pc:docMk/>
            <pc:sldMk cId="2077216324" sldId="2147477507"/>
            <ac:spMk id="12" creationId="{FA33EEAE-15D5-4119-8C1E-89D943F911EF}"/>
          </ac:spMkLst>
        </pc:spChg>
        <pc:spChg chg="del">
          <ac:chgData name="Alex Cernik" userId="1cd5a177061dda4b" providerId="LiveId" clId="{7849A57A-059C-4EE4-B085-DBAF52F2AF1E}" dt="2024-07-18T17:10:06.535" v="734" actId="26606"/>
          <ac:spMkLst>
            <pc:docMk/>
            <pc:sldMk cId="2077216324" sldId="2147477507"/>
            <ac:spMk id="14" creationId="{730D8B3B-9B80-4025-B934-26DC7D7CD231}"/>
          </ac:spMkLst>
        </pc:spChg>
        <pc:spChg chg="del">
          <ac:chgData name="Alex Cernik" userId="1cd5a177061dda4b" providerId="LiveId" clId="{7849A57A-059C-4EE4-B085-DBAF52F2AF1E}" dt="2024-07-18T17:10:06.535" v="734" actId="26606"/>
          <ac:spMkLst>
            <pc:docMk/>
            <pc:sldMk cId="2077216324" sldId="2147477507"/>
            <ac:spMk id="16" creationId="{1064D5D5-227B-4F66-9AEA-46F570E793BD}"/>
          </ac:spMkLst>
        </pc:spChg>
        <pc:spChg chg="del">
          <ac:chgData name="Alex Cernik" userId="1cd5a177061dda4b" providerId="LiveId" clId="{7849A57A-059C-4EE4-B085-DBAF52F2AF1E}" dt="2024-07-18T17:10:06.535" v="734" actId="26606"/>
          <ac:spMkLst>
            <pc:docMk/>
            <pc:sldMk cId="2077216324" sldId="2147477507"/>
            <ac:spMk id="18" creationId="{646B67A4-D328-4747-A82B-65E84FA46368}"/>
          </ac:spMkLst>
        </pc:spChg>
        <pc:spChg chg="del">
          <ac:chgData name="Alex Cernik" userId="1cd5a177061dda4b" providerId="LiveId" clId="{7849A57A-059C-4EE4-B085-DBAF52F2AF1E}" dt="2024-07-18T17:10:06.535" v="734" actId="26606"/>
          <ac:spMkLst>
            <pc:docMk/>
            <pc:sldMk cId="2077216324" sldId="2147477507"/>
            <ac:spMk id="20" creationId="{B5A1B09C-1565-46F8-B70F-621C5EB48A09}"/>
          </ac:spMkLst>
        </pc:spChg>
        <pc:spChg chg="del">
          <ac:chgData name="Alex Cernik" userId="1cd5a177061dda4b" providerId="LiveId" clId="{7849A57A-059C-4EE4-B085-DBAF52F2AF1E}" dt="2024-07-18T17:10:06.535" v="734" actId="26606"/>
          <ac:spMkLst>
            <pc:docMk/>
            <pc:sldMk cId="2077216324" sldId="2147477507"/>
            <ac:spMk id="22" creationId="{8C516CC8-80AC-446C-A56E-9F54B7210402}"/>
          </ac:spMkLst>
        </pc:spChg>
        <pc:spChg chg="add">
          <ac:chgData name="Alex Cernik" userId="1cd5a177061dda4b" providerId="LiveId" clId="{7849A57A-059C-4EE4-B085-DBAF52F2AF1E}" dt="2024-07-18T17:10:06.535" v="734" actId="26606"/>
          <ac:spMkLst>
            <pc:docMk/>
            <pc:sldMk cId="2077216324" sldId="2147477507"/>
            <ac:spMk id="28" creationId="{C1DD1A8A-57D5-4A81-AD04-532B043C5611}"/>
          </ac:spMkLst>
        </pc:spChg>
        <pc:spChg chg="add">
          <ac:chgData name="Alex Cernik" userId="1cd5a177061dda4b" providerId="LiveId" clId="{7849A57A-059C-4EE4-B085-DBAF52F2AF1E}" dt="2024-07-18T17:10:06.535" v="734" actId="26606"/>
          <ac:spMkLst>
            <pc:docMk/>
            <pc:sldMk cId="2077216324" sldId="2147477507"/>
            <ac:spMk id="30" creationId="{007891EC-4501-44ED-A8C8-B11B6DB767AB}"/>
          </ac:spMkLst>
        </pc:spChg>
        <pc:picChg chg="add mod">
          <ac:chgData name="Alex Cernik" userId="1cd5a177061dda4b" providerId="LiveId" clId="{7849A57A-059C-4EE4-B085-DBAF52F2AF1E}" dt="2024-07-18T17:10:41.517" v="742" actId="1076"/>
          <ac:picMkLst>
            <pc:docMk/>
            <pc:sldMk cId="2077216324" sldId="2147477507"/>
            <ac:picMk id="24" creationId="{93446DF3-EE1C-CB6F-22F0-1194EE2D76CC}"/>
          </ac:picMkLst>
        </pc:picChg>
      </pc:sldChg>
      <pc:sldChg chg="modSp mod">
        <pc:chgData name="Alex Cernik" userId="1cd5a177061dda4b" providerId="LiveId" clId="{7849A57A-059C-4EE4-B085-DBAF52F2AF1E}" dt="2024-07-18T17:14:18.116" v="748" actId="26606"/>
        <pc:sldMkLst>
          <pc:docMk/>
          <pc:sldMk cId="3917060843" sldId="2147477510"/>
        </pc:sldMkLst>
        <pc:spChg chg="mod">
          <ac:chgData name="Alex Cernik" userId="1cd5a177061dda4b" providerId="LiveId" clId="{7849A57A-059C-4EE4-B085-DBAF52F2AF1E}" dt="2024-07-18T17:06:21.865" v="638" actId="1076"/>
          <ac:spMkLst>
            <pc:docMk/>
            <pc:sldMk cId="3917060843" sldId="2147477510"/>
            <ac:spMk id="2" creationId="{E7F74325-96B3-EB33-3B7A-CC25E474F32C}"/>
          </ac:spMkLst>
        </pc:spChg>
        <pc:graphicFrameChg chg="mod modGraphic">
          <ac:chgData name="Alex Cernik" userId="1cd5a177061dda4b" providerId="LiveId" clId="{7849A57A-059C-4EE4-B085-DBAF52F2AF1E}" dt="2024-07-18T17:14:18.116" v="748" actId="26606"/>
          <ac:graphicFrameMkLst>
            <pc:docMk/>
            <pc:sldMk cId="3917060843" sldId="2147477510"/>
            <ac:graphicFrameMk id="6" creationId="{EF85795D-EE5E-0773-BE09-641E2678F500}"/>
          </ac:graphicFrameMkLst>
        </pc:graphicFrameChg>
      </pc:sldChg>
      <pc:sldChg chg="del">
        <pc:chgData name="Alex Cernik" userId="1cd5a177061dda4b" providerId="LiveId" clId="{7849A57A-059C-4EE4-B085-DBAF52F2AF1E}" dt="2024-07-18T16:41:13.969" v="10" actId="47"/>
        <pc:sldMkLst>
          <pc:docMk/>
          <pc:sldMk cId="898799767" sldId="2147477511"/>
        </pc:sldMkLst>
      </pc:sldChg>
      <pc:sldChg chg="del">
        <pc:chgData name="Alex Cernik" userId="1cd5a177061dda4b" providerId="LiveId" clId="{7849A57A-059C-4EE4-B085-DBAF52F2AF1E}" dt="2024-07-18T16:41:15.483" v="11" actId="47"/>
        <pc:sldMkLst>
          <pc:docMk/>
          <pc:sldMk cId="1142669953" sldId="2147477512"/>
        </pc:sldMkLst>
      </pc:sldChg>
      <pc:sldChg chg="del">
        <pc:chgData name="Alex Cernik" userId="1cd5a177061dda4b" providerId="LiveId" clId="{7849A57A-059C-4EE4-B085-DBAF52F2AF1E}" dt="2024-07-18T16:41:18.526" v="12" actId="47"/>
        <pc:sldMkLst>
          <pc:docMk/>
          <pc:sldMk cId="162756794" sldId="2147477513"/>
        </pc:sldMkLst>
      </pc:sldChg>
      <pc:sldMasterChg chg="del delSldLayout">
        <pc:chgData name="Alex Cernik" userId="1cd5a177061dda4b" providerId="LiveId" clId="{7849A57A-059C-4EE4-B085-DBAF52F2AF1E}" dt="2024-07-18T16:54:03.826" v="352" actId="47"/>
        <pc:sldMasterMkLst>
          <pc:docMk/>
          <pc:sldMasterMk cId="697779735" sldId="2147484440"/>
        </pc:sldMasterMkLst>
        <pc:sldLayoutChg chg="del">
          <pc:chgData name="Alex Cernik" userId="1cd5a177061dda4b" providerId="LiveId" clId="{7849A57A-059C-4EE4-B085-DBAF52F2AF1E}" dt="2024-07-18T16:54:03.826" v="352" actId="47"/>
          <pc:sldLayoutMkLst>
            <pc:docMk/>
            <pc:sldMasterMk cId="697779735" sldId="2147484440"/>
            <pc:sldLayoutMk cId="802149373" sldId="2147484441"/>
          </pc:sldLayoutMkLst>
        </pc:sldLayoutChg>
        <pc:sldLayoutChg chg="del">
          <pc:chgData name="Alex Cernik" userId="1cd5a177061dda4b" providerId="LiveId" clId="{7849A57A-059C-4EE4-B085-DBAF52F2AF1E}" dt="2024-07-18T16:54:03.826" v="352" actId="47"/>
          <pc:sldLayoutMkLst>
            <pc:docMk/>
            <pc:sldMasterMk cId="697779735" sldId="2147484440"/>
            <pc:sldLayoutMk cId="3563314233" sldId="2147484442"/>
          </pc:sldLayoutMkLst>
        </pc:sldLayoutChg>
        <pc:sldLayoutChg chg="del">
          <pc:chgData name="Alex Cernik" userId="1cd5a177061dda4b" providerId="LiveId" clId="{7849A57A-059C-4EE4-B085-DBAF52F2AF1E}" dt="2024-07-18T16:54:03.826" v="352" actId="47"/>
          <pc:sldLayoutMkLst>
            <pc:docMk/>
            <pc:sldMasterMk cId="697779735" sldId="2147484440"/>
            <pc:sldLayoutMk cId="1663165015" sldId="2147484443"/>
          </pc:sldLayoutMkLst>
        </pc:sldLayoutChg>
        <pc:sldLayoutChg chg="del">
          <pc:chgData name="Alex Cernik" userId="1cd5a177061dda4b" providerId="LiveId" clId="{7849A57A-059C-4EE4-B085-DBAF52F2AF1E}" dt="2024-07-18T16:54:03.826" v="352" actId="47"/>
          <pc:sldLayoutMkLst>
            <pc:docMk/>
            <pc:sldMasterMk cId="697779735" sldId="2147484440"/>
            <pc:sldLayoutMk cId="3218092815" sldId="2147484444"/>
          </pc:sldLayoutMkLst>
        </pc:sldLayoutChg>
        <pc:sldLayoutChg chg="del">
          <pc:chgData name="Alex Cernik" userId="1cd5a177061dda4b" providerId="LiveId" clId="{7849A57A-059C-4EE4-B085-DBAF52F2AF1E}" dt="2024-07-18T16:54:03.826" v="352" actId="47"/>
          <pc:sldLayoutMkLst>
            <pc:docMk/>
            <pc:sldMasterMk cId="697779735" sldId="2147484440"/>
            <pc:sldLayoutMk cId="3413619779" sldId="2147484445"/>
          </pc:sldLayoutMkLst>
        </pc:sldLayoutChg>
        <pc:sldLayoutChg chg="del">
          <pc:chgData name="Alex Cernik" userId="1cd5a177061dda4b" providerId="LiveId" clId="{7849A57A-059C-4EE4-B085-DBAF52F2AF1E}" dt="2024-07-18T16:54:03.826" v="352" actId="47"/>
          <pc:sldLayoutMkLst>
            <pc:docMk/>
            <pc:sldMasterMk cId="697779735" sldId="2147484440"/>
            <pc:sldLayoutMk cId="126019693" sldId="2147484446"/>
          </pc:sldLayoutMkLst>
        </pc:sldLayoutChg>
        <pc:sldLayoutChg chg="del">
          <pc:chgData name="Alex Cernik" userId="1cd5a177061dda4b" providerId="LiveId" clId="{7849A57A-059C-4EE4-B085-DBAF52F2AF1E}" dt="2024-07-18T16:54:03.826" v="352" actId="47"/>
          <pc:sldLayoutMkLst>
            <pc:docMk/>
            <pc:sldMasterMk cId="697779735" sldId="2147484440"/>
            <pc:sldLayoutMk cId="2404312519" sldId="2147484447"/>
          </pc:sldLayoutMkLst>
        </pc:sldLayoutChg>
        <pc:sldLayoutChg chg="del">
          <pc:chgData name="Alex Cernik" userId="1cd5a177061dda4b" providerId="LiveId" clId="{7849A57A-059C-4EE4-B085-DBAF52F2AF1E}" dt="2024-07-18T16:54:03.826" v="352" actId="47"/>
          <pc:sldLayoutMkLst>
            <pc:docMk/>
            <pc:sldMasterMk cId="697779735" sldId="2147484440"/>
            <pc:sldLayoutMk cId="4148391136" sldId="2147484448"/>
          </pc:sldLayoutMkLst>
        </pc:sldLayoutChg>
        <pc:sldLayoutChg chg="del">
          <pc:chgData name="Alex Cernik" userId="1cd5a177061dda4b" providerId="LiveId" clId="{7849A57A-059C-4EE4-B085-DBAF52F2AF1E}" dt="2024-07-18T16:54:03.826" v="352" actId="47"/>
          <pc:sldLayoutMkLst>
            <pc:docMk/>
            <pc:sldMasterMk cId="697779735" sldId="2147484440"/>
            <pc:sldLayoutMk cId="42596079" sldId="2147484449"/>
          </pc:sldLayoutMkLst>
        </pc:sldLayoutChg>
        <pc:sldLayoutChg chg="del">
          <pc:chgData name="Alex Cernik" userId="1cd5a177061dda4b" providerId="LiveId" clId="{7849A57A-059C-4EE4-B085-DBAF52F2AF1E}" dt="2024-07-18T16:54:03.826" v="352" actId="47"/>
          <pc:sldLayoutMkLst>
            <pc:docMk/>
            <pc:sldMasterMk cId="697779735" sldId="2147484440"/>
            <pc:sldLayoutMk cId="1293160514" sldId="2147484450"/>
          </pc:sldLayoutMkLst>
        </pc:sldLayoutChg>
        <pc:sldLayoutChg chg="del">
          <pc:chgData name="Alex Cernik" userId="1cd5a177061dda4b" providerId="LiveId" clId="{7849A57A-059C-4EE4-B085-DBAF52F2AF1E}" dt="2024-07-18T16:54:03.826" v="352" actId="47"/>
          <pc:sldLayoutMkLst>
            <pc:docMk/>
            <pc:sldMasterMk cId="697779735" sldId="2147484440"/>
            <pc:sldLayoutMk cId="2262656874" sldId="2147484451"/>
          </pc:sldLayoutMkLst>
        </pc:sldLayoutChg>
      </pc:sldMasterChg>
      <pc:sldMasterChg chg="del delSldLayout">
        <pc:chgData name="Alex Cernik" userId="1cd5a177061dda4b" providerId="LiveId" clId="{7849A57A-059C-4EE4-B085-DBAF52F2AF1E}" dt="2024-07-18T16:40:25.530" v="4" actId="47"/>
        <pc:sldMasterMkLst>
          <pc:docMk/>
          <pc:sldMasterMk cId="4220805951" sldId="2147484452"/>
        </pc:sldMasterMkLst>
        <pc:sldLayoutChg chg="del">
          <pc:chgData name="Alex Cernik" userId="1cd5a177061dda4b" providerId="LiveId" clId="{7849A57A-059C-4EE4-B085-DBAF52F2AF1E}" dt="2024-07-18T16:40:25.530" v="4" actId="47"/>
          <pc:sldLayoutMkLst>
            <pc:docMk/>
            <pc:sldMasterMk cId="4220805951" sldId="2147484452"/>
            <pc:sldLayoutMk cId="901496348" sldId="2147484453"/>
          </pc:sldLayoutMkLst>
        </pc:sldLayoutChg>
        <pc:sldLayoutChg chg="del">
          <pc:chgData name="Alex Cernik" userId="1cd5a177061dda4b" providerId="LiveId" clId="{7849A57A-059C-4EE4-B085-DBAF52F2AF1E}" dt="2024-07-18T16:40:25.530" v="4" actId="47"/>
          <pc:sldLayoutMkLst>
            <pc:docMk/>
            <pc:sldMasterMk cId="4220805951" sldId="2147484452"/>
            <pc:sldLayoutMk cId="583739465" sldId="2147484454"/>
          </pc:sldLayoutMkLst>
        </pc:sldLayoutChg>
        <pc:sldLayoutChg chg="del">
          <pc:chgData name="Alex Cernik" userId="1cd5a177061dda4b" providerId="LiveId" clId="{7849A57A-059C-4EE4-B085-DBAF52F2AF1E}" dt="2024-07-18T16:40:25.530" v="4" actId="47"/>
          <pc:sldLayoutMkLst>
            <pc:docMk/>
            <pc:sldMasterMk cId="4220805951" sldId="2147484452"/>
            <pc:sldLayoutMk cId="1013404546" sldId="2147484455"/>
          </pc:sldLayoutMkLst>
        </pc:sldLayoutChg>
        <pc:sldLayoutChg chg="del">
          <pc:chgData name="Alex Cernik" userId="1cd5a177061dda4b" providerId="LiveId" clId="{7849A57A-059C-4EE4-B085-DBAF52F2AF1E}" dt="2024-07-18T16:40:25.530" v="4" actId="47"/>
          <pc:sldLayoutMkLst>
            <pc:docMk/>
            <pc:sldMasterMk cId="4220805951" sldId="2147484452"/>
            <pc:sldLayoutMk cId="3103687124" sldId="2147484456"/>
          </pc:sldLayoutMkLst>
        </pc:sldLayoutChg>
        <pc:sldLayoutChg chg="del">
          <pc:chgData name="Alex Cernik" userId="1cd5a177061dda4b" providerId="LiveId" clId="{7849A57A-059C-4EE4-B085-DBAF52F2AF1E}" dt="2024-07-18T16:40:25.530" v="4" actId="47"/>
          <pc:sldLayoutMkLst>
            <pc:docMk/>
            <pc:sldMasterMk cId="4220805951" sldId="2147484452"/>
            <pc:sldLayoutMk cId="1611633164" sldId="2147484457"/>
          </pc:sldLayoutMkLst>
        </pc:sldLayoutChg>
        <pc:sldLayoutChg chg="del">
          <pc:chgData name="Alex Cernik" userId="1cd5a177061dda4b" providerId="LiveId" clId="{7849A57A-059C-4EE4-B085-DBAF52F2AF1E}" dt="2024-07-18T16:40:25.530" v="4" actId="47"/>
          <pc:sldLayoutMkLst>
            <pc:docMk/>
            <pc:sldMasterMk cId="4220805951" sldId="2147484452"/>
            <pc:sldLayoutMk cId="3626498179" sldId="2147484458"/>
          </pc:sldLayoutMkLst>
        </pc:sldLayoutChg>
        <pc:sldLayoutChg chg="del">
          <pc:chgData name="Alex Cernik" userId="1cd5a177061dda4b" providerId="LiveId" clId="{7849A57A-059C-4EE4-B085-DBAF52F2AF1E}" dt="2024-07-18T16:40:25.530" v="4" actId="47"/>
          <pc:sldLayoutMkLst>
            <pc:docMk/>
            <pc:sldMasterMk cId="4220805951" sldId="2147484452"/>
            <pc:sldLayoutMk cId="3707692720" sldId="2147484459"/>
          </pc:sldLayoutMkLst>
        </pc:sldLayoutChg>
        <pc:sldLayoutChg chg="del">
          <pc:chgData name="Alex Cernik" userId="1cd5a177061dda4b" providerId="LiveId" clId="{7849A57A-059C-4EE4-B085-DBAF52F2AF1E}" dt="2024-07-18T16:40:25.530" v="4" actId="47"/>
          <pc:sldLayoutMkLst>
            <pc:docMk/>
            <pc:sldMasterMk cId="4220805951" sldId="2147484452"/>
            <pc:sldLayoutMk cId="2487324874" sldId="2147484460"/>
          </pc:sldLayoutMkLst>
        </pc:sldLayoutChg>
        <pc:sldLayoutChg chg="del">
          <pc:chgData name="Alex Cernik" userId="1cd5a177061dda4b" providerId="LiveId" clId="{7849A57A-059C-4EE4-B085-DBAF52F2AF1E}" dt="2024-07-18T16:40:25.530" v="4" actId="47"/>
          <pc:sldLayoutMkLst>
            <pc:docMk/>
            <pc:sldMasterMk cId="4220805951" sldId="2147484452"/>
            <pc:sldLayoutMk cId="3995361776" sldId="2147484461"/>
          </pc:sldLayoutMkLst>
        </pc:sldLayoutChg>
        <pc:sldLayoutChg chg="del">
          <pc:chgData name="Alex Cernik" userId="1cd5a177061dda4b" providerId="LiveId" clId="{7849A57A-059C-4EE4-B085-DBAF52F2AF1E}" dt="2024-07-18T16:40:25.530" v="4" actId="47"/>
          <pc:sldLayoutMkLst>
            <pc:docMk/>
            <pc:sldMasterMk cId="4220805951" sldId="2147484452"/>
            <pc:sldLayoutMk cId="2703169891" sldId="2147484462"/>
          </pc:sldLayoutMkLst>
        </pc:sldLayoutChg>
        <pc:sldLayoutChg chg="del">
          <pc:chgData name="Alex Cernik" userId="1cd5a177061dda4b" providerId="LiveId" clId="{7849A57A-059C-4EE4-B085-DBAF52F2AF1E}" dt="2024-07-18T16:40:25.530" v="4" actId="47"/>
          <pc:sldLayoutMkLst>
            <pc:docMk/>
            <pc:sldMasterMk cId="4220805951" sldId="2147484452"/>
            <pc:sldLayoutMk cId="2055229139" sldId="2147484463"/>
          </pc:sldLayoutMkLst>
        </pc:sldLayoutChg>
      </pc:sldMasterChg>
    </pc:docChg>
  </pc:docChgLst>
</pc:chgInfo>
</file>

<file path=ppt/diagrams/_rels/data2.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svg"/><Relationship Id="rId2" Type="http://schemas.openxmlformats.org/officeDocument/2006/relationships/image" Target="../media/image62.svg"/><Relationship Id="rId1" Type="http://schemas.openxmlformats.org/officeDocument/2006/relationships/image" Target="../media/image61.png"/><Relationship Id="rId6" Type="http://schemas.openxmlformats.org/officeDocument/2006/relationships/image" Target="../media/image66.sv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svg"/><Relationship Id="rId9" Type="http://schemas.openxmlformats.org/officeDocument/2006/relationships/image" Target="../media/image69.png"/><Relationship Id="rId14" Type="http://schemas.openxmlformats.org/officeDocument/2006/relationships/image" Target="../media/image74.svg"/></Relationships>
</file>

<file path=ppt/diagrams/_rels/data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7.svg"/><Relationship Id="rId1" Type="http://schemas.openxmlformats.org/officeDocument/2006/relationships/image" Target="../media/image76.png"/><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4.svg"/></Relationships>
</file>

<file path=ppt/diagrams/_rels/drawing2.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svg"/><Relationship Id="rId2" Type="http://schemas.openxmlformats.org/officeDocument/2006/relationships/image" Target="../media/image62.svg"/><Relationship Id="rId1" Type="http://schemas.openxmlformats.org/officeDocument/2006/relationships/image" Target="../media/image61.png"/><Relationship Id="rId6" Type="http://schemas.openxmlformats.org/officeDocument/2006/relationships/image" Target="../media/image66.sv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svg"/><Relationship Id="rId9" Type="http://schemas.openxmlformats.org/officeDocument/2006/relationships/image" Target="../media/image69.png"/><Relationship Id="rId14" Type="http://schemas.openxmlformats.org/officeDocument/2006/relationships/image" Target="../media/image74.svg"/></Relationships>
</file>

<file path=ppt/diagrams/_rels/drawing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7.svg"/><Relationship Id="rId1" Type="http://schemas.openxmlformats.org/officeDocument/2006/relationships/image" Target="../media/image76.png"/><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4.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icon_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bg1"/>
    </dgm:fillClrLst>
    <dgm:linClrLst meth="repeat">
      <a:schemeClr val="lt2">
        <a:alpha val="0"/>
      </a:schemeClr>
    </dgm:linClrLst>
    <dgm:effectClrLst/>
    <dgm:txLinClrLst/>
    <dgm:txFillClrLst meth="repeat">
      <a:schemeClr val="dk1"/>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dgm:fillClrLst>
    <dgm:linClrLst meth="repeat">
      <a:schemeClr val="lt2">
        <a:alpha val="0"/>
      </a:schemeClr>
    </dgm:linClrLst>
    <dgm:effectClrLst/>
    <dgm:txLinClrLst/>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3819D8-40E0-498E-A1F4-5F18740C7D86}" type="doc">
      <dgm:prSet loTypeId="urn:microsoft.com/office/officeart/2005/8/layout/list1" loCatId="list" qsTypeId="urn:microsoft.com/office/officeart/2005/8/quickstyle/simple4" qsCatId="simple" csTypeId="urn:microsoft.com/office/officeart/2005/8/colors/colorful1" csCatId="colorful" phldr="1"/>
      <dgm:spPr/>
      <dgm:t>
        <a:bodyPr/>
        <a:lstStyle/>
        <a:p>
          <a:endParaRPr lang="en-US"/>
        </a:p>
      </dgm:t>
    </dgm:pt>
    <dgm:pt modelId="{E0B2EB3E-3ABC-4593-9A01-5DE6F3B40FD3}">
      <dgm:prSet custT="1"/>
      <dgm:spPr/>
      <dgm:t>
        <a:bodyPr/>
        <a:lstStyle/>
        <a:p>
          <a:pPr>
            <a:defRPr b="1"/>
          </a:pPr>
          <a:r>
            <a:rPr lang="en-US" sz="2000" dirty="0"/>
            <a:t>TARANA WIRELESS</a:t>
          </a:r>
        </a:p>
      </dgm:t>
    </dgm:pt>
    <dgm:pt modelId="{2F8AC9DB-35D3-42FF-AA7D-BFA5BF6E811B}" type="parTrans" cxnId="{A5AC7625-6DA6-4577-9C82-D28274F0C5E6}">
      <dgm:prSet/>
      <dgm:spPr/>
      <dgm:t>
        <a:bodyPr/>
        <a:lstStyle/>
        <a:p>
          <a:endParaRPr lang="en-US"/>
        </a:p>
      </dgm:t>
    </dgm:pt>
    <dgm:pt modelId="{F088DE0C-2535-448D-8726-BD793A29C839}" type="sibTrans" cxnId="{A5AC7625-6DA6-4577-9C82-D28274F0C5E6}">
      <dgm:prSet/>
      <dgm:spPr/>
      <dgm:t>
        <a:bodyPr/>
        <a:lstStyle/>
        <a:p>
          <a:endParaRPr lang="en-US"/>
        </a:p>
      </dgm:t>
    </dgm:pt>
    <dgm:pt modelId="{E16B8F98-0CB8-4242-90CD-1DDE82214E9D}">
      <dgm:prSet custT="1"/>
      <dgm:spPr/>
      <dgm:t>
        <a:bodyPr/>
        <a:lstStyle/>
        <a:p>
          <a:r>
            <a:rPr lang="en-US" sz="1600" b="1" dirty="0">
              <a:solidFill>
                <a:schemeClr val="bg2"/>
              </a:solidFill>
            </a:rPr>
            <a:t>State Funding Profiles (PA / WA)</a:t>
          </a:r>
        </a:p>
      </dgm:t>
    </dgm:pt>
    <dgm:pt modelId="{CB5A8289-D7B8-44F9-953B-4E4A12B76BCC}" type="parTrans" cxnId="{8FF77613-452B-4CD1-9A71-1275763BAADF}">
      <dgm:prSet/>
      <dgm:spPr/>
      <dgm:t>
        <a:bodyPr/>
        <a:lstStyle/>
        <a:p>
          <a:endParaRPr lang="en-US"/>
        </a:p>
      </dgm:t>
    </dgm:pt>
    <dgm:pt modelId="{10A02EE9-B322-4F9E-815B-47431F87ED37}" type="sibTrans" cxnId="{8FF77613-452B-4CD1-9A71-1275763BAADF}">
      <dgm:prSet/>
      <dgm:spPr/>
      <dgm:t>
        <a:bodyPr/>
        <a:lstStyle/>
        <a:p>
          <a:endParaRPr lang="en-US"/>
        </a:p>
      </dgm:t>
    </dgm:pt>
    <dgm:pt modelId="{7860DA28-0393-4E5E-A6F8-8C5CE03BC962}">
      <dgm:prSet custT="1"/>
      <dgm:spPr/>
      <dgm:t>
        <a:bodyPr/>
        <a:lstStyle/>
        <a:p>
          <a:r>
            <a:rPr lang="en-US" sz="1600" b="1" dirty="0">
              <a:solidFill>
                <a:schemeClr val="bg2"/>
              </a:solidFill>
            </a:rPr>
            <a:t>Pre-Application Process Overview</a:t>
          </a:r>
        </a:p>
      </dgm:t>
    </dgm:pt>
    <dgm:pt modelId="{1DEDBE40-4C57-423C-8770-8B46EB9CF8DB}" type="parTrans" cxnId="{311774A7-6861-4271-9D04-D5CBEAA2D253}">
      <dgm:prSet/>
      <dgm:spPr/>
      <dgm:t>
        <a:bodyPr/>
        <a:lstStyle/>
        <a:p>
          <a:endParaRPr lang="en-US"/>
        </a:p>
      </dgm:t>
    </dgm:pt>
    <dgm:pt modelId="{DC20E088-3C49-4911-84F7-B0A65A8754EA}" type="sibTrans" cxnId="{311774A7-6861-4271-9D04-D5CBEAA2D253}">
      <dgm:prSet/>
      <dgm:spPr/>
      <dgm:t>
        <a:bodyPr/>
        <a:lstStyle/>
        <a:p>
          <a:endParaRPr lang="en-US"/>
        </a:p>
      </dgm:t>
    </dgm:pt>
    <dgm:pt modelId="{6F190732-08A1-40D8-9545-D94293EEFA89}">
      <dgm:prSet custT="1"/>
      <dgm:spPr/>
      <dgm:t>
        <a:bodyPr/>
        <a:lstStyle/>
        <a:p>
          <a:r>
            <a:rPr lang="en-US" sz="1600" b="1" dirty="0">
              <a:solidFill>
                <a:schemeClr val="bg2"/>
              </a:solidFill>
            </a:rPr>
            <a:t>Live Tech Demos Review</a:t>
          </a:r>
        </a:p>
      </dgm:t>
    </dgm:pt>
    <dgm:pt modelId="{728A5F26-6B79-4DE8-B593-B55392EE1179}" type="parTrans" cxnId="{8D08EFD5-40DA-44F7-80C6-C990F32EF387}">
      <dgm:prSet/>
      <dgm:spPr/>
      <dgm:t>
        <a:bodyPr/>
        <a:lstStyle/>
        <a:p>
          <a:endParaRPr lang="en-US"/>
        </a:p>
      </dgm:t>
    </dgm:pt>
    <dgm:pt modelId="{93D522C9-E647-4E6C-8313-23F40357D335}" type="sibTrans" cxnId="{8D08EFD5-40DA-44F7-80C6-C990F32EF387}">
      <dgm:prSet/>
      <dgm:spPr/>
      <dgm:t>
        <a:bodyPr/>
        <a:lstStyle/>
        <a:p>
          <a:endParaRPr lang="en-US"/>
        </a:p>
      </dgm:t>
    </dgm:pt>
    <dgm:pt modelId="{9B599865-8A71-4324-9BFE-36A4BA1E0039}">
      <dgm:prSet custT="1"/>
      <dgm:spPr/>
      <dgm:t>
        <a:bodyPr/>
        <a:lstStyle/>
        <a:p>
          <a:r>
            <a:rPr lang="en-US" sz="1600" dirty="0"/>
            <a:t>Timelines / Scoring System / Eligible Technology</a:t>
          </a:r>
        </a:p>
      </dgm:t>
    </dgm:pt>
    <dgm:pt modelId="{7F532A9F-73B5-4B20-AD2D-4FAD06893A02}" type="parTrans" cxnId="{51D30C98-AC5D-4C61-894D-EB21B185BC05}">
      <dgm:prSet/>
      <dgm:spPr/>
      <dgm:t>
        <a:bodyPr/>
        <a:lstStyle/>
        <a:p>
          <a:endParaRPr lang="en-US"/>
        </a:p>
      </dgm:t>
    </dgm:pt>
    <dgm:pt modelId="{21037880-6875-44D4-8AA4-2C8E86FDF783}" type="sibTrans" cxnId="{51D30C98-AC5D-4C61-894D-EB21B185BC05}">
      <dgm:prSet/>
      <dgm:spPr/>
      <dgm:t>
        <a:bodyPr/>
        <a:lstStyle/>
        <a:p>
          <a:endParaRPr lang="en-US"/>
        </a:p>
      </dgm:t>
    </dgm:pt>
    <dgm:pt modelId="{5ED6E118-8EF8-4C5B-A41C-CD98A77CF3C7}">
      <dgm:prSet custT="1"/>
      <dgm:spPr/>
      <dgm:t>
        <a:bodyPr/>
        <a:lstStyle/>
        <a:p>
          <a:pPr>
            <a:defRPr b="1"/>
          </a:pPr>
          <a:r>
            <a:rPr lang="en-US" sz="2000" dirty="0"/>
            <a:t>WINNCOM’S BEAD STATEGY</a:t>
          </a:r>
        </a:p>
      </dgm:t>
    </dgm:pt>
    <dgm:pt modelId="{998B6D72-FF2C-40EC-A94A-3ACC445D6D08}" type="parTrans" cxnId="{A5B4019D-501A-4AED-A50B-03EAEE6B82AD}">
      <dgm:prSet/>
      <dgm:spPr/>
      <dgm:t>
        <a:bodyPr/>
        <a:lstStyle/>
        <a:p>
          <a:endParaRPr lang="en-US"/>
        </a:p>
      </dgm:t>
    </dgm:pt>
    <dgm:pt modelId="{CABC6A30-C9AA-47DB-847D-36771C54488E}" type="sibTrans" cxnId="{A5B4019D-501A-4AED-A50B-03EAEE6B82AD}">
      <dgm:prSet/>
      <dgm:spPr/>
      <dgm:t>
        <a:bodyPr/>
        <a:lstStyle/>
        <a:p>
          <a:endParaRPr lang="en-US"/>
        </a:p>
      </dgm:t>
    </dgm:pt>
    <dgm:pt modelId="{06DA1613-3477-4572-9E3F-98C77E35957C}">
      <dgm:prSet custT="1"/>
      <dgm:spPr/>
      <dgm:t>
        <a:bodyPr/>
        <a:lstStyle/>
        <a:p>
          <a:r>
            <a:rPr lang="en-US" sz="1600" b="1" dirty="0">
              <a:solidFill>
                <a:schemeClr val="bg2"/>
              </a:solidFill>
            </a:rPr>
            <a:t>Winncom BEAD Product Strategy Review</a:t>
          </a:r>
        </a:p>
      </dgm:t>
    </dgm:pt>
    <dgm:pt modelId="{27263D9C-27C1-4BA7-9829-38C8DE1BA2E1}" type="parTrans" cxnId="{CDE94E1D-39A1-47C3-A319-759F09D3C685}">
      <dgm:prSet/>
      <dgm:spPr/>
      <dgm:t>
        <a:bodyPr/>
        <a:lstStyle/>
        <a:p>
          <a:endParaRPr lang="en-US"/>
        </a:p>
      </dgm:t>
    </dgm:pt>
    <dgm:pt modelId="{73256D5E-E1B8-43FD-BB86-808D2643E7D4}" type="sibTrans" cxnId="{CDE94E1D-39A1-47C3-A319-759F09D3C685}">
      <dgm:prSet/>
      <dgm:spPr/>
      <dgm:t>
        <a:bodyPr/>
        <a:lstStyle/>
        <a:p>
          <a:endParaRPr lang="en-US"/>
        </a:p>
      </dgm:t>
    </dgm:pt>
    <dgm:pt modelId="{1114E8D7-E2D1-4D9B-AF6C-56965904FAAD}">
      <dgm:prSet custT="1"/>
      <dgm:spPr/>
      <dgm:t>
        <a:bodyPr/>
        <a:lstStyle/>
        <a:p>
          <a:r>
            <a:rPr lang="en-US" sz="1600" b="1" dirty="0">
              <a:solidFill>
                <a:schemeClr val="bg2"/>
              </a:solidFill>
            </a:rPr>
            <a:t>Winncom Value-Added Services:</a:t>
          </a:r>
        </a:p>
      </dgm:t>
    </dgm:pt>
    <dgm:pt modelId="{9FC3F7C1-785A-490A-9103-ED7F2E4E8E9A}" type="parTrans" cxnId="{9E6EFB64-F5CD-4382-BB57-9338967D03C2}">
      <dgm:prSet/>
      <dgm:spPr/>
      <dgm:t>
        <a:bodyPr/>
        <a:lstStyle/>
        <a:p>
          <a:endParaRPr lang="en-US"/>
        </a:p>
      </dgm:t>
    </dgm:pt>
    <dgm:pt modelId="{82F16008-3F57-4A48-82BC-72CB1B0415D8}" type="sibTrans" cxnId="{9E6EFB64-F5CD-4382-BB57-9338967D03C2}">
      <dgm:prSet/>
      <dgm:spPr/>
      <dgm:t>
        <a:bodyPr/>
        <a:lstStyle/>
        <a:p>
          <a:endParaRPr lang="en-US"/>
        </a:p>
      </dgm:t>
    </dgm:pt>
    <dgm:pt modelId="{F6817D51-A765-44A2-AFC2-EB211A72D520}">
      <dgm:prSet custT="1"/>
      <dgm:spPr/>
      <dgm:t>
        <a:bodyPr/>
        <a:lstStyle/>
        <a:p>
          <a:r>
            <a:rPr lang="en-US" sz="1600" b="1" dirty="0">
              <a:solidFill>
                <a:schemeClr val="bg2"/>
              </a:solidFill>
            </a:rPr>
            <a:t>Winncom Enhanced Services</a:t>
          </a:r>
        </a:p>
      </dgm:t>
    </dgm:pt>
    <dgm:pt modelId="{5F02DACE-3670-46FA-B2B7-55B8A24101F7}" type="parTrans" cxnId="{839236A9-BDA0-4ECC-8DB7-AADCB9BF3730}">
      <dgm:prSet/>
      <dgm:spPr/>
      <dgm:t>
        <a:bodyPr/>
        <a:lstStyle/>
        <a:p>
          <a:endParaRPr lang="en-US"/>
        </a:p>
      </dgm:t>
    </dgm:pt>
    <dgm:pt modelId="{E547C980-BBBE-4D5F-8E38-764E53A817F7}" type="sibTrans" cxnId="{839236A9-BDA0-4ECC-8DB7-AADCB9BF3730}">
      <dgm:prSet/>
      <dgm:spPr/>
      <dgm:t>
        <a:bodyPr/>
        <a:lstStyle/>
        <a:p>
          <a:endParaRPr lang="en-US"/>
        </a:p>
      </dgm:t>
    </dgm:pt>
    <dgm:pt modelId="{A7895CCA-0749-44F7-A851-A18F3F1B8905}">
      <dgm:prSet custT="1"/>
      <dgm:spPr/>
      <dgm:t>
        <a:bodyPr/>
        <a:lstStyle/>
        <a:p>
          <a:r>
            <a:rPr lang="en-US" sz="1600" dirty="0"/>
            <a:t>Grant Writing</a:t>
          </a:r>
        </a:p>
      </dgm:t>
    </dgm:pt>
    <dgm:pt modelId="{468D4D2C-2EF6-436B-A10D-E45B139AAB5D}" type="parTrans" cxnId="{9A4F2E8D-0725-43C9-9C5F-8FB23DC24867}">
      <dgm:prSet/>
      <dgm:spPr/>
      <dgm:t>
        <a:bodyPr/>
        <a:lstStyle/>
        <a:p>
          <a:endParaRPr lang="en-US"/>
        </a:p>
      </dgm:t>
    </dgm:pt>
    <dgm:pt modelId="{0BC72841-56A6-49B5-A346-9E4E32F75839}" type="sibTrans" cxnId="{9A4F2E8D-0725-43C9-9C5F-8FB23DC24867}">
      <dgm:prSet/>
      <dgm:spPr/>
      <dgm:t>
        <a:bodyPr/>
        <a:lstStyle/>
        <a:p>
          <a:endParaRPr lang="en-US"/>
        </a:p>
      </dgm:t>
    </dgm:pt>
    <dgm:pt modelId="{065DED82-0162-425B-84ED-F3EEF45F9866}">
      <dgm:prSet custT="1"/>
      <dgm:spPr/>
      <dgm:t>
        <a:bodyPr/>
        <a:lstStyle/>
        <a:p>
          <a:r>
            <a:rPr lang="en-US" sz="1600" dirty="0"/>
            <a:t>Professional Engineering Services</a:t>
          </a:r>
        </a:p>
      </dgm:t>
    </dgm:pt>
    <dgm:pt modelId="{738A162D-3D6A-4C14-801C-211C3128C102}" type="parTrans" cxnId="{1225B068-9297-49BA-92C4-530FD1F1CB86}">
      <dgm:prSet/>
      <dgm:spPr/>
      <dgm:t>
        <a:bodyPr/>
        <a:lstStyle/>
        <a:p>
          <a:endParaRPr lang="en-US"/>
        </a:p>
      </dgm:t>
    </dgm:pt>
    <dgm:pt modelId="{698B0269-0D70-4295-8FD4-61D008F97A7A}" type="sibTrans" cxnId="{1225B068-9297-49BA-92C4-530FD1F1CB86}">
      <dgm:prSet/>
      <dgm:spPr/>
      <dgm:t>
        <a:bodyPr/>
        <a:lstStyle/>
        <a:p>
          <a:endParaRPr lang="en-US"/>
        </a:p>
      </dgm:t>
    </dgm:pt>
    <dgm:pt modelId="{A4E35DED-931C-411D-BB59-372DE2DADDAB}">
      <dgm:prSet custT="1"/>
      <dgm:spPr/>
      <dgm:t>
        <a:bodyPr/>
        <a:lstStyle/>
        <a:p>
          <a:r>
            <a:rPr lang="en-US" sz="1600" dirty="0"/>
            <a:t>Financial Services</a:t>
          </a:r>
        </a:p>
      </dgm:t>
    </dgm:pt>
    <dgm:pt modelId="{3D1B6D20-EDC7-4D24-95ED-5368DE0EE901}" type="parTrans" cxnId="{142DCE30-3037-4265-88A0-1659B5B85E71}">
      <dgm:prSet/>
      <dgm:spPr/>
      <dgm:t>
        <a:bodyPr/>
        <a:lstStyle/>
        <a:p>
          <a:endParaRPr lang="en-US"/>
        </a:p>
      </dgm:t>
    </dgm:pt>
    <dgm:pt modelId="{279DE5C3-95D2-4A5F-AC71-82550F6C0870}" type="sibTrans" cxnId="{142DCE30-3037-4265-88A0-1659B5B85E71}">
      <dgm:prSet/>
      <dgm:spPr/>
      <dgm:t>
        <a:bodyPr/>
        <a:lstStyle/>
        <a:p>
          <a:endParaRPr lang="en-US"/>
        </a:p>
      </dgm:t>
    </dgm:pt>
    <dgm:pt modelId="{99FF5FBC-C517-4EBE-81AF-D7B88897A95E}">
      <dgm:prSet custT="1"/>
      <dgm:spPr/>
      <dgm:t>
        <a:bodyPr/>
        <a:lstStyle/>
        <a:p>
          <a:r>
            <a:rPr lang="en-US" sz="1600" dirty="0"/>
            <a:t>QGIS Network Design Tool</a:t>
          </a:r>
        </a:p>
      </dgm:t>
    </dgm:pt>
    <dgm:pt modelId="{CD5F0CCC-FD45-4FD6-BEA3-61EFB070429D}" type="parTrans" cxnId="{6A460CAF-4CD0-45BD-B85A-FA72B284C681}">
      <dgm:prSet/>
      <dgm:spPr/>
      <dgm:t>
        <a:bodyPr/>
        <a:lstStyle/>
        <a:p>
          <a:endParaRPr lang="en-US"/>
        </a:p>
      </dgm:t>
    </dgm:pt>
    <dgm:pt modelId="{92F5E917-7368-4335-94F9-D798D1FE3AEA}" type="sibTrans" cxnId="{6A460CAF-4CD0-45BD-B85A-FA72B284C681}">
      <dgm:prSet/>
      <dgm:spPr/>
      <dgm:t>
        <a:bodyPr/>
        <a:lstStyle/>
        <a:p>
          <a:endParaRPr lang="en-US"/>
        </a:p>
      </dgm:t>
    </dgm:pt>
    <dgm:pt modelId="{822895ED-D4A8-4E00-B3B5-0AC0DC312A53}">
      <dgm:prSet custT="1"/>
      <dgm:spPr/>
      <dgm:t>
        <a:bodyPr/>
        <a:lstStyle/>
        <a:p>
          <a:r>
            <a:rPr lang="en-US" sz="1600" dirty="0"/>
            <a:t>High Level Fiber Design</a:t>
          </a:r>
        </a:p>
      </dgm:t>
    </dgm:pt>
    <dgm:pt modelId="{72DF3ACF-2EFD-4DED-B247-A119FB0E5754}" type="parTrans" cxnId="{7C514EB7-3DFE-4410-A0F2-A2EF1188EF16}">
      <dgm:prSet/>
      <dgm:spPr/>
      <dgm:t>
        <a:bodyPr/>
        <a:lstStyle/>
        <a:p>
          <a:endParaRPr lang="en-US"/>
        </a:p>
      </dgm:t>
    </dgm:pt>
    <dgm:pt modelId="{F41A67DD-215A-47BB-92DF-613A9DCAA298}" type="sibTrans" cxnId="{7C514EB7-3DFE-4410-A0F2-A2EF1188EF16}">
      <dgm:prSet/>
      <dgm:spPr/>
      <dgm:t>
        <a:bodyPr/>
        <a:lstStyle/>
        <a:p>
          <a:endParaRPr lang="en-US"/>
        </a:p>
      </dgm:t>
    </dgm:pt>
    <dgm:pt modelId="{71FFAF80-2E4E-444C-A956-DC8566C868CA}" type="pres">
      <dgm:prSet presAssocID="{753819D8-40E0-498E-A1F4-5F18740C7D86}" presName="linear" presStyleCnt="0">
        <dgm:presLayoutVars>
          <dgm:dir/>
          <dgm:animLvl val="lvl"/>
          <dgm:resizeHandles val="exact"/>
        </dgm:presLayoutVars>
      </dgm:prSet>
      <dgm:spPr/>
    </dgm:pt>
    <dgm:pt modelId="{A447A084-0149-4E4C-864E-412BDBFDA214}" type="pres">
      <dgm:prSet presAssocID="{E0B2EB3E-3ABC-4593-9A01-5DE6F3B40FD3}" presName="parentLin" presStyleCnt="0"/>
      <dgm:spPr/>
    </dgm:pt>
    <dgm:pt modelId="{F6857B03-24B4-48B1-94CD-2228C508F273}" type="pres">
      <dgm:prSet presAssocID="{E0B2EB3E-3ABC-4593-9A01-5DE6F3B40FD3}" presName="parentLeftMargin" presStyleLbl="node1" presStyleIdx="0" presStyleCnt="2"/>
      <dgm:spPr/>
    </dgm:pt>
    <dgm:pt modelId="{13C3FB2C-3E55-4D0E-BC57-09A415E4BED8}" type="pres">
      <dgm:prSet presAssocID="{E0B2EB3E-3ABC-4593-9A01-5DE6F3B40FD3}" presName="parentText" presStyleLbl="node1" presStyleIdx="0" presStyleCnt="2">
        <dgm:presLayoutVars>
          <dgm:chMax val="0"/>
          <dgm:bulletEnabled val="1"/>
        </dgm:presLayoutVars>
      </dgm:prSet>
      <dgm:spPr/>
    </dgm:pt>
    <dgm:pt modelId="{3844F2FA-EC17-417D-BC98-5AEA7684053D}" type="pres">
      <dgm:prSet presAssocID="{E0B2EB3E-3ABC-4593-9A01-5DE6F3B40FD3}" presName="negativeSpace" presStyleCnt="0"/>
      <dgm:spPr/>
    </dgm:pt>
    <dgm:pt modelId="{85A813B6-D786-441C-A5FC-FA08930B4043}" type="pres">
      <dgm:prSet presAssocID="{E0B2EB3E-3ABC-4593-9A01-5DE6F3B40FD3}" presName="childText" presStyleLbl="conFgAcc1" presStyleIdx="0" presStyleCnt="2">
        <dgm:presLayoutVars>
          <dgm:bulletEnabled val="1"/>
        </dgm:presLayoutVars>
      </dgm:prSet>
      <dgm:spPr/>
    </dgm:pt>
    <dgm:pt modelId="{083A8710-0CC6-41FE-875F-013C80A5ABE6}" type="pres">
      <dgm:prSet presAssocID="{F088DE0C-2535-448D-8726-BD793A29C839}" presName="spaceBetweenRectangles" presStyleCnt="0"/>
      <dgm:spPr/>
    </dgm:pt>
    <dgm:pt modelId="{82D366E8-A30A-4A31-99BE-3967990C5403}" type="pres">
      <dgm:prSet presAssocID="{5ED6E118-8EF8-4C5B-A41C-CD98A77CF3C7}" presName="parentLin" presStyleCnt="0"/>
      <dgm:spPr/>
    </dgm:pt>
    <dgm:pt modelId="{C0CF683A-4803-431C-9926-FD0A29AF5E9F}" type="pres">
      <dgm:prSet presAssocID="{5ED6E118-8EF8-4C5B-A41C-CD98A77CF3C7}" presName="parentLeftMargin" presStyleLbl="node1" presStyleIdx="0" presStyleCnt="2"/>
      <dgm:spPr/>
    </dgm:pt>
    <dgm:pt modelId="{2F52EA40-4D93-4581-A47E-6313295779F1}" type="pres">
      <dgm:prSet presAssocID="{5ED6E118-8EF8-4C5B-A41C-CD98A77CF3C7}" presName="parentText" presStyleLbl="node1" presStyleIdx="1" presStyleCnt="2">
        <dgm:presLayoutVars>
          <dgm:chMax val="0"/>
          <dgm:bulletEnabled val="1"/>
        </dgm:presLayoutVars>
      </dgm:prSet>
      <dgm:spPr/>
    </dgm:pt>
    <dgm:pt modelId="{02BD54E5-CACF-4857-ACFF-6766A501EF96}" type="pres">
      <dgm:prSet presAssocID="{5ED6E118-8EF8-4C5B-A41C-CD98A77CF3C7}" presName="negativeSpace" presStyleCnt="0"/>
      <dgm:spPr/>
    </dgm:pt>
    <dgm:pt modelId="{0BE448DE-4FB1-43C3-8C70-860431321372}" type="pres">
      <dgm:prSet presAssocID="{5ED6E118-8EF8-4C5B-A41C-CD98A77CF3C7}" presName="childText" presStyleLbl="conFgAcc1" presStyleIdx="1" presStyleCnt="2">
        <dgm:presLayoutVars>
          <dgm:bulletEnabled val="1"/>
        </dgm:presLayoutVars>
      </dgm:prSet>
      <dgm:spPr/>
    </dgm:pt>
  </dgm:ptLst>
  <dgm:cxnLst>
    <dgm:cxn modelId="{5C0C3301-8AD9-4883-A455-9603DFA240A2}" type="presOf" srcId="{06DA1613-3477-4572-9E3F-98C77E35957C}" destId="{0BE448DE-4FB1-43C3-8C70-860431321372}" srcOrd="0" destOrd="0" presId="urn:microsoft.com/office/officeart/2005/8/layout/list1"/>
    <dgm:cxn modelId="{8FF77613-452B-4CD1-9A71-1275763BAADF}" srcId="{E0B2EB3E-3ABC-4593-9A01-5DE6F3B40FD3}" destId="{E16B8F98-0CB8-4242-90CD-1DDE82214E9D}" srcOrd="0" destOrd="0" parTransId="{CB5A8289-D7B8-44F9-953B-4E4A12B76BCC}" sibTransId="{10A02EE9-B322-4F9E-815B-47431F87ED37}"/>
    <dgm:cxn modelId="{2A3AB11C-7BD3-4BAA-9D43-673CDFE6B333}" type="presOf" srcId="{E0B2EB3E-3ABC-4593-9A01-5DE6F3B40FD3}" destId="{13C3FB2C-3E55-4D0E-BC57-09A415E4BED8}" srcOrd="1" destOrd="0" presId="urn:microsoft.com/office/officeart/2005/8/layout/list1"/>
    <dgm:cxn modelId="{CDE94E1D-39A1-47C3-A319-759F09D3C685}" srcId="{5ED6E118-8EF8-4C5B-A41C-CD98A77CF3C7}" destId="{06DA1613-3477-4572-9E3F-98C77E35957C}" srcOrd="0" destOrd="0" parTransId="{27263D9C-27C1-4BA7-9829-38C8DE1BA2E1}" sibTransId="{73256D5E-E1B8-43FD-BB86-808D2643E7D4}"/>
    <dgm:cxn modelId="{A5AC7625-6DA6-4577-9C82-D28274F0C5E6}" srcId="{753819D8-40E0-498E-A1F4-5F18740C7D86}" destId="{E0B2EB3E-3ABC-4593-9A01-5DE6F3B40FD3}" srcOrd="0" destOrd="0" parTransId="{2F8AC9DB-35D3-42FF-AA7D-BFA5BF6E811B}" sibTransId="{F088DE0C-2535-448D-8726-BD793A29C839}"/>
    <dgm:cxn modelId="{BDB85427-A996-4A65-BB88-7DA4EDB32804}" type="presOf" srcId="{99FF5FBC-C517-4EBE-81AF-D7B88897A95E}" destId="{0BE448DE-4FB1-43C3-8C70-860431321372}" srcOrd="0" destOrd="2" presId="urn:microsoft.com/office/officeart/2005/8/layout/list1"/>
    <dgm:cxn modelId="{14D2552B-FFD7-4DA9-99CC-4E363DD2591E}" type="presOf" srcId="{F6817D51-A765-44A2-AFC2-EB211A72D520}" destId="{0BE448DE-4FB1-43C3-8C70-860431321372}" srcOrd="0" destOrd="3" presId="urn:microsoft.com/office/officeart/2005/8/layout/list1"/>
    <dgm:cxn modelId="{142DCE30-3037-4265-88A0-1659B5B85E71}" srcId="{F6817D51-A765-44A2-AFC2-EB211A72D520}" destId="{A4E35DED-931C-411D-BB59-372DE2DADDAB}" srcOrd="3" destOrd="0" parTransId="{3D1B6D20-EDC7-4D24-95ED-5368DE0EE901}" sibTransId="{279DE5C3-95D2-4A5F-AC71-82550F6C0870}"/>
    <dgm:cxn modelId="{9D18AB3F-8B64-4DD8-9C51-18A114FBC390}" type="presOf" srcId="{E0B2EB3E-3ABC-4593-9A01-5DE6F3B40FD3}" destId="{F6857B03-24B4-48B1-94CD-2228C508F273}" srcOrd="0" destOrd="0" presId="urn:microsoft.com/office/officeart/2005/8/layout/list1"/>
    <dgm:cxn modelId="{9E6EFB64-F5CD-4382-BB57-9338967D03C2}" srcId="{5ED6E118-8EF8-4C5B-A41C-CD98A77CF3C7}" destId="{1114E8D7-E2D1-4D9B-AF6C-56965904FAAD}" srcOrd="1" destOrd="0" parTransId="{9FC3F7C1-785A-490A-9103-ED7F2E4E8E9A}" sibTransId="{82F16008-3F57-4A48-82BC-72CB1B0415D8}"/>
    <dgm:cxn modelId="{1225B068-9297-49BA-92C4-530FD1F1CB86}" srcId="{F6817D51-A765-44A2-AFC2-EB211A72D520}" destId="{065DED82-0162-425B-84ED-F3EEF45F9866}" srcOrd="2" destOrd="0" parTransId="{738A162D-3D6A-4C14-801C-211C3128C102}" sibTransId="{698B0269-0D70-4295-8FD4-61D008F97A7A}"/>
    <dgm:cxn modelId="{A73C804A-FF78-41CD-8FDD-743C4216605C}" type="presOf" srcId="{065DED82-0162-425B-84ED-F3EEF45F9866}" destId="{0BE448DE-4FB1-43C3-8C70-860431321372}" srcOrd="0" destOrd="6" presId="urn:microsoft.com/office/officeart/2005/8/layout/list1"/>
    <dgm:cxn modelId="{20065E4B-EA57-4780-A8B0-39C076E8A45D}" type="presOf" srcId="{7860DA28-0393-4E5E-A6F8-8C5CE03BC962}" destId="{85A813B6-D786-441C-A5FC-FA08930B4043}" srcOrd="0" destOrd="2" presId="urn:microsoft.com/office/officeart/2005/8/layout/list1"/>
    <dgm:cxn modelId="{AD777852-0B4F-47BB-8AA1-5B5693DFBA28}" type="presOf" srcId="{5ED6E118-8EF8-4C5B-A41C-CD98A77CF3C7}" destId="{2F52EA40-4D93-4581-A47E-6313295779F1}" srcOrd="1" destOrd="0" presId="urn:microsoft.com/office/officeart/2005/8/layout/list1"/>
    <dgm:cxn modelId="{32392E80-C313-46E4-A46D-5822442373D0}" type="presOf" srcId="{6F190732-08A1-40D8-9545-D94293EEFA89}" destId="{85A813B6-D786-441C-A5FC-FA08930B4043}" srcOrd="0" destOrd="3" presId="urn:microsoft.com/office/officeart/2005/8/layout/list1"/>
    <dgm:cxn modelId="{DCF16F87-2DA9-448E-B121-F901F6B482EC}" type="presOf" srcId="{A7895CCA-0749-44F7-A851-A18F3F1B8905}" destId="{0BE448DE-4FB1-43C3-8C70-860431321372}" srcOrd="0" destOrd="5" presId="urn:microsoft.com/office/officeart/2005/8/layout/list1"/>
    <dgm:cxn modelId="{9A4F2E8D-0725-43C9-9C5F-8FB23DC24867}" srcId="{F6817D51-A765-44A2-AFC2-EB211A72D520}" destId="{A7895CCA-0749-44F7-A851-A18F3F1B8905}" srcOrd="1" destOrd="0" parTransId="{468D4D2C-2EF6-436B-A10D-E45B139AAB5D}" sibTransId="{0BC72841-56A6-49B5-A346-9E4E32F75839}"/>
    <dgm:cxn modelId="{51D30C98-AC5D-4C61-894D-EB21B185BC05}" srcId="{E16B8F98-0CB8-4242-90CD-1DDE82214E9D}" destId="{9B599865-8A71-4324-9BFE-36A4BA1E0039}" srcOrd="0" destOrd="0" parTransId="{7F532A9F-73B5-4B20-AD2D-4FAD06893A02}" sibTransId="{21037880-6875-44D4-8AA4-2C8E86FDF783}"/>
    <dgm:cxn modelId="{E9F37C99-11D0-46CF-9020-392A5BEDBCC2}" type="presOf" srcId="{9B599865-8A71-4324-9BFE-36A4BA1E0039}" destId="{85A813B6-D786-441C-A5FC-FA08930B4043}" srcOrd="0" destOrd="1" presId="urn:microsoft.com/office/officeart/2005/8/layout/list1"/>
    <dgm:cxn modelId="{A5B4019D-501A-4AED-A50B-03EAEE6B82AD}" srcId="{753819D8-40E0-498E-A1F4-5F18740C7D86}" destId="{5ED6E118-8EF8-4C5B-A41C-CD98A77CF3C7}" srcOrd="1" destOrd="0" parTransId="{998B6D72-FF2C-40EC-A94A-3ACC445D6D08}" sibTransId="{CABC6A30-C9AA-47DB-847D-36771C54488E}"/>
    <dgm:cxn modelId="{C06021A5-D456-4FAB-A5DA-669D0DBCFD6D}" type="presOf" srcId="{E16B8F98-0CB8-4242-90CD-1DDE82214E9D}" destId="{85A813B6-D786-441C-A5FC-FA08930B4043}" srcOrd="0" destOrd="0" presId="urn:microsoft.com/office/officeart/2005/8/layout/list1"/>
    <dgm:cxn modelId="{311774A7-6861-4271-9D04-D5CBEAA2D253}" srcId="{E0B2EB3E-3ABC-4593-9A01-5DE6F3B40FD3}" destId="{7860DA28-0393-4E5E-A6F8-8C5CE03BC962}" srcOrd="1" destOrd="0" parTransId="{1DEDBE40-4C57-423C-8770-8B46EB9CF8DB}" sibTransId="{DC20E088-3C49-4911-84F7-B0A65A8754EA}"/>
    <dgm:cxn modelId="{839236A9-BDA0-4ECC-8DB7-AADCB9BF3730}" srcId="{5ED6E118-8EF8-4C5B-A41C-CD98A77CF3C7}" destId="{F6817D51-A765-44A2-AFC2-EB211A72D520}" srcOrd="2" destOrd="0" parTransId="{5F02DACE-3670-46FA-B2B7-55B8A24101F7}" sibTransId="{E547C980-BBBE-4D5F-8E38-764E53A817F7}"/>
    <dgm:cxn modelId="{6A460CAF-4CD0-45BD-B85A-FA72B284C681}" srcId="{1114E8D7-E2D1-4D9B-AF6C-56965904FAAD}" destId="{99FF5FBC-C517-4EBE-81AF-D7B88897A95E}" srcOrd="0" destOrd="0" parTransId="{CD5F0CCC-FD45-4FD6-BEA3-61EFB070429D}" sibTransId="{92F5E917-7368-4335-94F9-D798D1FE3AEA}"/>
    <dgm:cxn modelId="{7C514EB7-3DFE-4410-A0F2-A2EF1188EF16}" srcId="{F6817D51-A765-44A2-AFC2-EB211A72D520}" destId="{822895ED-D4A8-4E00-B3B5-0AC0DC312A53}" srcOrd="0" destOrd="0" parTransId="{72DF3ACF-2EFD-4DED-B247-A119FB0E5754}" sibTransId="{F41A67DD-215A-47BB-92DF-613A9DCAA298}"/>
    <dgm:cxn modelId="{CE0278BD-AEF4-4F72-A4D9-FA0BE0394FEF}" type="presOf" srcId="{753819D8-40E0-498E-A1F4-5F18740C7D86}" destId="{71FFAF80-2E4E-444C-A956-DC8566C868CA}" srcOrd="0" destOrd="0" presId="urn:microsoft.com/office/officeart/2005/8/layout/list1"/>
    <dgm:cxn modelId="{3D638ED2-869C-4E10-855F-E2146243595F}" type="presOf" srcId="{822895ED-D4A8-4E00-B3B5-0AC0DC312A53}" destId="{0BE448DE-4FB1-43C3-8C70-860431321372}" srcOrd="0" destOrd="4" presId="urn:microsoft.com/office/officeart/2005/8/layout/list1"/>
    <dgm:cxn modelId="{080CD4D3-081A-4C63-89C2-65A3C973735A}" type="presOf" srcId="{5ED6E118-8EF8-4C5B-A41C-CD98A77CF3C7}" destId="{C0CF683A-4803-431C-9926-FD0A29AF5E9F}" srcOrd="0" destOrd="0" presId="urn:microsoft.com/office/officeart/2005/8/layout/list1"/>
    <dgm:cxn modelId="{8D08EFD5-40DA-44F7-80C6-C990F32EF387}" srcId="{E0B2EB3E-3ABC-4593-9A01-5DE6F3B40FD3}" destId="{6F190732-08A1-40D8-9545-D94293EEFA89}" srcOrd="2" destOrd="0" parTransId="{728A5F26-6B79-4DE8-B593-B55392EE1179}" sibTransId="{93D522C9-E647-4E6C-8313-23F40357D335}"/>
    <dgm:cxn modelId="{D115C7E6-EDD6-4867-9D46-30FDFD7818F8}" type="presOf" srcId="{1114E8D7-E2D1-4D9B-AF6C-56965904FAAD}" destId="{0BE448DE-4FB1-43C3-8C70-860431321372}" srcOrd="0" destOrd="1" presId="urn:microsoft.com/office/officeart/2005/8/layout/list1"/>
    <dgm:cxn modelId="{C1A9EBF7-9669-4C79-AA36-62020F1ACB4A}" type="presOf" srcId="{A4E35DED-931C-411D-BB59-372DE2DADDAB}" destId="{0BE448DE-4FB1-43C3-8C70-860431321372}" srcOrd="0" destOrd="7" presId="urn:microsoft.com/office/officeart/2005/8/layout/list1"/>
    <dgm:cxn modelId="{82316057-E292-486C-AD13-33EED8DE36D0}" type="presParOf" srcId="{71FFAF80-2E4E-444C-A956-DC8566C868CA}" destId="{A447A084-0149-4E4C-864E-412BDBFDA214}" srcOrd="0" destOrd="0" presId="urn:microsoft.com/office/officeart/2005/8/layout/list1"/>
    <dgm:cxn modelId="{24BCA199-0F96-47B8-A18F-06670B505EAB}" type="presParOf" srcId="{A447A084-0149-4E4C-864E-412BDBFDA214}" destId="{F6857B03-24B4-48B1-94CD-2228C508F273}" srcOrd="0" destOrd="0" presId="urn:microsoft.com/office/officeart/2005/8/layout/list1"/>
    <dgm:cxn modelId="{73E08B53-8AE0-404F-9823-D93C00D4F493}" type="presParOf" srcId="{A447A084-0149-4E4C-864E-412BDBFDA214}" destId="{13C3FB2C-3E55-4D0E-BC57-09A415E4BED8}" srcOrd="1" destOrd="0" presId="urn:microsoft.com/office/officeart/2005/8/layout/list1"/>
    <dgm:cxn modelId="{CD1C9C99-3F83-4154-8E72-A6CC17BC5415}" type="presParOf" srcId="{71FFAF80-2E4E-444C-A956-DC8566C868CA}" destId="{3844F2FA-EC17-417D-BC98-5AEA7684053D}" srcOrd="1" destOrd="0" presId="urn:microsoft.com/office/officeart/2005/8/layout/list1"/>
    <dgm:cxn modelId="{8268C351-E6F2-4F38-8E1D-A39E28285999}" type="presParOf" srcId="{71FFAF80-2E4E-444C-A956-DC8566C868CA}" destId="{85A813B6-D786-441C-A5FC-FA08930B4043}" srcOrd="2" destOrd="0" presId="urn:microsoft.com/office/officeart/2005/8/layout/list1"/>
    <dgm:cxn modelId="{6BFD1041-18C2-463C-A3D7-ACB5CB78E4B3}" type="presParOf" srcId="{71FFAF80-2E4E-444C-A956-DC8566C868CA}" destId="{083A8710-0CC6-41FE-875F-013C80A5ABE6}" srcOrd="3" destOrd="0" presId="urn:microsoft.com/office/officeart/2005/8/layout/list1"/>
    <dgm:cxn modelId="{3FE09BF9-0B36-4D9F-A40E-7AD5E31A9548}" type="presParOf" srcId="{71FFAF80-2E4E-444C-A956-DC8566C868CA}" destId="{82D366E8-A30A-4A31-99BE-3967990C5403}" srcOrd="4" destOrd="0" presId="urn:microsoft.com/office/officeart/2005/8/layout/list1"/>
    <dgm:cxn modelId="{34D21A9E-3A41-48E7-B0BD-0AD245EC9944}" type="presParOf" srcId="{82D366E8-A30A-4A31-99BE-3967990C5403}" destId="{C0CF683A-4803-431C-9926-FD0A29AF5E9F}" srcOrd="0" destOrd="0" presId="urn:microsoft.com/office/officeart/2005/8/layout/list1"/>
    <dgm:cxn modelId="{20F36755-E2CC-4344-8614-0FE01517CE3B}" type="presParOf" srcId="{82D366E8-A30A-4A31-99BE-3967990C5403}" destId="{2F52EA40-4D93-4581-A47E-6313295779F1}" srcOrd="1" destOrd="0" presId="urn:microsoft.com/office/officeart/2005/8/layout/list1"/>
    <dgm:cxn modelId="{97657E30-46AF-4828-8101-2C79DF9B2B1B}" type="presParOf" srcId="{71FFAF80-2E4E-444C-A956-DC8566C868CA}" destId="{02BD54E5-CACF-4857-ACFF-6766A501EF96}" srcOrd="5" destOrd="0" presId="urn:microsoft.com/office/officeart/2005/8/layout/list1"/>
    <dgm:cxn modelId="{2274A8FE-072E-4413-9787-5F4AA5D21A60}" type="presParOf" srcId="{71FFAF80-2E4E-444C-A956-DC8566C868CA}" destId="{0BE448DE-4FB1-43C3-8C70-860431321372}" srcOrd="6"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0F522A1-A25B-4B68-A61C-5ED346E4B0E1}" type="doc">
      <dgm:prSet loTypeId="urn:microsoft.com/office/officeart/2018/5/layout/IconCircleLabelList" loCatId="icon" qsTypeId="urn:microsoft.com/office/officeart/2005/8/quickstyle/simple1" qsCatId="simple" csTypeId="urn:microsoft.com/office/officeart/2018/5/colors/Iconchunking_neutralicon_accent0_3" csCatId="mainScheme" phldr="1"/>
      <dgm:spPr/>
      <dgm:t>
        <a:bodyPr/>
        <a:lstStyle/>
        <a:p>
          <a:endParaRPr lang="en-US"/>
        </a:p>
      </dgm:t>
    </dgm:pt>
    <dgm:pt modelId="{673A85A5-FE40-4D6F-BD2F-4EC986D71EF9}">
      <dgm:prSet/>
      <dgm:spPr/>
      <dgm:t>
        <a:bodyPr/>
        <a:lstStyle/>
        <a:p>
          <a:pPr>
            <a:defRPr cap="all"/>
          </a:pPr>
          <a:r>
            <a:rPr lang="en-US" dirty="0"/>
            <a:t>Identify</a:t>
          </a:r>
        </a:p>
      </dgm:t>
    </dgm:pt>
    <dgm:pt modelId="{B9A338CA-5502-4B25-AE5F-1CAB18957834}" type="parTrans" cxnId="{12CD9CB9-D817-42C2-97EB-98EBD2DE4413}">
      <dgm:prSet/>
      <dgm:spPr/>
      <dgm:t>
        <a:bodyPr/>
        <a:lstStyle/>
        <a:p>
          <a:endParaRPr lang="en-US"/>
        </a:p>
      </dgm:t>
    </dgm:pt>
    <dgm:pt modelId="{34FE4E54-B8F0-484F-9344-889C2E0484DD}" type="sibTrans" cxnId="{12CD9CB9-D817-42C2-97EB-98EBD2DE4413}">
      <dgm:prSet/>
      <dgm:spPr/>
      <dgm:t>
        <a:bodyPr/>
        <a:lstStyle/>
        <a:p>
          <a:endParaRPr lang="en-US"/>
        </a:p>
      </dgm:t>
    </dgm:pt>
    <dgm:pt modelId="{AB87D8E1-DECD-4432-8BF2-C45FE9D0CC1B}">
      <dgm:prSet/>
      <dgm:spPr/>
      <dgm:t>
        <a:bodyPr/>
        <a:lstStyle/>
        <a:p>
          <a:pPr>
            <a:defRPr cap="all"/>
          </a:pPr>
          <a:r>
            <a:rPr lang="en-US"/>
            <a:t>Plan</a:t>
          </a:r>
        </a:p>
      </dgm:t>
    </dgm:pt>
    <dgm:pt modelId="{56DE67B5-8277-454A-9990-EDE2FB1BDBE1}" type="parTrans" cxnId="{79200533-62F1-40E4-9A23-A167B6DF912A}">
      <dgm:prSet/>
      <dgm:spPr/>
      <dgm:t>
        <a:bodyPr/>
        <a:lstStyle/>
        <a:p>
          <a:endParaRPr lang="en-US"/>
        </a:p>
      </dgm:t>
    </dgm:pt>
    <dgm:pt modelId="{1E5D0042-50CE-4AE2-8A4F-974DFFD926E8}" type="sibTrans" cxnId="{79200533-62F1-40E4-9A23-A167B6DF912A}">
      <dgm:prSet/>
      <dgm:spPr/>
      <dgm:t>
        <a:bodyPr/>
        <a:lstStyle/>
        <a:p>
          <a:endParaRPr lang="en-US"/>
        </a:p>
      </dgm:t>
    </dgm:pt>
    <dgm:pt modelId="{C9A4ACBF-F7EE-4419-BD40-10544F7A8AC4}">
      <dgm:prSet/>
      <dgm:spPr/>
      <dgm:t>
        <a:bodyPr/>
        <a:lstStyle/>
        <a:p>
          <a:pPr>
            <a:defRPr cap="all"/>
          </a:pPr>
          <a:r>
            <a:rPr lang="en-US"/>
            <a:t>Apply</a:t>
          </a:r>
        </a:p>
      </dgm:t>
    </dgm:pt>
    <dgm:pt modelId="{5830CD4E-6E20-4A52-92FF-ADF5F5AC3047}" type="parTrans" cxnId="{EAA2A351-EFC9-4E23-A036-5E50041A2082}">
      <dgm:prSet/>
      <dgm:spPr/>
      <dgm:t>
        <a:bodyPr/>
        <a:lstStyle/>
        <a:p>
          <a:endParaRPr lang="en-US"/>
        </a:p>
      </dgm:t>
    </dgm:pt>
    <dgm:pt modelId="{EAB3D46E-4C33-476C-8150-D80E50D4879C}" type="sibTrans" cxnId="{EAA2A351-EFC9-4E23-A036-5E50041A2082}">
      <dgm:prSet/>
      <dgm:spPr/>
      <dgm:t>
        <a:bodyPr/>
        <a:lstStyle/>
        <a:p>
          <a:endParaRPr lang="en-US"/>
        </a:p>
      </dgm:t>
    </dgm:pt>
    <dgm:pt modelId="{12A3E3A2-6606-428C-94E7-A8DAF333292A}">
      <dgm:prSet/>
      <dgm:spPr/>
      <dgm:t>
        <a:bodyPr/>
        <a:lstStyle/>
        <a:p>
          <a:pPr>
            <a:defRPr cap="all"/>
          </a:pPr>
          <a:r>
            <a:rPr lang="en-US"/>
            <a:t>Receive</a:t>
          </a:r>
        </a:p>
      </dgm:t>
    </dgm:pt>
    <dgm:pt modelId="{A51A06B3-9291-45E9-A735-AF27C0498F02}" type="parTrans" cxnId="{A30962FC-F18F-4634-931E-28AF4FFBC19E}">
      <dgm:prSet/>
      <dgm:spPr/>
      <dgm:t>
        <a:bodyPr/>
        <a:lstStyle/>
        <a:p>
          <a:endParaRPr lang="en-US"/>
        </a:p>
      </dgm:t>
    </dgm:pt>
    <dgm:pt modelId="{AEAF1099-5AA2-4C49-AE83-DB00E595ADCE}" type="sibTrans" cxnId="{A30962FC-F18F-4634-931E-28AF4FFBC19E}">
      <dgm:prSet/>
      <dgm:spPr/>
      <dgm:t>
        <a:bodyPr/>
        <a:lstStyle/>
        <a:p>
          <a:endParaRPr lang="en-US"/>
        </a:p>
      </dgm:t>
    </dgm:pt>
    <dgm:pt modelId="{E3CC2D26-E2FB-4445-B6D9-807D4E59CB26}">
      <dgm:prSet/>
      <dgm:spPr/>
      <dgm:t>
        <a:bodyPr/>
        <a:lstStyle/>
        <a:p>
          <a:pPr>
            <a:defRPr cap="all"/>
          </a:pPr>
          <a:r>
            <a:rPr lang="en-US"/>
            <a:t>Procure</a:t>
          </a:r>
        </a:p>
      </dgm:t>
    </dgm:pt>
    <dgm:pt modelId="{1E4EE3F1-51A6-4228-AE70-8476E8CCE250}" type="parTrans" cxnId="{907FD286-F636-48C2-B26E-E421138A5334}">
      <dgm:prSet/>
      <dgm:spPr/>
      <dgm:t>
        <a:bodyPr/>
        <a:lstStyle/>
        <a:p>
          <a:endParaRPr lang="en-US"/>
        </a:p>
      </dgm:t>
    </dgm:pt>
    <dgm:pt modelId="{7131C454-CFCF-4AD5-BB8F-F2548F822760}" type="sibTrans" cxnId="{907FD286-F636-48C2-B26E-E421138A5334}">
      <dgm:prSet/>
      <dgm:spPr/>
      <dgm:t>
        <a:bodyPr/>
        <a:lstStyle/>
        <a:p>
          <a:endParaRPr lang="en-US"/>
        </a:p>
      </dgm:t>
    </dgm:pt>
    <dgm:pt modelId="{452E0D56-657A-4AE5-A007-95265C15D823}">
      <dgm:prSet/>
      <dgm:spPr/>
      <dgm:t>
        <a:bodyPr/>
        <a:lstStyle/>
        <a:p>
          <a:pPr>
            <a:defRPr cap="all"/>
          </a:pPr>
          <a:r>
            <a:rPr lang="en-US"/>
            <a:t>Construct</a:t>
          </a:r>
        </a:p>
      </dgm:t>
    </dgm:pt>
    <dgm:pt modelId="{A66A33B5-D6B1-4EE6-8DC2-4EEE68E80F37}" type="parTrans" cxnId="{74E480DF-925E-4EC7-A009-A96811224633}">
      <dgm:prSet/>
      <dgm:spPr/>
      <dgm:t>
        <a:bodyPr/>
        <a:lstStyle/>
        <a:p>
          <a:endParaRPr lang="en-US"/>
        </a:p>
      </dgm:t>
    </dgm:pt>
    <dgm:pt modelId="{1013328E-F64C-4BC3-BBDF-9E2D85D2D2FE}" type="sibTrans" cxnId="{74E480DF-925E-4EC7-A009-A96811224633}">
      <dgm:prSet/>
      <dgm:spPr/>
      <dgm:t>
        <a:bodyPr/>
        <a:lstStyle/>
        <a:p>
          <a:endParaRPr lang="en-US"/>
        </a:p>
      </dgm:t>
    </dgm:pt>
    <dgm:pt modelId="{9A776D79-A348-4F6A-8DC0-04365D6B75C7}">
      <dgm:prSet/>
      <dgm:spPr/>
      <dgm:t>
        <a:bodyPr/>
        <a:lstStyle/>
        <a:p>
          <a:pPr>
            <a:defRPr cap="all"/>
          </a:pPr>
          <a:r>
            <a:rPr lang="en-US" dirty="0"/>
            <a:t>Operate</a:t>
          </a:r>
        </a:p>
      </dgm:t>
    </dgm:pt>
    <dgm:pt modelId="{662B426C-89BB-445C-9397-8A2CBA370689}" type="parTrans" cxnId="{2872BFB9-5766-446B-AABA-2548665C362C}">
      <dgm:prSet/>
      <dgm:spPr/>
      <dgm:t>
        <a:bodyPr/>
        <a:lstStyle/>
        <a:p>
          <a:endParaRPr lang="en-US"/>
        </a:p>
      </dgm:t>
    </dgm:pt>
    <dgm:pt modelId="{27458D6F-DA63-479A-A41C-F1A015E27DD3}" type="sibTrans" cxnId="{2872BFB9-5766-446B-AABA-2548665C362C}">
      <dgm:prSet/>
      <dgm:spPr/>
      <dgm:t>
        <a:bodyPr/>
        <a:lstStyle/>
        <a:p>
          <a:endParaRPr lang="en-US"/>
        </a:p>
      </dgm:t>
    </dgm:pt>
    <dgm:pt modelId="{2C6C84EC-6233-46A9-BFC4-6E729D0E6C38}" type="pres">
      <dgm:prSet presAssocID="{80F522A1-A25B-4B68-A61C-5ED346E4B0E1}" presName="root" presStyleCnt="0">
        <dgm:presLayoutVars>
          <dgm:dir/>
          <dgm:resizeHandles val="exact"/>
        </dgm:presLayoutVars>
      </dgm:prSet>
      <dgm:spPr/>
    </dgm:pt>
    <dgm:pt modelId="{6F8EB795-1BAF-4061-A213-B8AF436BBC8E}" type="pres">
      <dgm:prSet presAssocID="{673A85A5-FE40-4D6F-BD2F-4EC986D71EF9}" presName="compNode" presStyleCnt="0"/>
      <dgm:spPr/>
    </dgm:pt>
    <dgm:pt modelId="{4F1A3633-C16B-47A9-8F1E-6942EAB95615}" type="pres">
      <dgm:prSet presAssocID="{673A85A5-FE40-4D6F-BD2F-4EC986D71EF9}" presName="iconBgRect" presStyleLbl="bgShp" presStyleIdx="0" presStyleCnt="7"/>
      <dgm:spPr/>
    </dgm:pt>
    <dgm:pt modelId="{F7107547-492D-4E36-8EBA-175DC901D8EF}" type="pres">
      <dgm:prSet presAssocID="{673A85A5-FE40-4D6F-BD2F-4EC986D71EF9}"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agnifying glass"/>
        </a:ext>
      </dgm:extLst>
    </dgm:pt>
    <dgm:pt modelId="{5090C685-8942-4510-A5DC-CCB601D36DE5}" type="pres">
      <dgm:prSet presAssocID="{673A85A5-FE40-4D6F-BD2F-4EC986D71EF9}" presName="spaceRect" presStyleCnt="0"/>
      <dgm:spPr/>
    </dgm:pt>
    <dgm:pt modelId="{44C83DB5-0C3A-4FEF-9646-29193E653459}" type="pres">
      <dgm:prSet presAssocID="{673A85A5-FE40-4D6F-BD2F-4EC986D71EF9}" presName="textRect" presStyleLbl="revTx" presStyleIdx="0" presStyleCnt="7">
        <dgm:presLayoutVars>
          <dgm:chMax val="1"/>
          <dgm:chPref val="1"/>
        </dgm:presLayoutVars>
      </dgm:prSet>
      <dgm:spPr/>
    </dgm:pt>
    <dgm:pt modelId="{660F526B-CA25-4369-82F1-8967B836F614}" type="pres">
      <dgm:prSet presAssocID="{34FE4E54-B8F0-484F-9344-889C2E0484DD}" presName="sibTrans" presStyleCnt="0"/>
      <dgm:spPr/>
    </dgm:pt>
    <dgm:pt modelId="{B14612B3-6147-4E31-BA1F-F3885830CB5A}" type="pres">
      <dgm:prSet presAssocID="{AB87D8E1-DECD-4432-8BF2-C45FE9D0CC1B}" presName="compNode" presStyleCnt="0"/>
      <dgm:spPr/>
    </dgm:pt>
    <dgm:pt modelId="{C8258FC1-85E0-4054-B58A-B4FFB69078E6}" type="pres">
      <dgm:prSet presAssocID="{AB87D8E1-DECD-4432-8BF2-C45FE9D0CC1B}" presName="iconBgRect" presStyleLbl="bgShp" presStyleIdx="1" presStyleCnt="7"/>
      <dgm:spPr/>
    </dgm:pt>
    <dgm:pt modelId="{4F065F0B-5727-4810-916C-4602E9126080}" type="pres">
      <dgm:prSet presAssocID="{AB87D8E1-DECD-4432-8BF2-C45FE9D0CC1B}"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List"/>
        </a:ext>
      </dgm:extLst>
    </dgm:pt>
    <dgm:pt modelId="{3D8AB53F-70C0-4AE3-BB53-141C4330C65E}" type="pres">
      <dgm:prSet presAssocID="{AB87D8E1-DECD-4432-8BF2-C45FE9D0CC1B}" presName="spaceRect" presStyleCnt="0"/>
      <dgm:spPr/>
    </dgm:pt>
    <dgm:pt modelId="{CDB72059-88ED-4AA6-AC58-C2E4F757E8BB}" type="pres">
      <dgm:prSet presAssocID="{AB87D8E1-DECD-4432-8BF2-C45FE9D0CC1B}" presName="textRect" presStyleLbl="revTx" presStyleIdx="1" presStyleCnt="7">
        <dgm:presLayoutVars>
          <dgm:chMax val="1"/>
          <dgm:chPref val="1"/>
        </dgm:presLayoutVars>
      </dgm:prSet>
      <dgm:spPr/>
    </dgm:pt>
    <dgm:pt modelId="{867459DA-1AC6-4AB6-97AB-70832EEC2E32}" type="pres">
      <dgm:prSet presAssocID="{1E5D0042-50CE-4AE2-8A4F-974DFFD926E8}" presName="sibTrans" presStyleCnt="0"/>
      <dgm:spPr/>
    </dgm:pt>
    <dgm:pt modelId="{41D95630-7AB8-4D31-8FA9-DEFF80911054}" type="pres">
      <dgm:prSet presAssocID="{C9A4ACBF-F7EE-4419-BD40-10544F7A8AC4}" presName="compNode" presStyleCnt="0"/>
      <dgm:spPr/>
    </dgm:pt>
    <dgm:pt modelId="{D19AA3CF-F3D1-4EFD-8D11-CF0A53D03B63}" type="pres">
      <dgm:prSet presAssocID="{C9A4ACBF-F7EE-4419-BD40-10544F7A8AC4}" presName="iconBgRect" presStyleLbl="bgShp" presStyleIdx="2" presStyleCnt="7"/>
      <dgm:spPr/>
    </dgm:pt>
    <dgm:pt modelId="{001F78D6-BB79-4ED1-AC2E-54E307B897E8}" type="pres">
      <dgm:prSet presAssocID="{C9A4ACBF-F7EE-4419-BD40-10544F7A8AC4}"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a:ext>
      </dgm:extLst>
    </dgm:pt>
    <dgm:pt modelId="{00C30B3C-4828-40EE-903F-9A34107BE11C}" type="pres">
      <dgm:prSet presAssocID="{C9A4ACBF-F7EE-4419-BD40-10544F7A8AC4}" presName="spaceRect" presStyleCnt="0"/>
      <dgm:spPr/>
    </dgm:pt>
    <dgm:pt modelId="{140D2363-B188-4A27-AFBC-6B94A1EE3E42}" type="pres">
      <dgm:prSet presAssocID="{C9A4ACBF-F7EE-4419-BD40-10544F7A8AC4}" presName="textRect" presStyleLbl="revTx" presStyleIdx="2" presStyleCnt="7">
        <dgm:presLayoutVars>
          <dgm:chMax val="1"/>
          <dgm:chPref val="1"/>
        </dgm:presLayoutVars>
      </dgm:prSet>
      <dgm:spPr/>
    </dgm:pt>
    <dgm:pt modelId="{B6AAF08C-2108-45B9-A6FC-A72BC52E7151}" type="pres">
      <dgm:prSet presAssocID="{EAB3D46E-4C33-476C-8150-D80E50D4879C}" presName="sibTrans" presStyleCnt="0"/>
      <dgm:spPr/>
    </dgm:pt>
    <dgm:pt modelId="{A4BE0E11-4CFE-439E-AE6D-AFBA7711DDE9}" type="pres">
      <dgm:prSet presAssocID="{12A3E3A2-6606-428C-94E7-A8DAF333292A}" presName="compNode" presStyleCnt="0"/>
      <dgm:spPr/>
    </dgm:pt>
    <dgm:pt modelId="{C182914B-CE82-4A92-B53D-51236A667467}" type="pres">
      <dgm:prSet presAssocID="{12A3E3A2-6606-428C-94E7-A8DAF333292A}" presName="iconBgRect" presStyleLbl="bgShp" presStyleIdx="3" presStyleCnt="7"/>
      <dgm:spPr/>
    </dgm:pt>
    <dgm:pt modelId="{03E17379-C0B1-443C-852A-6ACD6C81A9A6}" type="pres">
      <dgm:prSet presAssocID="{12A3E3A2-6606-428C-94E7-A8DAF333292A}"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Envelope"/>
        </a:ext>
      </dgm:extLst>
    </dgm:pt>
    <dgm:pt modelId="{588AE4A5-7889-446A-A4FA-745E85A28452}" type="pres">
      <dgm:prSet presAssocID="{12A3E3A2-6606-428C-94E7-A8DAF333292A}" presName="spaceRect" presStyleCnt="0"/>
      <dgm:spPr/>
    </dgm:pt>
    <dgm:pt modelId="{C2CDE462-97B3-4558-A78E-C591567E4754}" type="pres">
      <dgm:prSet presAssocID="{12A3E3A2-6606-428C-94E7-A8DAF333292A}" presName="textRect" presStyleLbl="revTx" presStyleIdx="3" presStyleCnt="7">
        <dgm:presLayoutVars>
          <dgm:chMax val="1"/>
          <dgm:chPref val="1"/>
        </dgm:presLayoutVars>
      </dgm:prSet>
      <dgm:spPr/>
    </dgm:pt>
    <dgm:pt modelId="{98E76102-58AB-4A8E-8FD2-8C331FEE6856}" type="pres">
      <dgm:prSet presAssocID="{AEAF1099-5AA2-4C49-AE83-DB00E595ADCE}" presName="sibTrans" presStyleCnt="0"/>
      <dgm:spPr/>
    </dgm:pt>
    <dgm:pt modelId="{29EE5F47-48EA-4EF4-8793-80F4FD2D223B}" type="pres">
      <dgm:prSet presAssocID="{E3CC2D26-E2FB-4445-B6D9-807D4E59CB26}" presName="compNode" presStyleCnt="0"/>
      <dgm:spPr/>
    </dgm:pt>
    <dgm:pt modelId="{487A065D-4657-4786-8DC8-861ACA31A0CE}" type="pres">
      <dgm:prSet presAssocID="{E3CC2D26-E2FB-4445-B6D9-807D4E59CB26}" presName="iconBgRect" presStyleLbl="bgShp" presStyleIdx="4" presStyleCnt="7"/>
      <dgm:spPr/>
    </dgm:pt>
    <dgm:pt modelId="{12322FB7-DF94-4AFD-B28D-5BBE3D71280F}" type="pres">
      <dgm:prSet presAssocID="{E3CC2D26-E2FB-4445-B6D9-807D4E59CB26}"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Quadcopter"/>
        </a:ext>
      </dgm:extLst>
    </dgm:pt>
    <dgm:pt modelId="{2449823B-B019-4056-A749-A24BC622660E}" type="pres">
      <dgm:prSet presAssocID="{E3CC2D26-E2FB-4445-B6D9-807D4E59CB26}" presName="spaceRect" presStyleCnt="0"/>
      <dgm:spPr/>
    </dgm:pt>
    <dgm:pt modelId="{7A7F791B-B8AE-41D8-8817-99102F375871}" type="pres">
      <dgm:prSet presAssocID="{E3CC2D26-E2FB-4445-B6D9-807D4E59CB26}" presName="textRect" presStyleLbl="revTx" presStyleIdx="4" presStyleCnt="7">
        <dgm:presLayoutVars>
          <dgm:chMax val="1"/>
          <dgm:chPref val="1"/>
        </dgm:presLayoutVars>
      </dgm:prSet>
      <dgm:spPr/>
    </dgm:pt>
    <dgm:pt modelId="{3101249E-87D2-40DC-A015-736C082039FF}" type="pres">
      <dgm:prSet presAssocID="{7131C454-CFCF-4AD5-BB8F-F2548F822760}" presName="sibTrans" presStyleCnt="0"/>
      <dgm:spPr/>
    </dgm:pt>
    <dgm:pt modelId="{7D0A63E5-B166-4E24-8CA5-FA84592A17C5}" type="pres">
      <dgm:prSet presAssocID="{452E0D56-657A-4AE5-A007-95265C15D823}" presName="compNode" presStyleCnt="0"/>
      <dgm:spPr/>
    </dgm:pt>
    <dgm:pt modelId="{F5E4546F-BF8A-4E25-83D6-3FF9CCCC5AF3}" type="pres">
      <dgm:prSet presAssocID="{452E0D56-657A-4AE5-A007-95265C15D823}" presName="iconBgRect" presStyleLbl="bgShp" presStyleIdx="5" presStyleCnt="7"/>
      <dgm:spPr/>
    </dgm:pt>
    <dgm:pt modelId="{FA512DB7-F4D1-48BC-89FA-98520C57ECFB}" type="pres">
      <dgm:prSet presAssocID="{452E0D56-657A-4AE5-A007-95265C15D823}"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Gears"/>
        </a:ext>
      </dgm:extLst>
    </dgm:pt>
    <dgm:pt modelId="{EE8D8170-E542-4F8B-8F79-2ECD22E28154}" type="pres">
      <dgm:prSet presAssocID="{452E0D56-657A-4AE5-A007-95265C15D823}" presName="spaceRect" presStyleCnt="0"/>
      <dgm:spPr/>
    </dgm:pt>
    <dgm:pt modelId="{2EDFD192-DA92-4554-BE98-973D744C5D60}" type="pres">
      <dgm:prSet presAssocID="{452E0D56-657A-4AE5-A007-95265C15D823}" presName="textRect" presStyleLbl="revTx" presStyleIdx="5" presStyleCnt="7">
        <dgm:presLayoutVars>
          <dgm:chMax val="1"/>
          <dgm:chPref val="1"/>
        </dgm:presLayoutVars>
      </dgm:prSet>
      <dgm:spPr/>
    </dgm:pt>
    <dgm:pt modelId="{C4AE894A-72A6-41A3-99DD-0B81A11FB35C}" type="pres">
      <dgm:prSet presAssocID="{1013328E-F64C-4BC3-BBDF-9E2D85D2D2FE}" presName="sibTrans" presStyleCnt="0"/>
      <dgm:spPr/>
    </dgm:pt>
    <dgm:pt modelId="{C83F78EB-B14B-4C0C-847F-AFB36B32B6C5}" type="pres">
      <dgm:prSet presAssocID="{9A776D79-A348-4F6A-8DC0-04365D6B75C7}" presName="compNode" presStyleCnt="0"/>
      <dgm:spPr/>
    </dgm:pt>
    <dgm:pt modelId="{449FE3EA-10EC-4270-B376-D04B6D718FEB}" type="pres">
      <dgm:prSet presAssocID="{9A776D79-A348-4F6A-8DC0-04365D6B75C7}" presName="iconBgRect" presStyleLbl="bgShp" presStyleIdx="6" presStyleCnt="7"/>
      <dgm:spPr/>
    </dgm:pt>
    <dgm:pt modelId="{548DE38A-AE65-479E-9331-EFAAF3A2324E}" type="pres">
      <dgm:prSet presAssocID="{9A776D79-A348-4F6A-8DC0-04365D6B75C7}"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Head with Gears"/>
        </a:ext>
      </dgm:extLst>
    </dgm:pt>
    <dgm:pt modelId="{28E9DDC7-C976-4137-AD99-5ECF63026369}" type="pres">
      <dgm:prSet presAssocID="{9A776D79-A348-4F6A-8DC0-04365D6B75C7}" presName="spaceRect" presStyleCnt="0"/>
      <dgm:spPr/>
    </dgm:pt>
    <dgm:pt modelId="{B2EFB2B4-6F7D-4EA8-ACB3-E3FB5A1BB111}" type="pres">
      <dgm:prSet presAssocID="{9A776D79-A348-4F6A-8DC0-04365D6B75C7}" presName="textRect" presStyleLbl="revTx" presStyleIdx="6" presStyleCnt="7">
        <dgm:presLayoutVars>
          <dgm:chMax val="1"/>
          <dgm:chPref val="1"/>
        </dgm:presLayoutVars>
      </dgm:prSet>
      <dgm:spPr/>
    </dgm:pt>
  </dgm:ptLst>
  <dgm:cxnLst>
    <dgm:cxn modelId="{79200533-62F1-40E4-9A23-A167B6DF912A}" srcId="{80F522A1-A25B-4B68-A61C-5ED346E4B0E1}" destId="{AB87D8E1-DECD-4432-8BF2-C45FE9D0CC1B}" srcOrd="1" destOrd="0" parTransId="{56DE67B5-8277-454A-9990-EDE2FB1BDBE1}" sibTransId="{1E5D0042-50CE-4AE2-8A4F-974DFFD926E8}"/>
    <dgm:cxn modelId="{528A6533-3A09-4CBF-8210-14C2BEF1DC9C}" type="presOf" srcId="{E3CC2D26-E2FB-4445-B6D9-807D4E59CB26}" destId="{7A7F791B-B8AE-41D8-8817-99102F375871}" srcOrd="0" destOrd="0" presId="urn:microsoft.com/office/officeart/2018/5/layout/IconCircleLabelList"/>
    <dgm:cxn modelId="{EAA2A351-EFC9-4E23-A036-5E50041A2082}" srcId="{80F522A1-A25B-4B68-A61C-5ED346E4B0E1}" destId="{C9A4ACBF-F7EE-4419-BD40-10544F7A8AC4}" srcOrd="2" destOrd="0" parTransId="{5830CD4E-6E20-4A52-92FF-ADF5F5AC3047}" sibTransId="{EAB3D46E-4C33-476C-8150-D80E50D4879C}"/>
    <dgm:cxn modelId="{3B896972-779E-4577-90FE-57E8638C2F26}" type="presOf" srcId="{AB87D8E1-DECD-4432-8BF2-C45FE9D0CC1B}" destId="{CDB72059-88ED-4AA6-AC58-C2E4F757E8BB}" srcOrd="0" destOrd="0" presId="urn:microsoft.com/office/officeart/2018/5/layout/IconCircleLabelList"/>
    <dgm:cxn modelId="{86F2C885-5FE5-4C0A-9D6B-E6C878FEAAAC}" type="presOf" srcId="{12A3E3A2-6606-428C-94E7-A8DAF333292A}" destId="{C2CDE462-97B3-4558-A78E-C591567E4754}" srcOrd="0" destOrd="0" presId="urn:microsoft.com/office/officeart/2018/5/layout/IconCircleLabelList"/>
    <dgm:cxn modelId="{907FD286-F636-48C2-B26E-E421138A5334}" srcId="{80F522A1-A25B-4B68-A61C-5ED346E4B0E1}" destId="{E3CC2D26-E2FB-4445-B6D9-807D4E59CB26}" srcOrd="4" destOrd="0" parTransId="{1E4EE3F1-51A6-4228-AE70-8476E8CCE250}" sibTransId="{7131C454-CFCF-4AD5-BB8F-F2548F822760}"/>
    <dgm:cxn modelId="{91C4E6A3-2A59-4CE4-BFD0-A830E34979BB}" type="presOf" srcId="{C9A4ACBF-F7EE-4419-BD40-10544F7A8AC4}" destId="{140D2363-B188-4A27-AFBC-6B94A1EE3E42}" srcOrd="0" destOrd="0" presId="urn:microsoft.com/office/officeart/2018/5/layout/IconCircleLabelList"/>
    <dgm:cxn modelId="{8CB270B7-F59F-4B74-8479-F4A128418A7D}" type="presOf" srcId="{673A85A5-FE40-4D6F-BD2F-4EC986D71EF9}" destId="{44C83DB5-0C3A-4FEF-9646-29193E653459}" srcOrd="0" destOrd="0" presId="urn:microsoft.com/office/officeart/2018/5/layout/IconCircleLabelList"/>
    <dgm:cxn modelId="{12CD9CB9-D817-42C2-97EB-98EBD2DE4413}" srcId="{80F522A1-A25B-4B68-A61C-5ED346E4B0E1}" destId="{673A85A5-FE40-4D6F-BD2F-4EC986D71EF9}" srcOrd="0" destOrd="0" parTransId="{B9A338CA-5502-4B25-AE5F-1CAB18957834}" sibTransId="{34FE4E54-B8F0-484F-9344-889C2E0484DD}"/>
    <dgm:cxn modelId="{2872BFB9-5766-446B-AABA-2548665C362C}" srcId="{80F522A1-A25B-4B68-A61C-5ED346E4B0E1}" destId="{9A776D79-A348-4F6A-8DC0-04365D6B75C7}" srcOrd="6" destOrd="0" parTransId="{662B426C-89BB-445C-9397-8A2CBA370689}" sibTransId="{27458D6F-DA63-479A-A41C-F1A015E27DD3}"/>
    <dgm:cxn modelId="{94B3C9B9-E809-41DC-B173-77E2C745375E}" type="presOf" srcId="{9A776D79-A348-4F6A-8DC0-04365D6B75C7}" destId="{B2EFB2B4-6F7D-4EA8-ACB3-E3FB5A1BB111}" srcOrd="0" destOrd="0" presId="urn:microsoft.com/office/officeart/2018/5/layout/IconCircleLabelList"/>
    <dgm:cxn modelId="{79A545BC-A67B-48DE-B4D8-67C456BE2F4C}" type="presOf" srcId="{80F522A1-A25B-4B68-A61C-5ED346E4B0E1}" destId="{2C6C84EC-6233-46A9-BFC4-6E729D0E6C38}" srcOrd="0" destOrd="0" presId="urn:microsoft.com/office/officeart/2018/5/layout/IconCircleLabelList"/>
    <dgm:cxn modelId="{5CEADDD8-786D-46C6-9F4B-89CA058DF251}" type="presOf" srcId="{452E0D56-657A-4AE5-A007-95265C15D823}" destId="{2EDFD192-DA92-4554-BE98-973D744C5D60}" srcOrd="0" destOrd="0" presId="urn:microsoft.com/office/officeart/2018/5/layout/IconCircleLabelList"/>
    <dgm:cxn modelId="{74E480DF-925E-4EC7-A009-A96811224633}" srcId="{80F522A1-A25B-4B68-A61C-5ED346E4B0E1}" destId="{452E0D56-657A-4AE5-A007-95265C15D823}" srcOrd="5" destOrd="0" parTransId="{A66A33B5-D6B1-4EE6-8DC2-4EEE68E80F37}" sibTransId="{1013328E-F64C-4BC3-BBDF-9E2D85D2D2FE}"/>
    <dgm:cxn modelId="{A30962FC-F18F-4634-931E-28AF4FFBC19E}" srcId="{80F522A1-A25B-4B68-A61C-5ED346E4B0E1}" destId="{12A3E3A2-6606-428C-94E7-A8DAF333292A}" srcOrd="3" destOrd="0" parTransId="{A51A06B3-9291-45E9-A735-AF27C0498F02}" sibTransId="{AEAF1099-5AA2-4C49-AE83-DB00E595ADCE}"/>
    <dgm:cxn modelId="{CB443C1F-E373-4ADD-8AC0-E62DF864093F}" type="presParOf" srcId="{2C6C84EC-6233-46A9-BFC4-6E729D0E6C38}" destId="{6F8EB795-1BAF-4061-A213-B8AF436BBC8E}" srcOrd="0" destOrd="0" presId="urn:microsoft.com/office/officeart/2018/5/layout/IconCircleLabelList"/>
    <dgm:cxn modelId="{2693BDE2-F930-4E09-9271-75E31A373B00}" type="presParOf" srcId="{6F8EB795-1BAF-4061-A213-B8AF436BBC8E}" destId="{4F1A3633-C16B-47A9-8F1E-6942EAB95615}" srcOrd="0" destOrd="0" presId="urn:microsoft.com/office/officeart/2018/5/layout/IconCircleLabelList"/>
    <dgm:cxn modelId="{CE1FE3EC-CA67-4782-8B54-92E43D46EACE}" type="presParOf" srcId="{6F8EB795-1BAF-4061-A213-B8AF436BBC8E}" destId="{F7107547-492D-4E36-8EBA-175DC901D8EF}" srcOrd="1" destOrd="0" presId="urn:microsoft.com/office/officeart/2018/5/layout/IconCircleLabelList"/>
    <dgm:cxn modelId="{FAC018DD-1BBB-49E5-BD80-F3C5C94FC97B}" type="presParOf" srcId="{6F8EB795-1BAF-4061-A213-B8AF436BBC8E}" destId="{5090C685-8942-4510-A5DC-CCB601D36DE5}" srcOrd="2" destOrd="0" presId="urn:microsoft.com/office/officeart/2018/5/layout/IconCircleLabelList"/>
    <dgm:cxn modelId="{62FC122A-A831-4B65-A511-7A89E6D2C442}" type="presParOf" srcId="{6F8EB795-1BAF-4061-A213-B8AF436BBC8E}" destId="{44C83DB5-0C3A-4FEF-9646-29193E653459}" srcOrd="3" destOrd="0" presId="urn:microsoft.com/office/officeart/2018/5/layout/IconCircleLabelList"/>
    <dgm:cxn modelId="{62A7D673-EF80-4BD7-B34F-78B73A076F23}" type="presParOf" srcId="{2C6C84EC-6233-46A9-BFC4-6E729D0E6C38}" destId="{660F526B-CA25-4369-82F1-8967B836F614}" srcOrd="1" destOrd="0" presId="urn:microsoft.com/office/officeart/2018/5/layout/IconCircleLabelList"/>
    <dgm:cxn modelId="{E49CDC1C-524F-40C6-91A2-E4EFA22E2C69}" type="presParOf" srcId="{2C6C84EC-6233-46A9-BFC4-6E729D0E6C38}" destId="{B14612B3-6147-4E31-BA1F-F3885830CB5A}" srcOrd="2" destOrd="0" presId="urn:microsoft.com/office/officeart/2018/5/layout/IconCircleLabelList"/>
    <dgm:cxn modelId="{64DD9028-5F24-40D3-8EAE-828BAD2CC0D6}" type="presParOf" srcId="{B14612B3-6147-4E31-BA1F-F3885830CB5A}" destId="{C8258FC1-85E0-4054-B58A-B4FFB69078E6}" srcOrd="0" destOrd="0" presId="urn:microsoft.com/office/officeart/2018/5/layout/IconCircleLabelList"/>
    <dgm:cxn modelId="{71079E21-EFBF-4BFA-AFE4-74C14A72D6B6}" type="presParOf" srcId="{B14612B3-6147-4E31-BA1F-F3885830CB5A}" destId="{4F065F0B-5727-4810-916C-4602E9126080}" srcOrd="1" destOrd="0" presId="urn:microsoft.com/office/officeart/2018/5/layout/IconCircleLabelList"/>
    <dgm:cxn modelId="{FB84EA18-2F15-4944-AAF2-0209D78516B3}" type="presParOf" srcId="{B14612B3-6147-4E31-BA1F-F3885830CB5A}" destId="{3D8AB53F-70C0-4AE3-BB53-141C4330C65E}" srcOrd="2" destOrd="0" presId="urn:microsoft.com/office/officeart/2018/5/layout/IconCircleLabelList"/>
    <dgm:cxn modelId="{77F04629-A986-44DC-81BE-2C46C8855E31}" type="presParOf" srcId="{B14612B3-6147-4E31-BA1F-F3885830CB5A}" destId="{CDB72059-88ED-4AA6-AC58-C2E4F757E8BB}" srcOrd="3" destOrd="0" presId="urn:microsoft.com/office/officeart/2018/5/layout/IconCircleLabelList"/>
    <dgm:cxn modelId="{A2FA439E-6AC7-44DF-AB69-19A60E2B20A8}" type="presParOf" srcId="{2C6C84EC-6233-46A9-BFC4-6E729D0E6C38}" destId="{867459DA-1AC6-4AB6-97AB-70832EEC2E32}" srcOrd="3" destOrd="0" presId="urn:microsoft.com/office/officeart/2018/5/layout/IconCircleLabelList"/>
    <dgm:cxn modelId="{DFD651AD-3530-4F20-B6B5-70E32C78F1A0}" type="presParOf" srcId="{2C6C84EC-6233-46A9-BFC4-6E729D0E6C38}" destId="{41D95630-7AB8-4D31-8FA9-DEFF80911054}" srcOrd="4" destOrd="0" presId="urn:microsoft.com/office/officeart/2018/5/layout/IconCircleLabelList"/>
    <dgm:cxn modelId="{C12021A5-D9C7-4325-A4AE-E7530B0BE226}" type="presParOf" srcId="{41D95630-7AB8-4D31-8FA9-DEFF80911054}" destId="{D19AA3CF-F3D1-4EFD-8D11-CF0A53D03B63}" srcOrd="0" destOrd="0" presId="urn:microsoft.com/office/officeart/2018/5/layout/IconCircleLabelList"/>
    <dgm:cxn modelId="{D11F4DEB-418F-4F98-8998-D384B4BDF191}" type="presParOf" srcId="{41D95630-7AB8-4D31-8FA9-DEFF80911054}" destId="{001F78D6-BB79-4ED1-AC2E-54E307B897E8}" srcOrd="1" destOrd="0" presId="urn:microsoft.com/office/officeart/2018/5/layout/IconCircleLabelList"/>
    <dgm:cxn modelId="{11552CBF-6AC1-45E8-A133-013C16BAD093}" type="presParOf" srcId="{41D95630-7AB8-4D31-8FA9-DEFF80911054}" destId="{00C30B3C-4828-40EE-903F-9A34107BE11C}" srcOrd="2" destOrd="0" presId="urn:microsoft.com/office/officeart/2018/5/layout/IconCircleLabelList"/>
    <dgm:cxn modelId="{3BC24EC9-B06E-4A08-80EF-47353FB0F9C4}" type="presParOf" srcId="{41D95630-7AB8-4D31-8FA9-DEFF80911054}" destId="{140D2363-B188-4A27-AFBC-6B94A1EE3E42}" srcOrd="3" destOrd="0" presId="urn:microsoft.com/office/officeart/2018/5/layout/IconCircleLabelList"/>
    <dgm:cxn modelId="{C5E7AA0E-7FE0-4AC4-845B-A7E3352C264B}" type="presParOf" srcId="{2C6C84EC-6233-46A9-BFC4-6E729D0E6C38}" destId="{B6AAF08C-2108-45B9-A6FC-A72BC52E7151}" srcOrd="5" destOrd="0" presId="urn:microsoft.com/office/officeart/2018/5/layout/IconCircleLabelList"/>
    <dgm:cxn modelId="{A27BD04D-D86E-4185-AB3D-797CBA1CC185}" type="presParOf" srcId="{2C6C84EC-6233-46A9-BFC4-6E729D0E6C38}" destId="{A4BE0E11-4CFE-439E-AE6D-AFBA7711DDE9}" srcOrd="6" destOrd="0" presId="urn:microsoft.com/office/officeart/2018/5/layout/IconCircleLabelList"/>
    <dgm:cxn modelId="{86357BAC-87C8-45F2-BFBE-81D5DEBC6EDE}" type="presParOf" srcId="{A4BE0E11-4CFE-439E-AE6D-AFBA7711DDE9}" destId="{C182914B-CE82-4A92-B53D-51236A667467}" srcOrd="0" destOrd="0" presId="urn:microsoft.com/office/officeart/2018/5/layout/IconCircleLabelList"/>
    <dgm:cxn modelId="{F527F2A7-8152-40A7-89F8-C379B68E8C14}" type="presParOf" srcId="{A4BE0E11-4CFE-439E-AE6D-AFBA7711DDE9}" destId="{03E17379-C0B1-443C-852A-6ACD6C81A9A6}" srcOrd="1" destOrd="0" presId="urn:microsoft.com/office/officeart/2018/5/layout/IconCircleLabelList"/>
    <dgm:cxn modelId="{F46341D8-D7DB-455A-9F2C-0AE547552CBD}" type="presParOf" srcId="{A4BE0E11-4CFE-439E-AE6D-AFBA7711DDE9}" destId="{588AE4A5-7889-446A-A4FA-745E85A28452}" srcOrd="2" destOrd="0" presId="urn:microsoft.com/office/officeart/2018/5/layout/IconCircleLabelList"/>
    <dgm:cxn modelId="{1C63EEEF-759E-472E-95B8-83A855139AA6}" type="presParOf" srcId="{A4BE0E11-4CFE-439E-AE6D-AFBA7711DDE9}" destId="{C2CDE462-97B3-4558-A78E-C591567E4754}" srcOrd="3" destOrd="0" presId="urn:microsoft.com/office/officeart/2018/5/layout/IconCircleLabelList"/>
    <dgm:cxn modelId="{75843466-CE39-4B31-8052-DBD510EADF29}" type="presParOf" srcId="{2C6C84EC-6233-46A9-BFC4-6E729D0E6C38}" destId="{98E76102-58AB-4A8E-8FD2-8C331FEE6856}" srcOrd="7" destOrd="0" presId="urn:microsoft.com/office/officeart/2018/5/layout/IconCircleLabelList"/>
    <dgm:cxn modelId="{F9B8860B-5C55-4520-B65E-2F7DC532067A}" type="presParOf" srcId="{2C6C84EC-6233-46A9-BFC4-6E729D0E6C38}" destId="{29EE5F47-48EA-4EF4-8793-80F4FD2D223B}" srcOrd="8" destOrd="0" presId="urn:microsoft.com/office/officeart/2018/5/layout/IconCircleLabelList"/>
    <dgm:cxn modelId="{7FCE01F9-6379-44A7-85F7-23BDBAA24F33}" type="presParOf" srcId="{29EE5F47-48EA-4EF4-8793-80F4FD2D223B}" destId="{487A065D-4657-4786-8DC8-861ACA31A0CE}" srcOrd="0" destOrd="0" presId="urn:microsoft.com/office/officeart/2018/5/layout/IconCircleLabelList"/>
    <dgm:cxn modelId="{9FD9863C-9C8F-4A91-A9EB-1EB1BC8CB544}" type="presParOf" srcId="{29EE5F47-48EA-4EF4-8793-80F4FD2D223B}" destId="{12322FB7-DF94-4AFD-B28D-5BBE3D71280F}" srcOrd="1" destOrd="0" presId="urn:microsoft.com/office/officeart/2018/5/layout/IconCircleLabelList"/>
    <dgm:cxn modelId="{52649B7F-897F-474E-85C1-CC3746D53B74}" type="presParOf" srcId="{29EE5F47-48EA-4EF4-8793-80F4FD2D223B}" destId="{2449823B-B019-4056-A749-A24BC622660E}" srcOrd="2" destOrd="0" presId="urn:microsoft.com/office/officeart/2018/5/layout/IconCircleLabelList"/>
    <dgm:cxn modelId="{97F3FA7C-0645-4B98-85F8-4E4044402732}" type="presParOf" srcId="{29EE5F47-48EA-4EF4-8793-80F4FD2D223B}" destId="{7A7F791B-B8AE-41D8-8817-99102F375871}" srcOrd="3" destOrd="0" presId="urn:microsoft.com/office/officeart/2018/5/layout/IconCircleLabelList"/>
    <dgm:cxn modelId="{2DCF8BE7-D82F-4F5E-8857-0BBC9B295C24}" type="presParOf" srcId="{2C6C84EC-6233-46A9-BFC4-6E729D0E6C38}" destId="{3101249E-87D2-40DC-A015-736C082039FF}" srcOrd="9" destOrd="0" presId="urn:microsoft.com/office/officeart/2018/5/layout/IconCircleLabelList"/>
    <dgm:cxn modelId="{EFB481B0-3AFE-4E7B-BF01-41600A0BF422}" type="presParOf" srcId="{2C6C84EC-6233-46A9-BFC4-6E729D0E6C38}" destId="{7D0A63E5-B166-4E24-8CA5-FA84592A17C5}" srcOrd="10" destOrd="0" presId="urn:microsoft.com/office/officeart/2018/5/layout/IconCircleLabelList"/>
    <dgm:cxn modelId="{51B97AD0-4FA1-4ADF-BD9F-367D8382A531}" type="presParOf" srcId="{7D0A63E5-B166-4E24-8CA5-FA84592A17C5}" destId="{F5E4546F-BF8A-4E25-83D6-3FF9CCCC5AF3}" srcOrd="0" destOrd="0" presId="urn:microsoft.com/office/officeart/2018/5/layout/IconCircleLabelList"/>
    <dgm:cxn modelId="{7AA502F4-5785-46E9-833B-5C8D588166CC}" type="presParOf" srcId="{7D0A63E5-B166-4E24-8CA5-FA84592A17C5}" destId="{FA512DB7-F4D1-48BC-89FA-98520C57ECFB}" srcOrd="1" destOrd="0" presId="urn:microsoft.com/office/officeart/2018/5/layout/IconCircleLabelList"/>
    <dgm:cxn modelId="{686753D3-FE27-4305-9589-1B47B054195A}" type="presParOf" srcId="{7D0A63E5-B166-4E24-8CA5-FA84592A17C5}" destId="{EE8D8170-E542-4F8B-8F79-2ECD22E28154}" srcOrd="2" destOrd="0" presId="urn:microsoft.com/office/officeart/2018/5/layout/IconCircleLabelList"/>
    <dgm:cxn modelId="{7875A106-BB42-41E7-ADC3-A69121F34883}" type="presParOf" srcId="{7D0A63E5-B166-4E24-8CA5-FA84592A17C5}" destId="{2EDFD192-DA92-4554-BE98-973D744C5D60}" srcOrd="3" destOrd="0" presId="urn:microsoft.com/office/officeart/2018/5/layout/IconCircleLabelList"/>
    <dgm:cxn modelId="{FE35E207-EB85-475F-8A74-5DAF885DEB60}" type="presParOf" srcId="{2C6C84EC-6233-46A9-BFC4-6E729D0E6C38}" destId="{C4AE894A-72A6-41A3-99DD-0B81A11FB35C}" srcOrd="11" destOrd="0" presId="urn:microsoft.com/office/officeart/2018/5/layout/IconCircleLabelList"/>
    <dgm:cxn modelId="{F8E6A096-177D-4AE0-BD53-3EB7AC6821D4}" type="presParOf" srcId="{2C6C84EC-6233-46A9-BFC4-6E729D0E6C38}" destId="{C83F78EB-B14B-4C0C-847F-AFB36B32B6C5}" srcOrd="12" destOrd="0" presId="urn:microsoft.com/office/officeart/2018/5/layout/IconCircleLabelList"/>
    <dgm:cxn modelId="{D20FCE5B-087F-4E01-997F-E81C558F0BBE}" type="presParOf" srcId="{C83F78EB-B14B-4C0C-847F-AFB36B32B6C5}" destId="{449FE3EA-10EC-4270-B376-D04B6D718FEB}" srcOrd="0" destOrd="0" presId="urn:microsoft.com/office/officeart/2018/5/layout/IconCircleLabelList"/>
    <dgm:cxn modelId="{55A0BE96-ACBF-4BB6-9801-9FAE3E31970F}" type="presParOf" srcId="{C83F78EB-B14B-4C0C-847F-AFB36B32B6C5}" destId="{548DE38A-AE65-479E-9331-EFAAF3A2324E}" srcOrd="1" destOrd="0" presId="urn:microsoft.com/office/officeart/2018/5/layout/IconCircleLabelList"/>
    <dgm:cxn modelId="{F7A4C81A-4A06-4D88-B867-55161B6FB310}" type="presParOf" srcId="{C83F78EB-B14B-4C0C-847F-AFB36B32B6C5}" destId="{28E9DDC7-C976-4137-AD99-5ECF63026369}" srcOrd="2" destOrd="0" presId="urn:microsoft.com/office/officeart/2018/5/layout/IconCircleLabelList"/>
    <dgm:cxn modelId="{A7ECC8BF-8ACF-44E0-8ADB-0C5F6154CFD8}" type="presParOf" srcId="{C83F78EB-B14B-4C0C-847F-AFB36B32B6C5}" destId="{B2EFB2B4-6F7D-4EA8-ACB3-E3FB5A1BB111}"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D7C8925-21EC-4091-AE0C-73E47056CDB9}" type="doc">
      <dgm:prSet loTypeId="urn:microsoft.com/office/officeart/2018/5/layout/IconCircleLabel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A6B35811-FD0E-4B19-A3BF-480948363AC9}">
      <dgm:prSet/>
      <dgm:spPr/>
      <dgm:t>
        <a:bodyPr/>
        <a:lstStyle/>
        <a:p>
          <a:pPr>
            <a:lnSpc>
              <a:spcPct val="100000"/>
            </a:lnSpc>
            <a:defRPr cap="all"/>
          </a:pPr>
          <a:r>
            <a:rPr lang="en-US" dirty="0"/>
            <a:t>Products</a:t>
          </a:r>
        </a:p>
      </dgm:t>
    </dgm:pt>
    <dgm:pt modelId="{F8170C6B-8D2F-4AFC-B1A3-9A82126E9C83}" type="parTrans" cxnId="{3C0C8B12-E83A-4832-9CF0-A1BE13196174}">
      <dgm:prSet/>
      <dgm:spPr/>
      <dgm:t>
        <a:bodyPr/>
        <a:lstStyle/>
        <a:p>
          <a:endParaRPr lang="en-US"/>
        </a:p>
      </dgm:t>
    </dgm:pt>
    <dgm:pt modelId="{09D1D4FD-6330-44A7-AEB2-B654B89512DA}" type="sibTrans" cxnId="{3C0C8B12-E83A-4832-9CF0-A1BE13196174}">
      <dgm:prSet/>
      <dgm:spPr/>
      <dgm:t>
        <a:bodyPr/>
        <a:lstStyle/>
        <a:p>
          <a:endParaRPr lang="en-US"/>
        </a:p>
      </dgm:t>
    </dgm:pt>
    <dgm:pt modelId="{CDBFC53B-0E3F-43D0-9461-609F4B5D2CC7}">
      <dgm:prSet/>
      <dgm:spPr/>
      <dgm:t>
        <a:bodyPr/>
        <a:lstStyle/>
        <a:p>
          <a:pPr>
            <a:lnSpc>
              <a:spcPct val="100000"/>
            </a:lnSpc>
            <a:defRPr cap="all"/>
          </a:pPr>
          <a:r>
            <a:rPr lang="en-US" dirty="0"/>
            <a:t>Services</a:t>
          </a:r>
        </a:p>
      </dgm:t>
    </dgm:pt>
    <dgm:pt modelId="{1F68D8DF-C2D9-4F29-BF35-EFC5988D5914}" type="parTrans" cxnId="{E00F2BA0-1EB8-4F53-8484-F9F922DBE16F}">
      <dgm:prSet/>
      <dgm:spPr/>
      <dgm:t>
        <a:bodyPr/>
        <a:lstStyle/>
        <a:p>
          <a:endParaRPr lang="en-US"/>
        </a:p>
      </dgm:t>
    </dgm:pt>
    <dgm:pt modelId="{531C6F89-B199-4DD1-8F9D-8EF4F7EAC6FF}" type="sibTrans" cxnId="{E00F2BA0-1EB8-4F53-8484-F9F922DBE16F}">
      <dgm:prSet/>
      <dgm:spPr/>
      <dgm:t>
        <a:bodyPr/>
        <a:lstStyle/>
        <a:p>
          <a:endParaRPr lang="en-US"/>
        </a:p>
      </dgm:t>
    </dgm:pt>
    <dgm:pt modelId="{8BE413C4-2E05-401F-B4FB-E67118A79DCB}">
      <dgm:prSet/>
      <dgm:spPr/>
      <dgm:t>
        <a:bodyPr/>
        <a:lstStyle/>
        <a:p>
          <a:pPr>
            <a:lnSpc>
              <a:spcPct val="100000"/>
            </a:lnSpc>
            <a:defRPr cap="all"/>
          </a:pPr>
          <a:r>
            <a:rPr lang="en-US" dirty="0"/>
            <a:t>Financing</a:t>
          </a:r>
        </a:p>
      </dgm:t>
    </dgm:pt>
    <dgm:pt modelId="{2EF781C2-76AE-47E3-BE48-DD21F9341996}" type="parTrans" cxnId="{4E1FAC20-B9B2-4DAB-AF0F-53549DD30085}">
      <dgm:prSet/>
      <dgm:spPr/>
      <dgm:t>
        <a:bodyPr/>
        <a:lstStyle/>
        <a:p>
          <a:endParaRPr lang="en-US"/>
        </a:p>
      </dgm:t>
    </dgm:pt>
    <dgm:pt modelId="{B8E4D876-723A-4B1F-8AD9-3C55EC6E3970}" type="sibTrans" cxnId="{4E1FAC20-B9B2-4DAB-AF0F-53549DD30085}">
      <dgm:prSet/>
      <dgm:spPr/>
      <dgm:t>
        <a:bodyPr/>
        <a:lstStyle/>
        <a:p>
          <a:endParaRPr lang="en-US"/>
        </a:p>
      </dgm:t>
    </dgm:pt>
    <dgm:pt modelId="{9896A94B-CCB7-4676-9767-BC94C339B776}" type="pres">
      <dgm:prSet presAssocID="{CD7C8925-21EC-4091-AE0C-73E47056CDB9}" presName="root" presStyleCnt="0">
        <dgm:presLayoutVars>
          <dgm:dir/>
          <dgm:resizeHandles val="exact"/>
        </dgm:presLayoutVars>
      </dgm:prSet>
      <dgm:spPr/>
    </dgm:pt>
    <dgm:pt modelId="{5632D2F6-E70B-4E24-B64A-727FF7950220}" type="pres">
      <dgm:prSet presAssocID="{A6B35811-FD0E-4B19-A3BF-480948363AC9}" presName="compNode" presStyleCnt="0"/>
      <dgm:spPr/>
    </dgm:pt>
    <dgm:pt modelId="{F4289F68-0F3B-4198-A7A8-6EFBE21AE3E4}" type="pres">
      <dgm:prSet presAssocID="{A6B35811-FD0E-4B19-A3BF-480948363AC9}" presName="iconBgRect" presStyleLbl="bgShp" presStyleIdx="0" presStyleCnt="3" custLinFactNeighborX="-3947" custLinFactNeighborY="1969"/>
      <dgm:spPr/>
    </dgm:pt>
    <dgm:pt modelId="{9EBD9A75-FA20-4CFA-BF70-CBE2FBF87BCA}" type="pres">
      <dgm:prSet presAssocID="{A6B35811-FD0E-4B19-A3BF-480948363AC9}"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hopping cart"/>
        </a:ext>
      </dgm:extLst>
    </dgm:pt>
    <dgm:pt modelId="{5AEEE882-E1E5-4203-AB27-4A79B223D423}" type="pres">
      <dgm:prSet presAssocID="{A6B35811-FD0E-4B19-A3BF-480948363AC9}" presName="spaceRect" presStyleCnt="0"/>
      <dgm:spPr/>
    </dgm:pt>
    <dgm:pt modelId="{52B1DC65-91AF-4AF1-A39E-305881C48849}" type="pres">
      <dgm:prSet presAssocID="{A6B35811-FD0E-4B19-A3BF-480948363AC9}" presName="textRect" presStyleLbl="revTx" presStyleIdx="0" presStyleCnt="3" custLinFactNeighborX="2722" custLinFactNeighborY="-6998">
        <dgm:presLayoutVars>
          <dgm:chMax val="1"/>
          <dgm:chPref val="1"/>
        </dgm:presLayoutVars>
      </dgm:prSet>
      <dgm:spPr/>
    </dgm:pt>
    <dgm:pt modelId="{8CCF3DB2-0409-4870-9D09-236CF6B1675E}" type="pres">
      <dgm:prSet presAssocID="{09D1D4FD-6330-44A7-AEB2-B654B89512DA}" presName="sibTrans" presStyleCnt="0"/>
      <dgm:spPr/>
    </dgm:pt>
    <dgm:pt modelId="{880C6464-DB98-48F4-B01D-3A0AE1983D97}" type="pres">
      <dgm:prSet presAssocID="{CDBFC53B-0E3F-43D0-9461-609F4B5D2CC7}" presName="compNode" presStyleCnt="0"/>
      <dgm:spPr/>
    </dgm:pt>
    <dgm:pt modelId="{6AD2FD04-6227-49DE-A8E5-2F9D91807072}" type="pres">
      <dgm:prSet presAssocID="{CDBFC53B-0E3F-43D0-9461-609F4B5D2CC7}" presName="iconBgRect" presStyleLbl="bgShp" presStyleIdx="1" presStyleCnt="3"/>
      <dgm:spPr/>
    </dgm:pt>
    <dgm:pt modelId="{255C6B6B-653C-43DE-B002-718FBCE4DE93}" type="pres">
      <dgm:prSet presAssocID="{CDBFC53B-0E3F-43D0-9461-609F4B5D2CC7}"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ead with Gears"/>
        </a:ext>
      </dgm:extLst>
    </dgm:pt>
    <dgm:pt modelId="{550F94BE-1410-4724-8371-B4A6A033F66C}" type="pres">
      <dgm:prSet presAssocID="{CDBFC53B-0E3F-43D0-9461-609F4B5D2CC7}" presName="spaceRect" presStyleCnt="0"/>
      <dgm:spPr/>
    </dgm:pt>
    <dgm:pt modelId="{75B30E4E-32EA-42B4-B94A-87B0BBA3931D}" type="pres">
      <dgm:prSet presAssocID="{CDBFC53B-0E3F-43D0-9461-609F4B5D2CC7}" presName="textRect" presStyleLbl="revTx" presStyleIdx="1" presStyleCnt="3" custLinFactNeighborX="0" custLinFactNeighborY="-6998">
        <dgm:presLayoutVars>
          <dgm:chMax val="1"/>
          <dgm:chPref val="1"/>
        </dgm:presLayoutVars>
      </dgm:prSet>
      <dgm:spPr/>
    </dgm:pt>
    <dgm:pt modelId="{0E999A96-6186-43F3-AD32-98E874EC4A56}" type="pres">
      <dgm:prSet presAssocID="{531C6F89-B199-4DD1-8F9D-8EF4F7EAC6FF}" presName="sibTrans" presStyleCnt="0"/>
      <dgm:spPr/>
    </dgm:pt>
    <dgm:pt modelId="{267E6557-8C39-4335-AA07-D9A52E700284}" type="pres">
      <dgm:prSet presAssocID="{8BE413C4-2E05-401F-B4FB-E67118A79DCB}" presName="compNode" presStyleCnt="0"/>
      <dgm:spPr/>
    </dgm:pt>
    <dgm:pt modelId="{3E768A93-4A2E-49BD-83FD-F7E4064345C1}" type="pres">
      <dgm:prSet presAssocID="{8BE413C4-2E05-401F-B4FB-E67118A79DCB}" presName="iconBgRect" presStyleLbl="bgShp" presStyleIdx="2" presStyleCnt="3"/>
      <dgm:spPr/>
    </dgm:pt>
    <dgm:pt modelId="{2B16C822-D2EC-40AD-A0A5-3B527850B56C}" type="pres">
      <dgm:prSet presAssocID="{8BE413C4-2E05-401F-B4FB-E67118A79DCB}" presName="iconRect" presStyleLbl="node1" presStyleIdx="2" presStyleCnt="3" custScaleX="123813" custScaleY="15443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Money"/>
        </a:ext>
      </dgm:extLst>
    </dgm:pt>
    <dgm:pt modelId="{99B66FB8-BF1D-475A-8C20-E0497C4D5956}" type="pres">
      <dgm:prSet presAssocID="{8BE413C4-2E05-401F-B4FB-E67118A79DCB}" presName="spaceRect" presStyleCnt="0"/>
      <dgm:spPr/>
    </dgm:pt>
    <dgm:pt modelId="{F59C2A37-AEE1-40B9-A89B-7E22B0532C0E}" type="pres">
      <dgm:prSet presAssocID="{8BE413C4-2E05-401F-B4FB-E67118A79DCB}" presName="textRect" presStyleLbl="revTx" presStyleIdx="2" presStyleCnt="3" custScaleY="78027" custLinFactNeighborX="4646" custLinFactNeighborY="-22992">
        <dgm:presLayoutVars>
          <dgm:chMax val="1"/>
          <dgm:chPref val="1"/>
        </dgm:presLayoutVars>
      </dgm:prSet>
      <dgm:spPr/>
    </dgm:pt>
  </dgm:ptLst>
  <dgm:cxnLst>
    <dgm:cxn modelId="{3C0C8B12-E83A-4832-9CF0-A1BE13196174}" srcId="{CD7C8925-21EC-4091-AE0C-73E47056CDB9}" destId="{A6B35811-FD0E-4B19-A3BF-480948363AC9}" srcOrd="0" destOrd="0" parTransId="{F8170C6B-8D2F-4AFC-B1A3-9A82126E9C83}" sibTransId="{09D1D4FD-6330-44A7-AEB2-B654B89512DA}"/>
    <dgm:cxn modelId="{4E1FAC20-B9B2-4DAB-AF0F-53549DD30085}" srcId="{CD7C8925-21EC-4091-AE0C-73E47056CDB9}" destId="{8BE413C4-2E05-401F-B4FB-E67118A79DCB}" srcOrd="2" destOrd="0" parTransId="{2EF781C2-76AE-47E3-BE48-DD21F9341996}" sibTransId="{B8E4D876-723A-4B1F-8AD9-3C55EC6E3970}"/>
    <dgm:cxn modelId="{DE00FE2F-F878-46A2-9CEC-9AB911A957DB}" type="presOf" srcId="{A6B35811-FD0E-4B19-A3BF-480948363AC9}" destId="{52B1DC65-91AF-4AF1-A39E-305881C48849}" srcOrd="0" destOrd="0" presId="urn:microsoft.com/office/officeart/2018/5/layout/IconCircleLabelList"/>
    <dgm:cxn modelId="{1D74246E-241E-46F0-9501-D70B869834D5}" type="presOf" srcId="{CD7C8925-21EC-4091-AE0C-73E47056CDB9}" destId="{9896A94B-CCB7-4676-9767-BC94C339B776}" srcOrd="0" destOrd="0" presId="urn:microsoft.com/office/officeart/2018/5/layout/IconCircleLabelList"/>
    <dgm:cxn modelId="{F212D07A-0CE1-4C26-B681-F28D31BCF1A6}" type="presOf" srcId="{CDBFC53B-0E3F-43D0-9461-609F4B5D2CC7}" destId="{75B30E4E-32EA-42B4-B94A-87B0BBA3931D}" srcOrd="0" destOrd="0" presId="urn:microsoft.com/office/officeart/2018/5/layout/IconCircleLabelList"/>
    <dgm:cxn modelId="{E00F2BA0-1EB8-4F53-8484-F9F922DBE16F}" srcId="{CD7C8925-21EC-4091-AE0C-73E47056CDB9}" destId="{CDBFC53B-0E3F-43D0-9461-609F4B5D2CC7}" srcOrd="1" destOrd="0" parTransId="{1F68D8DF-C2D9-4F29-BF35-EFC5988D5914}" sibTransId="{531C6F89-B199-4DD1-8F9D-8EF4F7EAC6FF}"/>
    <dgm:cxn modelId="{3D9693E5-A400-45B7-8D7C-EB9A94A06B29}" type="presOf" srcId="{8BE413C4-2E05-401F-B4FB-E67118A79DCB}" destId="{F59C2A37-AEE1-40B9-A89B-7E22B0532C0E}" srcOrd="0" destOrd="0" presId="urn:microsoft.com/office/officeart/2018/5/layout/IconCircleLabelList"/>
    <dgm:cxn modelId="{641B3B05-D1F9-437F-8592-24FCE1F40F27}" type="presParOf" srcId="{9896A94B-CCB7-4676-9767-BC94C339B776}" destId="{5632D2F6-E70B-4E24-B64A-727FF7950220}" srcOrd="0" destOrd="0" presId="urn:microsoft.com/office/officeart/2018/5/layout/IconCircleLabelList"/>
    <dgm:cxn modelId="{E6F2374A-6D3C-4565-87D0-B9428D91C72F}" type="presParOf" srcId="{5632D2F6-E70B-4E24-B64A-727FF7950220}" destId="{F4289F68-0F3B-4198-A7A8-6EFBE21AE3E4}" srcOrd="0" destOrd="0" presId="urn:microsoft.com/office/officeart/2018/5/layout/IconCircleLabelList"/>
    <dgm:cxn modelId="{9E689BC9-A69D-4FC6-81EC-557B56D45A80}" type="presParOf" srcId="{5632D2F6-E70B-4E24-B64A-727FF7950220}" destId="{9EBD9A75-FA20-4CFA-BF70-CBE2FBF87BCA}" srcOrd="1" destOrd="0" presId="urn:microsoft.com/office/officeart/2018/5/layout/IconCircleLabelList"/>
    <dgm:cxn modelId="{4EE7BEB0-6754-4192-BDD5-2138ECD82BE5}" type="presParOf" srcId="{5632D2F6-E70B-4E24-B64A-727FF7950220}" destId="{5AEEE882-E1E5-4203-AB27-4A79B223D423}" srcOrd="2" destOrd="0" presId="urn:microsoft.com/office/officeart/2018/5/layout/IconCircleLabelList"/>
    <dgm:cxn modelId="{F970044F-0007-4051-BDE9-CC9969B5B6FD}" type="presParOf" srcId="{5632D2F6-E70B-4E24-B64A-727FF7950220}" destId="{52B1DC65-91AF-4AF1-A39E-305881C48849}" srcOrd="3" destOrd="0" presId="urn:microsoft.com/office/officeart/2018/5/layout/IconCircleLabelList"/>
    <dgm:cxn modelId="{FE7F6A3D-9D5A-4AEF-8100-A63F71D802D2}" type="presParOf" srcId="{9896A94B-CCB7-4676-9767-BC94C339B776}" destId="{8CCF3DB2-0409-4870-9D09-236CF6B1675E}" srcOrd="1" destOrd="0" presId="urn:microsoft.com/office/officeart/2018/5/layout/IconCircleLabelList"/>
    <dgm:cxn modelId="{3C6BB720-622C-44E3-8397-ACCF2D7DE55D}" type="presParOf" srcId="{9896A94B-CCB7-4676-9767-BC94C339B776}" destId="{880C6464-DB98-48F4-B01D-3A0AE1983D97}" srcOrd="2" destOrd="0" presId="urn:microsoft.com/office/officeart/2018/5/layout/IconCircleLabelList"/>
    <dgm:cxn modelId="{5E5975AB-9920-47C3-9524-9C060F95E72D}" type="presParOf" srcId="{880C6464-DB98-48F4-B01D-3A0AE1983D97}" destId="{6AD2FD04-6227-49DE-A8E5-2F9D91807072}" srcOrd="0" destOrd="0" presId="urn:microsoft.com/office/officeart/2018/5/layout/IconCircleLabelList"/>
    <dgm:cxn modelId="{D6AE8B00-4389-447E-BC00-63403BBA02D8}" type="presParOf" srcId="{880C6464-DB98-48F4-B01D-3A0AE1983D97}" destId="{255C6B6B-653C-43DE-B002-718FBCE4DE93}" srcOrd="1" destOrd="0" presId="urn:microsoft.com/office/officeart/2018/5/layout/IconCircleLabelList"/>
    <dgm:cxn modelId="{8271165E-DB1A-416C-B124-543D19EBBD8B}" type="presParOf" srcId="{880C6464-DB98-48F4-B01D-3A0AE1983D97}" destId="{550F94BE-1410-4724-8371-B4A6A033F66C}" srcOrd="2" destOrd="0" presId="urn:microsoft.com/office/officeart/2018/5/layout/IconCircleLabelList"/>
    <dgm:cxn modelId="{13B6F5C4-DF96-4EF7-A694-7B0D7FB292AC}" type="presParOf" srcId="{880C6464-DB98-48F4-B01D-3A0AE1983D97}" destId="{75B30E4E-32EA-42B4-B94A-87B0BBA3931D}" srcOrd="3" destOrd="0" presId="urn:microsoft.com/office/officeart/2018/5/layout/IconCircleLabelList"/>
    <dgm:cxn modelId="{67E4A576-181F-4101-89CA-23750189DB71}" type="presParOf" srcId="{9896A94B-CCB7-4676-9767-BC94C339B776}" destId="{0E999A96-6186-43F3-AD32-98E874EC4A56}" srcOrd="3" destOrd="0" presId="urn:microsoft.com/office/officeart/2018/5/layout/IconCircleLabelList"/>
    <dgm:cxn modelId="{4888C47C-71A7-4D75-9F58-23CBCBFC9F34}" type="presParOf" srcId="{9896A94B-CCB7-4676-9767-BC94C339B776}" destId="{267E6557-8C39-4335-AA07-D9A52E700284}" srcOrd="4" destOrd="0" presId="urn:microsoft.com/office/officeart/2018/5/layout/IconCircleLabelList"/>
    <dgm:cxn modelId="{E942717E-4553-4BEB-865A-4180D19716EC}" type="presParOf" srcId="{267E6557-8C39-4335-AA07-D9A52E700284}" destId="{3E768A93-4A2E-49BD-83FD-F7E4064345C1}" srcOrd="0" destOrd="0" presId="urn:microsoft.com/office/officeart/2018/5/layout/IconCircleLabelList"/>
    <dgm:cxn modelId="{99047526-59DB-4454-BC3B-977E9EE8AA46}" type="presParOf" srcId="{267E6557-8C39-4335-AA07-D9A52E700284}" destId="{2B16C822-D2EC-40AD-A0A5-3B527850B56C}" srcOrd="1" destOrd="0" presId="urn:microsoft.com/office/officeart/2018/5/layout/IconCircleLabelList"/>
    <dgm:cxn modelId="{E586D15E-CA1F-4B6E-839F-91D9ACAFBFF3}" type="presParOf" srcId="{267E6557-8C39-4335-AA07-D9A52E700284}" destId="{99B66FB8-BF1D-475A-8C20-E0497C4D5956}" srcOrd="2" destOrd="0" presId="urn:microsoft.com/office/officeart/2018/5/layout/IconCircleLabelList"/>
    <dgm:cxn modelId="{51865B6F-C24F-4109-A2C1-24D22E60FEEF}" type="presParOf" srcId="{267E6557-8C39-4335-AA07-D9A52E700284}" destId="{F59C2A37-AEE1-40B9-A89B-7E22B0532C0E}" srcOrd="3" destOrd="0" presId="urn:microsoft.com/office/officeart/2018/5/layout/IconCircleLabelList"/>
  </dgm:cxnLst>
  <dgm:bg>
    <a:noFill/>
  </dgm:bg>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71CD9F7-62CB-4A5B-8B91-EA8CACB05B2D}"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B9D92118-1823-4A71-954E-789F53F6FB17}">
      <dgm:prSet phldrT="[Text]"/>
      <dgm:spPr/>
      <dgm:t>
        <a:bodyPr/>
        <a:lstStyle/>
        <a:p>
          <a:r>
            <a:rPr lang="en-US" b="1"/>
            <a:t>THE WHERE</a:t>
          </a:r>
        </a:p>
      </dgm:t>
    </dgm:pt>
    <dgm:pt modelId="{C0EE570F-C572-4FCB-A503-2EEA94317C9D}" type="parTrans" cxnId="{2C3311E3-9996-4271-8948-09ACDEC2FF1B}">
      <dgm:prSet/>
      <dgm:spPr/>
      <dgm:t>
        <a:bodyPr/>
        <a:lstStyle/>
        <a:p>
          <a:endParaRPr lang="en-US"/>
        </a:p>
      </dgm:t>
    </dgm:pt>
    <dgm:pt modelId="{A237C1AB-6057-4301-ACFE-434F88F31FFF}" type="sibTrans" cxnId="{2C3311E3-9996-4271-8948-09ACDEC2FF1B}">
      <dgm:prSet/>
      <dgm:spPr/>
      <dgm:t>
        <a:bodyPr/>
        <a:lstStyle/>
        <a:p>
          <a:endParaRPr lang="en-US"/>
        </a:p>
      </dgm:t>
    </dgm:pt>
    <dgm:pt modelId="{59CF8F96-6AFB-4E24-B60E-50D8C5B55C93}">
      <dgm:prSet phldrT="[Text]"/>
      <dgm:spPr/>
      <dgm:t>
        <a:bodyPr/>
        <a:lstStyle/>
        <a:p>
          <a:r>
            <a:rPr lang="en-US" b="0">
              <a:latin typeface="Avenir Next LT Pro"/>
            </a:rPr>
            <a:t>Comparative ROI Ranking</a:t>
          </a:r>
        </a:p>
      </dgm:t>
    </dgm:pt>
    <dgm:pt modelId="{B35C2F63-1B0E-4FE6-B038-679883B095C5}" type="parTrans" cxnId="{3C67E8D1-0EA8-47D8-9EE1-27421D1C648E}">
      <dgm:prSet/>
      <dgm:spPr/>
      <dgm:t>
        <a:bodyPr/>
        <a:lstStyle/>
        <a:p>
          <a:endParaRPr lang="en-US"/>
        </a:p>
      </dgm:t>
    </dgm:pt>
    <dgm:pt modelId="{B30C39F1-927C-4937-BBE7-D8A726BE2C67}" type="sibTrans" cxnId="{3C67E8D1-0EA8-47D8-9EE1-27421D1C648E}">
      <dgm:prSet/>
      <dgm:spPr/>
      <dgm:t>
        <a:bodyPr/>
        <a:lstStyle/>
        <a:p>
          <a:endParaRPr lang="en-US"/>
        </a:p>
      </dgm:t>
    </dgm:pt>
    <dgm:pt modelId="{2FE01FE3-E027-49A5-BF1D-10C840899C5A}">
      <dgm:prSet phldrT="[Text]"/>
      <dgm:spPr/>
      <dgm:t>
        <a:bodyPr/>
        <a:lstStyle/>
        <a:p>
          <a:r>
            <a:rPr lang="en-US" b="0">
              <a:latin typeface="Avenir Next LT Pro"/>
            </a:rPr>
            <a:t>Competitive Breakdown</a:t>
          </a:r>
        </a:p>
      </dgm:t>
    </dgm:pt>
    <dgm:pt modelId="{43C8600D-2C7D-48E1-9FD5-E0BB23DB8F14}" type="parTrans" cxnId="{B197C179-4D1F-4933-98AB-F6409FFF9EA6}">
      <dgm:prSet/>
      <dgm:spPr/>
      <dgm:t>
        <a:bodyPr/>
        <a:lstStyle/>
        <a:p>
          <a:endParaRPr lang="en-US"/>
        </a:p>
      </dgm:t>
    </dgm:pt>
    <dgm:pt modelId="{DDCE7433-DDA2-4DEA-8EB6-EC546C9F7832}" type="sibTrans" cxnId="{B197C179-4D1F-4933-98AB-F6409FFF9EA6}">
      <dgm:prSet/>
      <dgm:spPr/>
      <dgm:t>
        <a:bodyPr/>
        <a:lstStyle/>
        <a:p>
          <a:endParaRPr lang="en-US"/>
        </a:p>
      </dgm:t>
    </dgm:pt>
    <dgm:pt modelId="{F9491A06-4CC1-4083-BED4-FDBCFB88DEAF}">
      <dgm:prSet phldrT="[Text]"/>
      <dgm:spPr/>
      <dgm:t>
        <a:bodyPr/>
        <a:lstStyle/>
        <a:p>
          <a:r>
            <a:rPr lang="en-US" b="1"/>
            <a:t>THE NETWORK</a:t>
          </a:r>
        </a:p>
      </dgm:t>
    </dgm:pt>
    <dgm:pt modelId="{746C5FE7-A861-406F-BCF0-9A1EA98086A2}" type="parTrans" cxnId="{D090AC3D-03C0-41EB-B210-11D44E1E77BE}">
      <dgm:prSet/>
      <dgm:spPr/>
      <dgm:t>
        <a:bodyPr/>
        <a:lstStyle/>
        <a:p>
          <a:endParaRPr lang="en-US"/>
        </a:p>
      </dgm:t>
    </dgm:pt>
    <dgm:pt modelId="{2CF9EDC1-7A67-487B-934F-4D5924BDDDC1}" type="sibTrans" cxnId="{D090AC3D-03C0-41EB-B210-11D44E1E77BE}">
      <dgm:prSet/>
      <dgm:spPr/>
      <dgm:t>
        <a:bodyPr/>
        <a:lstStyle/>
        <a:p>
          <a:endParaRPr lang="en-US"/>
        </a:p>
      </dgm:t>
    </dgm:pt>
    <dgm:pt modelId="{4FF7DD25-6A2E-466B-8115-19370B8A3976}">
      <dgm:prSet phldrT="[Text]"/>
      <dgm:spPr/>
      <dgm:t>
        <a:bodyPr/>
        <a:lstStyle/>
        <a:p>
          <a:r>
            <a:rPr lang="en-US"/>
            <a:t>AI Generated Fiber Spine</a:t>
          </a:r>
        </a:p>
      </dgm:t>
    </dgm:pt>
    <dgm:pt modelId="{CBEB0615-63E8-465D-BC3B-32497EB6E77C}" type="parTrans" cxnId="{DA47E4F6-4B36-4447-9BC9-DB94912A9A76}">
      <dgm:prSet/>
      <dgm:spPr/>
      <dgm:t>
        <a:bodyPr/>
        <a:lstStyle/>
        <a:p>
          <a:endParaRPr lang="en-US"/>
        </a:p>
      </dgm:t>
    </dgm:pt>
    <dgm:pt modelId="{00FAA12A-42A7-4B65-86DD-699FE50EB5C5}" type="sibTrans" cxnId="{DA47E4F6-4B36-4447-9BC9-DB94912A9A76}">
      <dgm:prSet/>
      <dgm:spPr/>
      <dgm:t>
        <a:bodyPr/>
        <a:lstStyle/>
        <a:p>
          <a:endParaRPr lang="en-US"/>
        </a:p>
      </dgm:t>
    </dgm:pt>
    <dgm:pt modelId="{0D022A66-9DA9-42E5-9F75-16803531C9D3}">
      <dgm:prSet phldrT="[Text]"/>
      <dgm:spPr/>
      <dgm:t>
        <a:bodyPr/>
        <a:lstStyle/>
        <a:p>
          <a:r>
            <a:rPr lang="en-US"/>
            <a:t>Soil/Terrain Complexity</a:t>
          </a:r>
        </a:p>
      </dgm:t>
    </dgm:pt>
    <dgm:pt modelId="{5EC3528D-4AA4-4A6F-9299-3893E34E77B9}" type="parTrans" cxnId="{BB6C8962-A112-46C7-9C35-B8B4F191DC44}">
      <dgm:prSet/>
      <dgm:spPr/>
      <dgm:t>
        <a:bodyPr/>
        <a:lstStyle/>
        <a:p>
          <a:endParaRPr lang="en-US"/>
        </a:p>
      </dgm:t>
    </dgm:pt>
    <dgm:pt modelId="{6FAAF9D1-D0EC-404A-8AAF-8C29AA77919E}" type="sibTrans" cxnId="{BB6C8962-A112-46C7-9C35-B8B4F191DC44}">
      <dgm:prSet/>
      <dgm:spPr/>
      <dgm:t>
        <a:bodyPr/>
        <a:lstStyle/>
        <a:p>
          <a:endParaRPr lang="en-US"/>
        </a:p>
      </dgm:t>
    </dgm:pt>
    <dgm:pt modelId="{05DC85EB-68E3-42FA-8F7B-BBF81DD6E655}">
      <dgm:prSet phldrT="[Text]"/>
      <dgm:spPr/>
      <dgm:t>
        <a:bodyPr/>
        <a:lstStyle/>
        <a:p>
          <a:r>
            <a:rPr lang="en-US" b="1"/>
            <a:t>THE MONEY</a:t>
          </a:r>
        </a:p>
      </dgm:t>
    </dgm:pt>
    <dgm:pt modelId="{90DECA94-3DCC-4907-8510-ED37705B1529}" type="parTrans" cxnId="{3CE8094E-2CA2-4772-9F06-70EC6F9418BA}">
      <dgm:prSet/>
      <dgm:spPr/>
      <dgm:t>
        <a:bodyPr/>
        <a:lstStyle/>
        <a:p>
          <a:endParaRPr lang="en-US"/>
        </a:p>
      </dgm:t>
    </dgm:pt>
    <dgm:pt modelId="{4F5B5CB5-93D4-41A5-878C-C094E2ECD95F}" type="sibTrans" cxnId="{3CE8094E-2CA2-4772-9F06-70EC6F9418BA}">
      <dgm:prSet/>
      <dgm:spPr/>
      <dgm:t>
        <a:bodyPr/>
        <a:lstStyle/>
        <a:p>
          <a:endParaRPr lang="en-US"/>
        </a:p>
      </dgm:t>
    </dgm:pt>
    <dgm:pt modelId="{F0E5C6D4-88F5-4C50-82B6-D200C9265FBA}">
      <dgm:prSet phldrT="[Text]"/>
      <dgm:spPr/>
      <dgm:t>
        <a:bodyPr/>
        <a:lstStyle/>
        <a:p>
          <a:pPr algn="l"/>
          <a:r>
            <a:rPr lang="en-US" sz="1900"/>
            <a:t>10 Year Pro-Forma:</a:t>
          </a:r>
        </a:p>
      </dgm:t>
    </dgm:pt>
    <dgm:pt modelId="{769C66EE-1FDB-4399-A7B0-A7B9A24AB685}" type="parTrans" cxnId="{3FC65D9B-4D7C-4236-BC04-38E1649B3485}">
      <dgm:prSet/>
      <dgm:spPr/>
      <dgm:t>
        <a:bodyPr/>
        <a:lstStyle/>
        <a:p>
          <a:endParaRPr lang="en-US"/>
        </a:p>
      </dgm:t>
    </dgm:pt>
    <dgm:pt modelId="{FB350C7C-EB93-41FA-9BFC-995C50D1C697}" type="sibTrans" cxnId="{3FC65D9B-4D7C-4236-BC04-38E1649B3485}">
      <dgm:prSet/>
      <dgm:spPr/>
      <dgm:t>
        <a:bodyPr/>
        <a:lstStyle/>
        <a:p>
          <a:endParaRPr lang="en-US"/>
        </a:p>
      </dgm:t>
    </dgm:pt>
    <dgm:pt modelId="{EC8E39A5-2FED-4C05-80B2-4AEE8EAD594A}">
      <dgm:prSet phldrT="[Text]"/>
      <dgm:spPr/>
      <dgm:t>
        <a:bodyPr/>
        <a:lstStyle/>
        <a:p>
          <a:endParaRPr lang="en-US"/>
        </a:p>
      </dgm:t>
    </dgm:pt>
    <dgm:pt modelId="{566F595F-6F73-452F-9DD8-C8166FFC7B5C}" type="parTrans" cxnId="{610C8DAF-270F-44DB-A739-7F7F293E70EA}">
      <dgm:prSet/>
      <dgm:spPr/>
      <dgm:t>
        <a:bodyPr/>
        <a:lstStyle/>
        <a:p>
          <a:endParaRPr lang="en-US"/>
        </a:p>
      </dgm:t>
    </dgm:pt>
    <dgm:pt modelId="{F16238CA-57E7-433C-8CD5-950A4A30F7E5}" type="sibTrans" cxnId="{610C8DAF-270F-44DB-A739-7F7F293E70EA}">
      <dgm:prSet/>
      <dgm:spPr/>
      <dgm:t>
        <a:bodyPr/>
        <a:lstStyle/>
        <a:p>
          <a:endParaRPr lang="en-US"/>
        </a:p>
      </dgm:t>
    </dgm:pt>
    <dgm:pt modelId="{1A63BF1E-7EE7-4787-8BBB-750251671020}">
      <dgm:prSet phldrT="[Text]" custT="1"/>
      <dgm:spPr/>
      <dgm:t>
        <a:bodyPr/>
        <a:lstStyle/>
        <a:p>
          <a:pPr algn="l">
            <a:buFont typeface="Wingdings" panose="05000000000000000000" pitchFamily="2" charset="2"/>
            <a:buChar char="§"/>
          </a:pPr>
          <a:r>
            <a:rPr lang="en-US" sz="1600" b="0" i="1">
              <a:solidFill>
                <a:schemeClr val="tx2"/>
              </a:solidFill>
              <a:latin typeface="+mj-lt"/>
            </a:rPr>
            <a:t>OPEX/CAPEX</a:t>
          </a:r>
        </a:p>
      </dgm:t>
    </dgm:pt>
    <dgm:pt modelId="{06066474-49FF-4E0F-8D2A-D8FE1FEEA5D5}" type="parTrans" cxnId="{7C434EFE-5887-4A7A-9924-EF378DAC4C2B}">
      <dgm:prSet/>
      <dgm:spPr/>
      <dgm:t>
        <a:bodyPr/>
        <a:lstStyle/>
        <a:p>
          <a:endParaRPr lang="en-US"/>
        </a:p>
      </dgm:t>
    </dgm:pt>
    <dgm:pt modelId="{5DB08026-D6FC-446E-B7BC-91B122526925}" type="sibTrans" cxnId="{7C434EFE-5887-4A7A-9924-EF378DAC4C2B}">
      <dgm:prSet/>
      <dgm:spPr/>
      <dgm:t>
        <a:bodyPr/>
        <a:lstStyle/>
        <a:p>
          <a:endParaRPr lang="en-US"/>
        </a:p>
      </dgm:t>
    </dgm:pt>
    <dgm:pt modelId="{AC2E6F62-AC13-422C-8791-1D85F2504525}">
      <dgm:prSet phldrT="[Text]" custT="1"/>
      <dgm:spPr/>
      <dgm:t>
        <a:bodyPr/>
        <a:lstStyle/>
        <a:p>
          <a:pPr algn="l" rtl="0">
            <a:buFont typeface="Wingdings" panose="05000000000000000000" pitchFamily="2" charset="2"/>
            <a:buChar char="§"/>
          </a:pPr>
          <a:r>
            <a:rPr lang="en-US" sz="1600" b="0" i="1">
              <a:solidFill>
                <a:schemeClr val="tx2"/>
              </a:solidFill>
              <a:latin typeface="+mj-lt"/>
            </a:rPr>
            <a:t>Adoption Rate &amp;  Build by Phase Revenue </a:t>
          </a:r>
        </a:p>
      </dgm:t>
    </dgm:pt>
    <dgm:pt modelId="{72365A52-29E6-45BB-BB31-F0F7D3518B0B}" type="parTrans" cxnId="{2EBD8B7A-A184-4526-BE53-3C1E434B3E16}">
      <dgm:prSet/>
      <dgm:spPr/>
      <dgm:t>
        <a:bodyPr/>
        <a:lstStyle/>
        <a:p>
          <a:endParaRPr lang="en-US"/>
        </a:p>
      </dgm:t>
    </dgm:pt>
    <dgm:pt modelId="{31DAABCA-1FF0-4B48-9CA9-1E6CF5F5383F}" type="sibTrans" cxnId="{2EBD8B7A-A184-4526-BE53-3C1E434B3E16}">
      <dgm:prSet/>
      <dgm:spPr/>
      <dgm:t>
        <a:bodyPr/>
        <a:lstStyle/>
        <a:p>
          <a:endParaRPr lang="en-US"/>
        </a:p>
      </dgm:t>
    </dgm:pt>
    <dgm:pt modelId="{2C229BC5-C2C1-44EC-A7FC-7618CDA18212}">
      <dgm:prSet phldrT="[Text]" custT="1"/>
      <dgm:spPr/>
      <dgm:t>
        <a:bodyPr/>
        <a:lstStyle/>
        <a:p>
          <a:pPr algn="l">
            <a:buFont typeface="Wingdings" panose="05000000000000000000" pitchFamily="2" charset="2"/>
            <a:buChar char="§"/>
          </a:pPr>
          <a:r>
            <a:rPr lang="en-US" sz="1600" b="0" i="1">
              <a:solidFill>
                <a:schemeClr val="tx2"/>
              </a:solidFill>
              <a:latin typeface="+mj-lt"/>
            </a:rPr>
            <a:t>Build Phases</a:t>
          </a:r>
        </a:p>
      </dgm:t>
    </dgm:pt>
    <dgm:pt modelId="{4894FC0A-863E-462A-B393-E9BEB0FD0884}" type="parTrans" cxnId="{59FE2C5C-3287-4224-A98F-92168B27568A}">
      <dgm:prSet/>
      <dgm:spPr/>
      <dgm:t>
        <a:bodyPr/>
        <a:lstStyle/>
        <a:p>
          <a:endParaRPr lang="en-US"/>
        </a:p>
      </dgm:t>
    </dgm:pt>
    <dgm:pt modelId="{D1B508ED-04B9-48AD-97EE-C9C12261A3BC}" type="sibTrans" cxnId="{59FE2C5C-3287-4224-A98F-92168B27568A}">
      <dgm:prSet/>
      <dgm:spPr/>
      <dgm:t>
        <a:bodyPr/>
        <a:lstStyle/>
        <a:p>
          <a:endParaRPr lang="en-US"/>
        </a:p>
      </dgm:t>
    </dgm:pt>
    <dgm:pt modelId="{8E2394C1-FA0E-4B9D-80D0-29F16C26BF50}">
      <dgm:prSet phldrT="[Text]"/>
      <dgm:spPr/>
      <dgm:t>
        <a:bodyPr/>
        <a:lstStyle/>
        <a:p>
          <a:r>
            <a:rPr lang="en-US"/>
            <a:t>Number and Cost for High-Cost Locations</a:t>
          </a:r>
        </a:p>
      </dgm:t>
    </dgm:pt>
    <dgm:pt modelId="{DD56EFB7-0E60-44C3-B6F6-BC8AAFFB2B22}" type="parTrans" cxnId="{044923FD-9ED8-44D0-828D-5EE8448B3233}">
      <dgm:prSet/>
      <dgm:spPr/>
      <dgm:t>
        <a:bodyPr/>
        <a:lstStyle/>
        <a:p>
          <a:endParaRPr lang="en-US"/>
        </a:p>
      </dgm:t>
    </dgm:pt>
    <dgm:pt modelId="{2001F860-EBFF-4279-AD5E-333858931B3B}" type="sibTrans" cxnId="{044923FD-9ED8-44D0-828D-5EE8448B3233}">
      <dgm:prSet/>
      <dgm:spPr/>
      <dgm:t>
        <a:bodyPr/>
        <a:lstStyle/>
        <a:p>
          <a:endParaRPr lang="en-US"/>
        </a:p>
      </dgm:t>
    </dgm:pt>
    <dgm:pt modelId="{662140B6-9162-472C-8F21-40BEF252B5E4}">
      <dgm:prSet phldrT="[Text]"/>
      <dgm:spPr/>
      <dgm:t>
        <a:bodyPr/>
        <a:lstStyle/>
        <a:p>
          <a:endParaRPr lang="en-US"/>
        </a:p>
      </dgm:t>
    </dgm:pt>
    <dgm:pt modelId="{4C06F5E2-91DD-404A-B213-B0C014AD54F8}" type="parTrans" cxnId="{9840AB94-8E3C-430B-AD5C-3463814D135E}">
      <dgm:prSet/>
      <dgm:spPr/>
      <dgm:t>
        <a:bodyPr/>
        <a:lstStyle/>
        <a:p>
          <a:endParaRPr lang="en-US"/>
        </a:p>
      </dgm:t>
    </dgm:pt>
    <dgm:pt modelId="{3E078619-3B41-4361-856B-2561A9495887}" type="sibTrans" cxnId="{9840AB94-8E3C-430B-AD5C-3463814D135E}">
      <dgm:prSet/>
      <dgm:spPr/>
      <dgm:t>
        <a:bodyPr/>
        <a:lstStyle/>
        <a:p>
          <a:endParaRPr lang="en-US"/>
        </a:p>
      </dgm:t>
    </dgm:pt>
    <dgm:pt modelId="{746C4BCC-0C79-4A89-BAB1-4C2531DE75E1}">
      <dgm:prSet phldrT="[Text]"/>
      <dgm:spPr/>
      <dgm:t>
        <a:bodyPr/>
        <a:lstStyle/>
        <a:p>
          <a:r>
            <a:rPr lang="en-US" b="0" dirty="0">
              <a:latin typeface="Avenir Next LT Pro"/>
            </a:rPr>
            <a:t>Identified Unserved/Underserved (Housetop)</a:t>
          </a:r>
        </a:p>
      </dgm:t>
    </dgm:pt>
    <dgm:pt modelId="{05EB14FA-388F-4508-ACCA-D1EA082218F7}" type="parTrans" cxnId="{9153EEEF-91E7-40D9-B9B7-66AC3B7C57C6}">
      <dgm:prSet/>
      <dgm:spPr/>
      <dgm:t>
        <a:bodyPr/>
        <a:lstStyle/>
        <a:p>
          <a:endParaRPr lang="en-US"/>
        </a:p>
      </dgm:t>
    </dgm:pt>
    <dgm:pt modelId="{6239DD53-A90E-4064-AF4A-3BF5F9621FB3}" type="sibTrans" cxnId="{9153EEEF-91E7-40D9-B9B7-66AC3B7C57C6}">
      <dgm:prSet/>
      <dgm:spPr/>
      <dgm:t>
        <a:bodyPr/>
        <a:lstStyle/>
        <a:p>
          <a:endParaRPr lang="en-US"/>
        </a:p>
      </dgm:t>
    </dgm:pt>
    <dgm:pt modelId="{0398228B-B53C-4D73-ABED-B58D491A9784}">
      <dgm:prSet phldrT="[Text]"/>
      <dgm:spPr/>
      <dgm:t>
        <a:bodyPr/>
        <a:lstStyle/>
        <a:p>
          <a:r>
            <a:rPr lang="en-US"/>
            <a:t>Customized Buried/Aerial costs </a:t>
          </a:r>
        </a:p>
      </dgm:t>
    </dgm:pt>
    <dgm:pt modelId="{F0C1B4D3-F61A-4C2E-9B99-C16CB449332B}" type="parTrans" cxnId="{4503F58B-38CC-4AC8-B505-39D1B17E775D}">
      <dgm:prSet/>
      <dgm:spPr/>
      <dgm:t>
        <a:bodyPr/>
        <a:lstStyle/>
        <a:p>
          <a:endParaRPr lang="en-US"/>
        </a:p>
      </dgm:t>
    </dgm:pt>
    <dgm:pt modelId="{560608B4-BF9E-4921-913E-DC1A9996536D}" type="sibTrans" cxnId="{4503F58B-38CC-4AC8-B505-39D1B17E775D}">
      <dgm:prSet/>
      <dgm:spPr/>
      <dgm:t>
        <a:bodyPr/>
        <a:lstStyle/>
        <a:p>
          <a:endParaRPr lang="en-US"/>
        </a:p>
      </dgm:t>
    </dgm:pt>
    <dgm:pt modelId="{AFC5F324-CC35-4987-8D79-283D6F007398}">
      <dgm:prSet phldrT="[Text]"/>
      <dgm:spPr/>
      <dgm:t>
        <a:bodyPr/>
        <a:lstStyle/>
        <a:p>
          <a:r>
            <a:rPr lang="en-US" b="0">
              <a:latin typeface="Avenir Next LT Pro"/>
            </a:rPr>
            <a:t>Demographics of Project Bid Area</a:t>
          </a:r>
        </a:p>
      </dgm:t>
    </dgm:pt>
    <dgm:pt modelId="{75B84C54-B5BD-454C-B8C9-63182D165FA9}" type="parTrans" cxnId="{9F0E6BAF-EA7E-4C1A-BD6F-4AD2591180E1}">
      <dgm:prSet/>
      <dgm:spPr/>
      <dgm:t>
        <a:bodyPr/>
        <a:lstStyle/>
        <a:p>
          <a:endParaRPr lang="en-US"/>
        </a:p>
      </dgm:t>
    </dgm:pt>
    <dgm:pt modelId="{A965B448-0098-4618-8D49-76083756908D}" type="sibTrans" cxnId="{9F0E6BAF-EA7E-4C1A-BD6F-4AD2591180E1}">
      <dgm:prSet/>
      <dgm:spPr/>
      <dgm:t>
        <a:bodyPr/>
        <a:lstStyle/>
        <a:p>
          <a:endParaRPr lang="en-US"/>
        </a:p>
      </dgm:t>
    </dgm:pt>
    <dgm:pt modelId="{C3362E2C-BEBD-465C-85EA-F09F70771BEB}">
      <dgm:prSet phldrT="[Text]"/>
      <dgm:spPr/>
      <dgm:t>
        <a:bodyPr/>
        <a:lstStyle/>
        <a:p>
          <a:pPr rtl="0"/>
          <a:r>
            <a:rPr lang="en-US" b="0">
              <a:latin typeface="Avenir Next LT Pro"/>
            </a:rPr>
            <a:t>Historical Federal Grant Winning Locations</a:t>
          </a:r>
        </a:p>
      </dgm:t>
    </dgm:pt>
    <dgm:pt modelId="{E193AAFC-B4DB-4916-A3D2-E62FFE454E23}" type="parTrans" cxnId="{C11C009D-42A0-4A0B-A44D-D5F9BC6079F0}">
      <dgm:prSet/>
      <dgm:spPr/>
      <dgm:t>
        <a:bodyPr/>
        <a:lstStyle/>
        <a:p>
          <a:endParaRPr lang="en-US"/>
        </a:p>
      </dgm:t>
    </dgm:pt>
    <dgm:pt modelId="{37208296-D625-4861-9302-AAEC05ADF2A9}" type="sibTrans" cxnId="{C11C009D-42A0-4A0B-A44D-D5F9BC6079F0}">
      <dgm:prSet/>
      <dgm:spPr/>
      <dgm:t>
        <a:bodyPr/>
        <a:lstStyle/>
        <a:p>
          <a:endParaRPr lang="en-US"/>
        </a:p>
      </dgm:t>
    </dgm:pt>
    <dgm:pt modelId="{BD685772-9878-4440-A2CB-4057D0B1152B}">
      <dgm:prSet phldrT="[Text]"/>
      <dgm:spPr/>
      <dgm:t>
        <a:bodyPr/>
        <a:lstStyle/>
        <a:p>
          <a:endParaRPr lang="en-US"/>
        </a:p>
      </dgm:t>
    </dgm:pt>
    <dgm:pt modelId="{CB02928B-02FB-46E8-BA85-052AD2A0F3F2}" type="parTrans" cxnId="{B60DDB6B-067F-4068-BA5C-8C8FD801525B}">
      <dgm:prSet/>
      <dgm:spPr/>
      <dgm:t>
        <a:bodyPr/>
        <a:lstStyle/>
        <a:p>
          <a:endParaRPr lang="en-US"/>
        </a:p>
      </dgm:t>
    </dgm:pt>
    <dgm:pt modelId="{C361BD1C-9ED9-4863-92FE-C5E548C30815}" type="sibTrans" cxnId="{B60DDB6B-067F-4068-BA5C-8C8FD801525B}">
      <dgm:prSet/>
      <dgm:spPr/>
      <dgm:t>
        <a:bodyPr/>
        <a:lstStyle/>
        <a:p>
          <a:endParaRPr lang="en-US"/>
        </a:p>
      </dgm:t>
    </dgm:pt>
    <dgm:pt modelId="{47B6BF0C-B9E2-4903-93B1-671AFCED2A3D}">
      <dgm:prSet phldrT="[Text]" custT="1"/>
      <dgm:spPr/>
      <dgm:t>
        <a:bodyPr/>
        <a:lstStyle/>
        <a:p>
          <a:pPr algn="l" rtl="0">
            <a:buFont typeface="Wingdings" panose="05000000000000000000" pitchFamily="2" charset="2"/>
            <a:buChar char="§"/>
          </a:pPr>
          <a:r>
            <a:rPr lang="en-US" sz="1600" b="0" i="1">
              <a:solidFill>
                <a:schemeClr val="tx2"/>
              </a:solidFill>
              <a:latin typeface="+mj-lt"/>
            </a:rPr>
            <a:t>Stage Grant Funds</a:t>
          </a:r>
          <a:r>
            <a:rPr lang="en-US" sz="1600" b="0">
              <a:solidFill>
                <a:schemeClr val="tx2"/>
              </a:solidFill>
              <a:latin typeface="+mj-lt"/>
            </a:rPr>
            <a:t> </a:t>
          </a:r>
        </a:p>
      </dgm:t>
    </dgm:pt>
    <dgm:pt modelId="{A5423EBE-4CCB-44EA-8445-9831973CD9A0}" type="parTrans" cxnId="{2F3B76E8-BF3B-4FE5-8CBA-4926E5DA053D}">
      <dgm:prSet/>
      <dgm:spPr/>
      <dgm:t>
        <a:bodyPr/>
        <a:lstStyle/>
        <a:p>
          <a:endParaRPr lang="en-US"/>
        </a:p>
      </dgm:t>
    </dgm:pt>
    <dgm:pt modelId="{9C1D9013-6211-4156-AEB4-5EEC161019F5}" type="sibTrans" cxnId="{2F3B76E8-BF3B-4FE5-8CBA-4926E5DA053D}">
      <dgm:prSet/>
      <dgm:spPr/>
      <dgm:t>
        <a:bodyPr/>
        <a:lstStyle/>
        <a:p>
          <a:endParaRPr lang="en-US"/>
        </a:p>
      </dgm:t>
    </dgm:pt>
    <dgm:pt modelId="{ED45E642-9D56-4BFB-8C28-7EE020CF33BE}">
      <dgm:prSet phldrT="[Text]"/>
      <dgm:spPr/>
      <dgm:t>
        <a:bodyPr/>
        <a:lstStyle/>
        <a:p>
          <a:pPr algn="l"/>
          <a:r>
            <a:rPr lang="en-US" sz="1900"/>
            <a:t>Winning Bid Recommendation</a:t>
          </a:r>
        </a:p>
      </dgm:t>
    </dgm:pt>
    <dgm:pt modelId="{E5A76746-721E-4D6B-A587-3CD68F474C3E}" type="parTrans" cxnId="{31F04C13-AC60-4195-8F5E-59304BF532AB}">
      <dgm:prSet/>
      <dgm:spPr/>
      <dgm:t>
        <a:bodyPr/>
        <a:lstStyle/>
        <a:p>
          <a:endParaRPr lang="en-US"/>
        </a:p>
      </dgm:t>
    </dgm:pt>
    <dgm:pt modelId="{E62EC542-30BC-46A3-A3B4-54FC3EDE325D}" type="sibTrans" cxnId="{31F04C13-AC60-4195-8F5E-59304BF532AB}">
      <dgm:prSet/>
      <dgm:spPr/>
      <dgm:t>
        <a:bodyPr/>
        <a:lstStyle/>
        <a:p>
          <a:endParaRPr lang="en-US"/>
        </a:p>
      </dgm:t>
    </dgm:pt>
    <dgm:pt modelId="{E68CCCE3-2E77-4600-9183-2FE7D31B5448}" type="pres">
      <dgm:prSet presAssocID="{771CD9F7-62CB-4A5B-8B91-EA8CACB05B2D}" presName="Name0" presStyleCnt="0">
        <dgm:presLayoutVars>
          <dgm:dir/>
          <dgm:animLvl val="lvl"/>
          <dgm:resizeHandles val="exact"/>
        </dgm:presLayoutVars>
      </dgm:prSet>
      <dgm:spPr/>
    </dgm:pt>
    <dgm:pt modelId="{8EB5BBA4-15C1-4104-9372-F75C0A59A4E6}" type="pres">
      <dgm:prSet presAssocID="{B9D92118-1823-4A71-954E-789F53F6FB17}" presName="composite" presStyleCnt="0"/>
      <dgm:spPr/>
    </dgm:pt>
    <dgm:pt modelId="{6FAEAE0F-4697-47B4-BE89-91C6BC7438F0}" type="pres">
      <dgm:prSet presAssocID="{B9D92118-1823-4A71-954E-789F53F6FB17}" presName="parTx" presStyleLbl="alignNode1" presStyleIdx="0" presStyleCnt="3">
        <dgm:presLayoutVars>
          <dgm:chMax val="0"/>
          <dgm:chPref val="0"/>
          <dgm:bulletEnabled val="1"/>
        </dgm:presLayoutVars>
      </dgm:prSet>
      <dgm:spPr/>
    </dgm:pt>
    <dgm:pt modelId="{032CEB3B-3851-41A3-AE75-C166A1EC46C3}" type="pres">
      <dgm:prSet presAssocID="{B9D92118-1823-4A71-954E-789F53F6FB17}" presName="desTx" presStyleLbl="alignAccFollowNode1" presStyleIdx="0" presStyleCnt="3">
        <dgm:presLayoutVars>
          <dgm:bulletEnabled val="1"/>
        </dgm:presLayoutVars>
      </dgm:prSet>
      <dgm:spPr/>
    </dgm:pt>
    <dgm:pt modelId="{6272C104-7BFD-4E73-AD84-F8E84E81B635}" type="pres">
      <dgm:prSet presAssocID="{A237C1AB-6057-4301-ACFE-434F88F31FFF}" presName="space" presStyleCnt="0"/>
      <dgm:spPr/>
    </dgm:pt>
    <dgm:pt modelId="{D14E0CCE-E1CC-48AC-A52A-548E223C361D}" type="pres">
      <dgm:prSet presAssocID="{F9491A06-4CC1-4083-BED4-FDBCFB88DEAF}" presName="composite" presStyleCnt="0"/>
      <dgm:spPr/>
    </dgm:pt>
    <dgm:pt modelId="{0AF01611-F0E5-4153-AB13-D0DD974A172E}" type="pres">
      <dgm:prSet presAssocID="{F9491A06-4CC1-4083-BED4-FDBCFB88DEAF}" presName="parTx" presStyleLbl="alignNode1" presStyleIdx="1" presStyleCnt="3">
        <dgm:presLayoutVars>
          <dgm:chMax val="0"/>
          <dgm:chPref val="0"/>
          <dgm:bulletEnabled val="1"/>
        </dgm:presLayoutVars>
      </dgm:prSet>
      <dgm:spPr/>
    </dgm:pt>
    <dgm:pt modelId="{08AA04D2-9F9D-4638-9B32-A26226789DA7}" type="pres">
      <dgm:prSet presAssocID="{F9491A06-4CC1-4083-BED4-FDBCFB88DEAF}" presName="desTx" presStyleLbl="alignAccFollowNode1" presStyleIdx="1" presStyleCnt="3">
        <dgm:presLayoutVars>
          <dgm:bulletEnabled val="1"/>
        </dgm:presLayoutVars>
      </dgm:prSet>
      <dgm:spPr/>
    </dgm:pt>
    <dgm:pt modelId="{827516BF-7B54-4950-90C5-A78B4030505A}" type="pres">
      <dgm:prSet presAssocID="{2CF9EDC1-7A67-487B-934F-4D5924BDDDC1}" presName="space" presStyleCnt="0"/>
      <dgm:spPr/>
    </dgm:pt>
    <dgm:pt modelId="{0C7238FE-6D48-4673-AB72-5FCF757E0A81}" type="pres">
      <dgm:prSet presAssocID="{05DC85EB-68E3-42FA-8F7B-BBF81DD6E655}" presName="composite" presStyleCnt="0"/>
      <dgm:spPr/>
    </dgm:pt>
    <dgm:pt modelId="{0EB8C654-4C75-4E98-8FC6-E0D04A64C861}" type="pres">
      <dgm:prSet presAssocID="{05DC85EB-68E3-42FA-8F7B-BBF81DD6E655}" presName="parTx" presStyleLbl="alignNode1" presStyleIdx="2" presStyleCnt="3">
        <dgm:presLayoutVars>
          <dgm:chMax val="0"/>
          <dgm:chPref val="0"/>
          <dgm:bulletEnabled val="1"/>
        </dgm:presLayoutVars>
      </dgm:prSet>
      <dgm:spPr/>
    </dgm:pt>
    <dgm:pt modelId="{329FEFC5-F602-4C8B-B1AB-CCBBACEAE40C}" type="pres">
      <dgm:prSet presAssocID="{05DC85EB-68E3-42FA-8F7B-BBF81DD6E655}" presName="desTx" presStyleLbl="alignAccFollowNode1" presStyleIdx="2" presStyleCnt="3">
        <dgm:presLayoutVars>
          <dgm:bulletEnabled val="1"/>
        </dgm:presLayoutVars>
      </dgm:prSet>
      <dgm:spPr/>
    </dgm:pt>
  </dgm:ptLst>
  <dgm:cxnLst>
    <dgm:cxn modelId="{2214D104-0947-4AAC-B979-4187499139F9}" type="presOf" srcId="{05DC85EB-68E3-42FA-8F7B-BBF81DD6E655}" destId="{0EB8C654-4C75-4E98-8FC6-E0D04A64C861}" srcOrd="0" destOrd="0" presId="urn:microsoft.com/office/officeart/2005/8/layout/hList1"/>
    <dgm:cxn modelId="{31F04C13-AC60-4195-8F5E-59304BF532AB}" srcId="{05DC85EB-68E3-42FA-8F7B-BBF81DD6E655}" destId="{ED45E642-9D56-4BFB-8C28-7EE020CF33BE}" srcOrd="0" destOrd="0" parTransId="{E5A76746-721E-4D6B-A587-3CD68F474C3E}" sibTransId="{E62EC542-30BC-46A3-A3B4-54FC3EDE325D}"/>
    <dgm:cxn modelId="{3E102E1D-9972-4D79-9B93-FDEC652537EB}" type="presOf" srcId="{746C4BCC-0C79-4A89-BAB1-4C2531DE75E1}" destId="{032CEB3B-3851-41A3-AE75-C166A1EC46C3}" srcOrd="0" destOrd="1" presId="urn:microsoft.com/office/officeart/2005/8/layout/hList1"/>
    <dgm:cxn modelId="{A2C35B22-4F9D-4420-B626-57C1D113243B}" type="presOf" srcId="{59CF8F96-6AFB-4E24-B60E-50D8C5B55C93}" destId="{032CEB3B-3851-41A3-AE75-C166A1EC46C3}" srcOrd="0" destOrd="0" presId="urn:microsoft.com/office/officeart/2005/8/layout/hList1"/>
    <dgm:cxn modelId="{A0A0122C-D6AF-41A3-92D5-D9C062A81810}" type="presOf" srcId="{0398228B-B53C-4D73-ABED-B58D491A9784}" destId="{08AA04D2-9F9D-4638-9B32-A26226789DA7}" srcOrd="0" destOrd="1" presId="urn:microsoft.com/office/officeart/2005/8/layout/hList1"/>
    <dgm:cxn modelId="{5D797A38-ACB1-4CEB-9704-2759A81C0FEA}" type="presOf" srcId="{1A63BF1E-7EE7-4787-8BBB-750251671020}" destId="{329FEFC5-F602-4C8B-B1AB-CCBBACEAE40C}" srcOrd="0" destOrd="3" presId="urn:microsoft.com/office/officeart/2005/8/layout/hList1"/>
    <dgm:cxn modelId="{D090AC3D-03C0-41EB-B210-11D44E1E77BE}" srcId="{771CD9F7-62CB-4A5B-8B91-EA8CACB05B2D}" destId="{F9491A06-4CC1-4083-BED4-FDBCFB88DEAF}" srcOrd="1" destOrd="0" parTransId="{746C5FE7-A861-406F-BCF0-9A1EA98086A2}" sibTransId="{2CF9EDC1-7A67-487B-934F-4D5924BDDDC1}"/>
    <dgm:cxn modelId="{59FE2C5C-3287-4224-A98F-92168B27568A}" srcId="{F0E5C6D4-88F5-4C50-82B6-D200C9265FBA}" destId="{2C229BC5-C2C1-44EC-A7FC-7618CDA18212}" srcOrd="0" destOrd="0" parTransId="{4894FC0A-863E-462A-B393-E9BEB0FD0884}" sibTransId="{D1B508ED-04B9-48AD-97EE-C9C12261A3BC}"/>
    <dgm:cxn modelId="{138D6041-4929-4E49-BB24-F207D9B8A4C2}" type="presOf" srcId="{AC2E6F62-AC13-422C-8791-1D85F2504525}" destId="{329FEFC5-F602-4C8B-B1AB-CCBBACEAE40C}" srcOrd="0" destOrd="4" presId="urn:microsoft.com/office/officeart/2005/8/layout/hList1"/>
    <dgm:cxn modelId="{BB6C8962-A112-46C7-9C35-B8B4F191DC44}" srcId="{F9491A06-4CC1-4083-BED4-FDBCFB88DEAF}" destId="{0D022A66-9DA9-42E5-9F75-16803531C9D3}" srcOrd="2" destOrd="0" parTransId="{5EC3528D-4AA4-4A6F-9299-3893E34E77B9}" sibTransId="{6FAAF9D1-D0EC-404A-8AAF-8C29AA77919E}"/>
    <dgm:cxn modelId="{18779162-06C2-4F6B-9201-675ABB7AFC16}" type="presOf" srcId="{771CD9F7-62CB-4A5B-8B91-EA8CACB05B2D}" destId="{E68CCCE3-2E77-4600-9183-2FE7D31B5448}" srcOrd="0" destOrd="0" presId="urn:microsoft.com/office/officeart/2005/8/layout/hList1"/>
    <dgm:cxn modelId="{51AD8566-A641-47C8-81BD-24091EAC8469}" type="presOf" srcId="{EC8E39A5-2FED-4C05-80B2-4AEE8EAD594A}" destId="{08AA04D2-9F9D-4638-9B32-A26226789DA7}" srcOrd="0" destOrd="5" presId="urn:microsoft.com/office/officeart/2005/8/layout/hList1"/>
    <dgm:cxn modelId="{B60DDB6B-067F-4068-BA5C-8C8FD801525B}" srcId="{F9491A06-4CC1-4083-BED4-FDBCFB88DEAF}" destId="{BD685772-9878-4440-A2CB-4057D0B1152B}" srcOrd="4" destOrd="0" parTransId="{CB02928B-02FB-46E8-BA85-052AD2A0F3F2}" sibTransId="{C361BD1C-9ED9-4863-92FE-C5E548C30815}"/>
    <dgm:cxn modelId="{8FDD684D-5EF7-40F9-AA30-B047B16A3E87}" type="presOf" srcId="{2FE01FE3-E027-49A5-BF1D-10C840899C5A}" destId="{032CEB3B-3851-41A3-AE75-C166A1EC46C3}" srcOrd="0" destOrd="2" presId="urn:microsoft.com/office/officeart/2005/8/layout/hList1"/>
    <dgm:cxn modelId="{3CE8094E-2CA2-4772-9F06-70EC6F9418BA}" srcId="{771CD9F7-62CB-4A5B-8B91-EA8CACB05B2D}" destId="{05DC85EB-68E3-42FA-8F7B-BBF81DD6E655}" srcOrd="2" destOrd="0" parTransId="{90DECA94-3DCC-4907-8510-ED37705B1529}" sibTransId="{4F5B5CB5-93D4-41A5-878C-C094E2ECD95F}"/>
    <dgm:cxn modelId="{463C1E6E-49A3-4255-AAD8-C4FAEE97E2D3}" type="presOf" srcId="{2C229BC5-C2C1-44EC-A7FC-7618CDA18212}" destId="{329FEFC5-F602-4C8B-B1AB-CCBBACEAE40C}" srcOrd="0" destOrd="2" presId="urn:microsoft.com/office/officeart/2005/8/layout/hList1"/>
    <dgm:cxn modelId="{B197C179-4D1F-4933-98AB-F6409FFF9EA6}" srcId="{B9D92118-1823-4A71-954E-789F53F6FB17}" destId="{2FE01FE3-E027-49A5-BF1D-10C840899C5A}" srcOrd="2" destOrd="0" parTransId="{43C8600D-2C7D-48E1-9FD5-E0BB23DB8F14}" sibTransId="{DDCE7433-DDA2-4DEA-8EB6-EC546C9F7832}"/>
    <dgm:cxn modelId="{2EBD8B7A-A184-4526-BE53-3C1E434B3E16}" srcId="{F0E5C6D4-88F5-4C50-82B6-D200C9265FBA}" destId="{AC2E6F62-AC13-422C-8791-1D85F2504525}" srcOrd="2" destOrd="0" parTransId="{72365A52-29E6-45BB-BB31-F0F7D3518B0B}" sibTransId="{31DAABCA-1FF0-4B48-9CA9-1E6CF5F5383F}"/>
    <dgm:cxn modelId="{4503F58B-38CC-4AC8-B505-39D1B17E775D}" srcId="{F9491A06-4CC1-4083-BED4-FDBCFB88DEAF}" destId="{0398228B-B53C-4D73-ABED-B58D491A9784}" srcOrd="1" destOrd="0" parTransId="{F0C1B4D3-F61A-4C2E-9B99-C16CB449332B}" sibTransId="{560608B4-BF9E-4921-913E-DC1A9996536D}"/>
    <dgm:cxn modelId="{9840AB94-8E3C-430B-AD5C-3463814D135E}" srcId="{B9D92118-1823-4A71-954E-789F53F6FB17}" destId="{662140B6-9162-472C-8F21-40BEF252B5E4}" srcOrd="5" destOrd="0" parTransId="{4C06F5E2-91DD-404A-B213-B0C014AD54F8}" sibTransId="{3E078619-3B41-4361-856B-2561A9495887}"/>
    <dgm:cxn modelId="{CA562B99-A22D-42D7-B3A7-E048D7CF79A3}" type="presOf" srcId="{0D022A66-9DA9-42E5-9F75-16803531C9D3}" destId="{08AA04D2-9F9D-4638-9B32-A26226789DA7}" srcOrd="0" destOrd="2" presId="urn:microsoft.com/office/officeart/2005/8/layout/hList1"/>
    <dgm:cxn modelId="{D2694F9A-035B-4952-A199-FAB542E9D2F5}" type="presOf" srcId="{8E2394C1-FA0E-4B9D-80D0-29F16C26BF50}" destId="{08AA04D2-9F9D-4638-9B32-A26226789DA7}" srcOrd="0" destOrd="3" presId="urn:microsoft.com/office/officeart/2005/8/layout/hList1"/>
    <dgm:cxn modelId="{3FC65D9B-4D7C-4236-BC04-38E1649B3485}" srcId="{05DC85EB-68E3-42FA-8F7B-BBF81DD6E655}" destId="{F0E5C6D4-88F5-4C50-82B6-D200C9265FBA}" srcOrd="1" destOrd="0" parTransId="{769C66EE-1FDB-4399-A7B0-A7B9A24AB685}" sibTransId="{FB350C7C-EB93-41FA-9BFC-995C50D1C697}"/>
    <dgm:cxn modelId="{3FCDBF9B-51D3-41AF-A187-E3B2742DC496}" type="presOf" srcId="{662140B6-9162-472C-8F21-40BEF252B5E4}" destId="{032CEB3B-3851-41A3-AE75-C166A1EC46C3}" srcOrd="0" destOrd="5" presId="urn:microsoft.com/office/officeart/2005/8/layout/hList1"/>
    <dgm:cxn modelId="{C11C009D-42A0-4A0B-A44D-D5F9BC6079F0}" srcId="{B9D92118-1823-4A71-954E-789F53F6FB17}" destId="{C3362E2C-BEBD-465C-85EA-F09F70771BEB}" srcOrd="3" destOrd="0" parTransId="{E193AAFC-B4DB-4916-A3D2-E62FFE454E23}" sibTransId="{37208296-D625-4861-9302-AAEC05ADF2A9}"/>
    <dgm:cxn modelId="{C8C173A3-A2A3-49FD-B19C-815F8A0D3A8D}" type="presOf" srcId="{ED45E642-9D56-4BFB-8C28-7EE020CF33BE}" destId="{329FEFC5-F602-4C8B-B1AB-CCBBACEAE40C}" srcOrd="0" destOrd="0" presId="urn:microsoft.com/office/officeart/2005/8/layout/hList1"/>
    <dgm:cxn modelId="{9F0E6BAF-EA7E-4C1A-BD6F-4AD2591180E1}" srcId="{B9D92118-1823-4A71-954E-789F53F6FB17}" destId="{AFC5F324-CC35-4987-8D79-283D6F007398}" srcOrd="4" destOrd="0" parTransId="{75B84C54-B5BD-454C-B8C9-63182D165FA9}" sibTransId="{A965B448-0098-4618-8D49-76083756908D}"/>
    <dgm:cxn modelId="{610C8DAF-270F-44DB-A739-7F7F293E70EA}" srcId="{F9491A06-4CC1-4083-BED4-FDBCFB88DEAF}" destId="{EC8E39A5-2FED-4C05-80B2-4AEE8EAD594A}" srcOrd="5" destOrd="0" parTransId="{566F595F-6F73-452F-9DD8-C8166FFC7B5C}" sibTransId="{F16238CA-57E7-433C-8CD5-950A4A30F7E5}"/>
    <dgm:cxn modelId="{ADBB59B7-0B6D-4FE9-98E9-8F041D8BF8C7}" type="presOf" srcId="{AFC5F324-CC35-4987-8D79-283D6F007398}" destId="{032CEB3B-3851-41A3-AE75-C166A1EC46C3}" srcOrd="0" destOrd="4" presId="urn:microsoft.com/office/officeart/2005/8/layout/hList1"/>
    <dgm:cxn modelId="{D13A77C8-53DB-434F-89DB-D17DF3ECA1B5}" type="presOf" srcId="{BD685772-9878-4440-A2CB-4057D0B1152B}" destId="{08AA04D2-9F9D-4638-9B32-A26226789DA7}" srcOrd="0" destOrd="4" presId="urn:microsoft.com/office/officeart/2005/8/layout/hList1"/>
    <dgm:cxn modelId="{A12683D1-7629-4E3C-9CE7-2D7FED300978}" type="presOf" srcId="{47B6BF0C-B9E2-4903-93B1-671AFCED2A3D}" destId="{329FEFC5-F602-4C8B-B1AB-CCBBACEAE40C}" srcOrd="0" destOrd="5" presId="urn:microsoft.com/office/officeart/2005/8/layout/hList1"/>
    <dgm:cxn modelId="{3C67E8D1-0EA8-47D8-9EE1-27421D1C648E}" srcId="{B9D92118-1823-4A71-954E-789F53F6FB17}" destId="{59CF8F96-6AFB-4E24-B60E-50D8C5B55C93}" srcOrd="0" destOrd="0" parTransId="{B35C2F63-1B0E-4FE6-B038-679883B095C5}" sibTransId="{B30C39F1-927C-4937-BBE7-D8A726BE2C67}"/>
    <dgm:cxn modelId="{2C3311E3-9996-4271-8948-09ACDEC2FF1B}" srcId="{771CD9F7-62CB-4A5B-8B91-EA8CACB05B2D}" destId="{B9D92118-1823-4A71-954E-789F53F6FB17}" srcOrd="0" destOrd="0" parTransId="{C0EE570F-C572-4FCB-A503-2EEA94317C9D}" sibTransId="{A237C1AB-6057-4301-ACFE-434F88F31FFF}"/>
    <dgm:cxn modelId="{2F3B76E8-BF3B-4FE5-8CBA-4926E5DA053D}" srcId="{F0E5C6D4-88F5-4C50-82B6-D200C9265FBA}" destId="{47B6BF0C-B9E2-4903-93B1-671AFCED2A3D}" srcOrd="3" destOrd="0" parTransId="{A5423EBE-4CCB-44EA-8445-9831973CD9A0}" sibTransId="{9C1D9013-6211-4156-AEB4-5EEC161019F5}"/>
    <dgm:cxn modelId="{38B796E9-E8CA-487D-A926-406A05ABF262}" type="presOf" srcId="{F9491A06-4CC1-4083-BED4-FDBCFB88DEAF}" destId="{0AF01611-F0E5-4153-AB13-D0DD974A172E}" srcOrd="0" destOrd="0" presId="urn:microsoft.com/office/officeart/2005/8/layout/hList1"/>
    <dgm:cxn modelId="{04AF8FEC-AFF8-43F2-BFB9-BC84E91D7313}" type="presOf" srcId="{4FF7DD25-6A2E-466B-8115-19370B8A3976}" destId="{08AA04D2-9F9D-4638-9B32-A26226789DA7}" srcOrd="0" destOrd="0" presId="urn:microsoft.com/office/officeart/2005/8/layout/hList1"/>
    <dgm:cxn modelId="{9153EEEF-91E7-40D9-B9B7-66AC3B7C57C6}" srcId="{B9D92118-1823-4A71-954E-789F53F6FB17}" destId="{746C4BCC-0C79-4A89-BAB1-4C2531DE75E1}" srcOrd="1" destOrd="0" parTransId="{05EB14FA-388F-4508-ACCA-D1EA082218F7}" sibTransId="{6239DD53-A90E-4064-AF4A-3BF5F9621FB3}"/>
    <dgm:cxn modelId="{DA47E4F6-4B36-4447-9BC9-DB94912A9A76}" srcId="{F9491A06-4CC1-4083-BED4-FDBCFB88DEAF}" destId="{4FF7DD25-6A2E-466B-8115-19370B8A3976}" srcOrd="0" destOrd="0" parTransId="{CBEB0615-63E8-465D-BC3B-32497EB6E77C}" sibTransId="{00FAA12A-42A7-4B65-86DD-699FE50EB5C5}"/>
    <dgm:cxn modelId="{C10114FD-10A8-4806-9C9E-90B6EDB7D630}" type="presOf" srcId="{B9D92118-1823-4A71-954E-789F53F6FB17}" destId="{6FAEAE0F-4697-47B4-BE89-91C6BC7438F0}" srcOrd="0" destOrd="0" presId="urn:microsoft.com/office/officeart/2005/8/layout/hList1"/>
    <dgm:cxn modelId="{76B318FD-FD20-4E56-AE45-A94A0C4446B2}" type="presOf" srcId="{F0E5C6D4-88F5-4C50-82B6-D200C9265FBA}" destId="{329FEFC5-F602-4C8B-B1AB-CCBBACEAE40C}" srcOrd="0" destOrd="1" presId="urn:microsoft.com/office/officeart/2005/8/layout/hList1"/>
    <dgm:cxn modelId="{044923FD-9ED8-44D0-828D-5EE8448B3233}" srcId="{F9491A06-4CC1-4083-BED4-FDBCFB88DEAF}" destId="{8E2394C1-FA0E-4B9D-80D0-29F16C26BF50}" srcOrd="3" destOrd="0" parTransId="{DD56EFB7-0E60-44C3-B6F6-BC8AAFFB2B22}" sibTransId="{2001F860-EBFF-4279-AD5E-333858931B3B}"/>
    <dgm:cxn modelId="{7C434EFE-5887-4A7A-9924-EF378DAC4C2B}" srcId="{F0E5C6D4-88F5-4C50-82B6-D200C9265FBA}" destId="{1A63BF1E-7EE7-4787-8BBB-750251671020}" srcOrd="1" destOrd="0" parTransId="{06066474-49FF-4E0F-8D2A-D8FE1FEEA5D5}" sibTransId="{5DB08026-D6FC-446E-B7BC-91B122526925}"/>
    <dgm:cxn modelId="{C10B25FF-8249-4A32-8C8E-95660895589D}" type="presOf" srcId="{C3362E2C-BEBD-465C-85EA-F09F70771BEB}" destId="{032CEB3B-3851-41A3-AE75-C166A1EC46C3}" srcOrd="0" destOrd="3" presId="urn:microsoft.com/office/officeart/2005/8/layout/hList1"/>
    <dgm:cxn modelId="{43DF8D82-56E7-497E-8374-FDEC5326FE0F}" type="presParOf" srcId="{E68CCCE3-2E77-4600-9183-2FE7D31B5448}" destId="{8EB5BBA4-15C1-4104-9372-F75C0A59A4E6}" srcOrd="0" destOrd="0" presId="urn:microsoft.com/office/officeart/2005/8/layout/hList1"/>
    <dgm:cxn modelId="{96523E8C-74AC-43FB-A699-3E304B245021}" type="presParOf" srcId="{8EB5BBA4-15C1-4104-9372-F75C0A59A4E6}" destId="{6FAEAE0F-4697-47B4-BE89-91C6BC7438F0}" srcOrd="0" destOrd="0" presId="urn:microsoft.com/office/officeart/2005/8/layout/hList1"/>
    <dgm:cxn modelId="{F8050B2C-F502-47C6-8606-3BBBC9E0D252}" type="presParOf" srcId="{8EB5BBA4-15C1-4104-9372-F75C0A59A4E6}" destId="{032CEB3B-3851-41A3-AE75-C166A1EC46C3}" srcOrd="1" destOrd="0" presId="urn:microsoft.com/office/officeart/2005/8/layout/hList1"/>
    <dgm:cxn modelId="{697749AE-A36E-46A7-BBA7-6BE3D6EA068B}" type="presParOf" srcId="{E68CCCE3-2E77-4600-9183-2FE7D31B5448}" destId="{6272C104-7BFD-4E73-AD84-F8E84E81B635}" srcOrd="1" destOrd="0" presId="urn:microsoft.com/office/officeart/2005/8/layout/hList1"/>
    <dgm:cxn modelId="{46FE4DAC-FB88-4F5A-8BB0-FA2AAB31833F}" type="presParOf" srcId="{E68CCCE3-2E77-4600-9183-2FE7D31B5448}" destId="{D14E0CCE-E1CC-48AC-A52A-548E223C361D}" srcOrd="2" destOrd="0" presId="urn:microsoft.com/office/officeart/2005/8/layout/hList1"/>
    <dgm:cxn modelId="{FE225FA3-D2FC-4310-810F-0A027B790064}" type="presParOf" srcId="{D14E0CCE-E1CC-48AC-A52A-548E223C361D}" destId="{0AF01611-F0E5-4153-AB13-D0DD974A172E}" srcOrd="0" destOrd="0" presId="urn:microsoft.com/office/officeart/2005/8/layout/hList1"/>
    <dgm:cxn modelId="{BDF02ED3-9413-4339-A491-21A87456EA3E}" type="presParOf" srcId="{D14E0CCE-E1CC-48AC-A52A-548E223C361D}" destId="{08AA04D2-9F9D-4638-9B32-A26226789DA7}" srcOrd="1" destOrd="0" presId="urn:microsoft.com/office/officeart/2005/8/layout/hList1"/>
    <dgm:cxn modelId="{9292D6ED-AE8F-4EC6-91C1-37F27B200706}" type="presParOf" srcId="{E68CCCE3-2E77-4600-9183-2FE7D31B5448}" destId="{827516BF-7B54-4950-90C5-A78B4030505A}" srcOrd="3" destOrd="0" presId="urn:microsoft.com/office/officeart/2005/8/layout/hList1"/>
    <dgm:cxn modelId="{E2F798EE-3074-409A-AD90-1F6B6A7C032B}" type="presParOf" srcId="{E68CCCE3-2E77-4600-9183-2FE7D31B5448}" destId="{0C7238FE-6D48-4673-AB72-5FCF757E0A81}" srcOrd="4" destOrd="0" presId="urn:microsoft.com/office/officeart/2005/8/layout/hList1"/>
    <dgm:cxn modelId="{0B2C777A-0C1D-40A3-985E-3DEC39D942C0}" type="presParOf" srcId="{0C7238FE-6D48-4673-AB72-5FCF757E0A81}" destId="{0EB8C654-4C75-4E98-8FC6-E0D04A64C861}" srcOrd="0" destOrd="0" presId="urn:microsoft.com/office/officeart/2005/8/layout/hList1"/>
    <dgm:cxn modelId="{F3DFAE20-D6BE-4CCE-9A66-D74D1F957F58}" type="presParOf" srcId="{0C7238FE-6D48-4673-AB72-5FCF757E0A81}" destId="{329FEFC5-F602-4C8B-B1AB-CCBBACEAE40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A813B6-D786-441C-A5FC-FA08930B4043}">
      <dsp:nvSpPr>
        <dsp:cNvPr id="0" name=""/>
        <dsp:cNvSpPr/>
      </dsp:nvSpPr>
      <dsp:spPr>
        <a:xfrm>
          <a:off x="0" y="343879"/>
          <a:ext cx="10515600" cy="154350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16127" tIns="416560" rIns="816127" bIns="113792" numCol="1" spcCol="1270" anchor="t" anchorCtr="0">
          <a:noAutofit/>
        </a:bodyPr>
        <a:lstStyle/>
        <a:p>
          <a:pPr marL="171450" lvl="1" indent="-171450" algn="l" defTabSz="711200">
            <a:lnSpc>
              <a:spcPct val="90000"/>
            </a:lnSpc>
            <a:spcBef>
              <a:spcPct val="0"/>
            </a:spcBef>
            <a:spcAft>
              <a:spcPct val="15000"/>
            </a:spcAft>
            <a:buChar char="•"/>
          </a:pPr>
          <a:r>
            <a:rPr lang="en-US" sz="1600" b="1" kern="1200" dirty="0">
              <a:solidFill>
                <a:schemeClr val="bg2"/>
              </a:solidFill>
            </a:rPr>
            <a:t>State Funding Profiles (PA / WA)</a:t>
          </a:r>
        </a:p>
        <a:p>
          <a:pPr marL="342900" lvl="2" indent="-171450" algn="l" defTabSz="711200">
            <a:lnSpc>
              <a:spcPct val="90000"/>
            </a:lnSpc>
            <a:spcBef>
              <a:spcPct val="0"/>
            </a:spcBef>
            <a:spcAft>
              <a:spcPct val="15000"/>
            </a:spcAft>
            <a:buChar char="•"/>
          </a:pPr>
          <a:r>
            <a:rPr lang="en-US" sz="1600" kern="1200" dirty="0"/>
            <a:t>Timelines / Scoring System / Eligible Technology</a:t>
          </a:r>
        </a:p>
        <a:p>
          <a:pPr marL="171450" lvl="1" indent="-171450" algn="l" defTabSz="711200">
            <a:lnSpc>
              <a:spcPct val="90000"/>
            </a:lnSpc>
            <a:spcBef>
              <a:spcPct val="0"/>
            </a:spcBef>
            <a:spcAft>
              <a:spcPct val="15000"/>
            </a:spcAft>
            <a:buChar char="•"/>
          </a:pPr>
          <a:r>
            <a:rPr lang="en-US" sz="1600" b="1" kern="1200" dirty="0">
              <a:solidFill>
                <a:schemeClr val="bg2"/>
              </a:solidFill>
            </a:rPr>
            <a:t>Pre-Application Process Overview</a:t>
          </a:r>
        </a:p>
        <a:p>
          <a:pPr marL="171450" lvl="1" indent="-171450" algn="l" defTabSz="711200">
            <a:lnSpc>
              <a:spcPct val="90000"/>
            </a:lnSpc>
            <a:spcBef>
              <a:spcPct val="0"/>
            </a:spcBef>
            <a:spcAft>
              <a:spcPct val="15000"/>
            </a:spcAft>
            <a:buChar char="•"/>
          </a:pPr>
          <a:r>
            <a:rPr lang="en-US" sz="1600" b="1" kern="1200" dirty="0">
              <a:solidFill>
                <a:schemeClr val="bg2"/>
              </a:solidFill>
            </a:rPr>
            <a:t>Live Tech Demos Review</a:t>
          </a:r>
        </a:p>
      </dsp:txBody>
      <dsp:txXfrm>
        <a:off x="0" y="343879"/>
        <a:ext cx="10515600" cy="1543500"/>
      </dsp:txXfrm>
    </dsp:sp>
    <dsp:sp modelId="{13C3FB2C-3E55-4D0E-BC57-09A415E4BED8}">
      <dsp:nvSpPr>
        <dsp:cNvPr id="0" name=""/>
        <dsp:cNvSpPr/>
      </dsp:nvSpPr>
      <dsp:spPr>
        <a:xfrm>
          <a:off x="525780" y="48679"/>
          <a:ext cx="7360920" cy="59040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89000">
            <a:lnSpc>
              <a:spcPct val="90000"/>
            </a:lnSpc>
            <a:spcBef>
              <a:spcPct val="0"/>
            </a:spcBef>
            <a:spcAft>
              <a:spcPct val="35000"/>
            </a:spcAft>
            <a:buNone/>
            <a:defRPr b="1"/>
          </a:pPr>
          <a:r>
            <a:rPr lang="en-US" sz="2000" kern="1200" dirty="0"/>
            <a:t>TARANA WIRELESS</a:t>
          </a:r>
        </a:p>
      </dsp:txBody>
      <dsp:txXfrm>
        <a:off x="554601" y="77500"/>
        <a:ext cx="7303278" cy="532758"/>
      </dsp:txXfrm>
    </dsp:sp>
    <dsp:sp modelId="{0BE448DE-4FB1-43C3-8C70-860431321372}">
      <dsp:nvSpPr>
        <dsp:cNvPr id="0" name=""/>
        <dsp:cNvSpPr/>
      </dsp:nvSpPr>
      <dsp:spPr>
        <a:xfrm>
          <a:off x="0" y="2290579"/>
          <a:ext cx="10515600" cy="2583000"/>
        </a:xfrm>
        <a:prstGeom prst="rect">
          <a:avLst/>
        </a:prstGeom>
        <a:solidFill>
          <a:schemeClr val="lt1">
            <a:alpha val="90000"/>
            <a:hueOff val="0"/>
            <a:satOff val="0"/>
            <a:lumOff val="0"/>
            <a:alphaOff val="0"/>
          </a:schemeClr>
        </a:solidFill>
        <a:ln w="635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16127" tIns="416560" rIns="816127" bIns="113792" numCol="1" spcCol="1270" anchor="t" anchorCtr="0">
          <a:noAutofit/>
        </a:bodyPr>
        <a:lstStyle/>
        <a:p>
          <a:pPr marL="171450" lvl="1" indent="-171450" algn="l" defTabSz="711200">
            <a:lnSpc>
              <a:spcPct val="90000"/>
            </a:lnSpc>
            <a:spcBef>
              <a:spcPct val="0"/>
            </a:spcBef>
            <a:spcAft>
              <a:spcPct val="15000"/>
            </a:spcAft>
            <a:buChar char="•"/>
          </a:pPr>
          <a:r>
            <a:rPr lang="en-US" sz="1600" b="1" kern="1200" dirty="0">
              <a:solidFill>
                <a:schemeClr val="bg2"/>
              </a:solidFill>
            </a:rPr>
            <a:t>Winncom BEAD Product Strategy Review</a:t>
          </a:r>
        </a:p>
        <a:p>
          <a:pPr marL="171450" lvl="1" indent="-171450" algn="l" defTabSz="711200">
            <a:lnSpc>
              <a:spcPct val="90000"/>
            </a:lnSpc>
            <a:spcBef>
              <a:spcPct val="0"/>
            </a:spcBef>
            <a:spcAft>
              <a:spcPct val="15000"/>
            </a:spcAft>
            <a:buChar char="•"/>
          </a:pPr>
          <a:r>
            <a:rPr lang="en-US" sz="1600" b="1" kern="1200" dirty="0">
              <a:solidFill>
                <a:schemeClr val="bg2"/>
              </a:solidFill>
            </a:rPr>
            <a:t>Winncom Value-Added Services:</a:t>
          </a:r>
        </a:p>
        <a:p>
          <a:pPr marL="342900" lvl="2" indent="-171450" algn="l" defTabSz="711200">
            <a:lnSpc>
              <a:spcPct val="90000"/>
            </a:lnSpc>
            <a:spcBef>
              <a:spcPct val="0"/>
            </a:spcBef>
            <a:spcAft>
              <a:spcPct val="15000"/>
            </a:spcAft>
            <a:buChar char="•"/>
          </a:pPr>
          <a:r>
            <a:rPr lang="en-US" sz="1600" kern="1200" dirty="0"/>
            <a:t>QGIS Network Design Tool</a:t>
          </a:r>
        </a:p>
        <a:p>
          <a:pPr marL="171450" lvl="1" indent="-171450" algn="l" defTabSz="711200">
            <a:lnSpc>
              <a:spcPct val="90000"/>
            </a:lnSpc>
            <a:spcBef>
              <a:spcPct val="0"/>
            </a:spcBef>
            <a:spcAft>
              <a:spcPct val="15000"/>
            </a:spcAft>
            <a:buChar char="•"/>
          </a:pPr>
          <a:r>
            <a:rPr lang="en-US" sz="1600" b="1" kern="1200" dirty="0">
              <a:solidFill>
                <a:schemeClr val="bg2"/>
              </a:solidFill>
            </a:rPr>
            <a:t>Winncom Enhanced Services</a:t>
          </a:r>
        </a:p>
        <a:p>
          <a:pPr marL="342900" lvl="2" indent="-171450" algn="l" defTabSz="711200">
            <a:lnSpc>
              <a:spcPct val="90000"/>
            </a:lnSpc>
            <a:spcBef>
              <a:spcPct val="0"/>
            </a:spcBef>
            <a:spcAft>
              <a:spcPct val="15000"/>
            </a:spcAft>
            <a:buChar char="•"/>
          </a:pPr>
          <a:r>
            <a:rPr lang="en-US" sz="1600" kern="1200" dirty="0"/>
            <a:t>High Level Fiber Design</a:t>
          </a:r>
        </a:p>
        <a:p>
          <a:pPr marL="342900" lvl="2" indent="-171450" algn="l" defTabSz="711200">
            <a:lnSpc>
              <a:spcPct val="90000"/>
            </a:lnSpc>
            <a:spcBef>
              <a:spcPct val="0"/>
            </a:spcBef>
            <a:spcAft>
              <a:spcPct val="15000"/>
            </a:spcAft>
            <a:buChar char="•"/>
          </a:pPr>
          <a:r>
            <a:rPr lang="en-US" sz="1600" kern="1200" dirty="0"/>
            <a:t>Grant Writing</a:t>
          </a:r>
        </a:p>
        <a:p>
          <a:pPr marL="342900" lvl="2" indent="-171450" algn="l" defTabSz="711200">
            <a:lnSpc>
              <a:spcPct val="90000"/>
            </a:lnSpc>
            <a:spcBef>
              <a:spcPct val="0"/>
            </a:spcBef>
            <a:spcAft>
              <a:spcPct val="15000"/>
            </a:spcAft>
            <a:buChar char="•"/>
          </a:pPr>
          <a:r>
            <a:rPr lang="en-US" sz="1600" kern="1200" dirty="0"/>
            <a:t>Professional Engineering Services</a:t>
          </a:r>
        </a:p>
        <a:p>
          <a:pPr marL="342900" lvl="2" indent="-171450" algn="l" defTabSz="711200">
            <a:lnSpc>
              <a:spcPct val="90000"/>
            </a:lnSpc>
            <a:spcBef>
              <a:spcPct val="0"/>
            </a:spcBef>
            <a:spcAft>
              <a:spcPct val="15000"/>
            </a:spcAft>
            <a:buChar char="•"/>
          </a:pPr>
          <a:r>
            <a:rPr lang="en-US" sz="1600" kern="1200" dirty="0"/>
            <a:t>Financial Services</a:t>
          </a:r>
        </a:p>
      </dsp:txBody>
      <dsp:txXfrm>
        <a:off x="0" y="2290579"/>
        <a:ext cx="10515600" cy="2583000"/>
      </dsp:txXfrm>
    </dsp:sp>
    <dsp:sp modelId="{2F52EA40-4D93-4581-A47E-6313295779F1}">
      <dsp:nvSpPr>
        <dsp:cNvPr id="0" name=""/>
        <dsp:cNvSpPr/>
      </dsp:nvSpPr>
      <dsp:spPr>
        <a:xfrm>
          <a:off x="525780" y="1995379"/>
          <a:ext cx="7360920" cy="590400"/>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89000">
            <a:lnSpc>
              <a:spcPct val="90000"/>
            </a:lnSpc>
            <a:spcBef>
              <a:spcPct val="0"/>
            </a:spcBef>
            <a:spcAft>
              <a:spcPct val="35000"/>
            </a:spcAft>
            <a:buNone/>
            <a:defRPr b="1"/>
          </a:pPr>
          <a:r>
            <a:rPr lang="en-US" sz="2000" kern="1200" dirty="0"/>
            <a:t>WINNCOM’S BEAD STATEGY</a:t>
          </a:r>
        </a:p>
      </dsp:txBody>
      <dsp:txXfrm>
        <a:off x="554601" y="2024200"/>
        <a:ext cx="7303278" cy="5327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1A3633-C16B-47A9-8F1E-6942EAB95615}">
      <dsp:nvSpPr>
        <dsp:cNvPr id="0" name=""/>
        <dsp:cNvSpPr/>
      </dsp:nvSpPr>
      <dsp:spPr>
        <a:xfrm>
          <a:off x="501357" y="502"/>
          <a:ext cx="891052" cy="891052"/>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7107547-492D-4E36-8EBA-175DC901D8EF}">
      <dsp:nvSpPr>
        <dsp:cNvPr id="0" name=""/>
        <dsp:cNvSpPr/>
      </dsp:nvSpPr>
      <dsp:spPr>
        <a:xfrm>
          <a:off x="691254" y="190398"/>
          <a:ext cx="511259" cy="51125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4C83DB5-0C3A-4FEF-9646-29193E653459}">
      <dsp:nvSpPr>
        <dsp:cNvPr id="0" name=""/>
        <dsp:cNvSpPr/>
      </dsp:nvSpPr>
      <dsp:spPr>
        <a:xfrm>
          <a:off x="216513" y="1169095"/>
          <a:ext cx="1460742" cy="584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90000"/>
            </a:lnSpc>
            <a:spcBef>
              <a:spcPct val="0"/>
            </a:spcBef>
            <a:spcAft>
              <a:spcPct val="35000"/>
            </a:spcAft>
            <a:buNone/>
            <a:defRPr cap="all"/>
          </a:pPr>
          <a:r>
            <a:rPr lang="en-US" sz="2300" kern="1200" dirty="0"/>
            <a:t>Identify</a:t>
          </a:r>
        </a:p>
      </dsp:txBody>
      <dsp:txXfrm>
        <a:off x="216513" y="1169095"/>
        <a:ext cx="1460742" cy="584296"/>
      </dsp:txXfrm>
    </dsp:sp>
    <dsp:sp modelId="{C8258FC1-85E0-4054-B58A-B4FFB69078E6}">
      <dsp:nvSpPr>
        <dsp:cNvPr id="0" name=""/>
        <dsp:cNvSpPr/>
      </dsp:nvSpPr>
      <dsp:spPr>
        <a:xfrm>
          <a:off x="2217729" y="502"/>
          <a:ext cx="891052" cy="891052"/>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F065F0B-5727-4810-916C-4602E9126080}">
      <dsp:nvSpPr>
        <dsp:cNvPr id="0" name=""/>
        <dsp:cNvSpPr/>
      </dsp:nvSpPr>
      <dsp:spPr>
        <a:xfrm>
          <a:off x="2407626" y="190398"/>
          <a:ext cx="511259" cy="51125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DB72059-88ED-4AA6-AC58-C2E4F757E8BB}">
      <dsp:nvSpPr>
        <dsp:cNvPr id="0" name=""/>
        <dsp:cNvSpPr/>
      </dsp:nvSpPr>
      <dsp:spPr>
        <a:xfrm>
          <a:off x="1932885" y="1169095"/>
          <a:ext cx="1460742" cy="584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90000"/>
            </a:lnSpc>
            <a:spcBef>
              <a:spcPct val="0"/>
            </a:spcBef>
            <a:spcAft>
              <a:spcPct val="35000"/>
            </a:spcAft>
            <a:buNone/>
            <a:defRPr cap="all"/>
          </a:pPr>
          <a:r>
            <a:rPr lang="en-US" sz="2300" kern="1200"/>
            <a:t>Plan</a:t>
          </a:r>
        </a:p>
      </dsp:txBody>
      <dsp:txXfrm>
        <a:off x="1932885" y="1169095"/>
        <a:ext cx="1460742" cy="584296"/>
      </dsp:txXfrm>
    </dsp:sp>
    <dsp:sp modelId="{D19AA3CF-F3D1-4EFD-8D11-CF0A53D03B63}">
      <dsp:nvSpPr>
        <dsp:cNvPr id="0" name=""/>
        <dsp:cNvSpPr/>
      </dsp:nvSpPr>
      <dsp:spPr>
        <a:xfrm>
          <a:off x="3934102" y="502"/>
          <a:ext cx="891052" cy="891052"/>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01F78D6-BB79-4ED1-AC2E-54E307B897E8}">
      <dsp:nvSpPr>
        <dsp:cNvPr id="0" name=""/>
        <dsp:cNvSpPr/>
      </dsp:nvSpPr>
      <dsp:spPr>
        <a:xfrm>
          <a:off x="4123998" y="190398"/>
          <a:ext cx="511259" cy="51125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0D2363-B188-4A27-AFBC-6B94A1EE3E42}">
      <dsp:nvSpPr>
        <dsp:cNvPr id="0" name=""/>
        <dsp:cNvSpPr/>
      </dsp:nvSpPr>
      <dsp:spPr>
        <a:xfrm>
          <a:off x="3649257" y="1169095"/>
          <a:ext cx="1460742" cy="584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90000"/>
            </a:lnSpc>
            <a:spcBef>
              <a:spcPct val="0"/>
            </a:spcBef>
            <a:spcAft>
              <a:spcPct val="35000"/>
            </a:spcAft>
            <a:buNone/>
            <a:defRPr cap="all"/>
          </a:pPr>
          <a:r>
            <a:rPr lang="en-US" sz="2300" kern="1200"/>
            <a:t>Apply</a:t>
          </a:r>
        </a:p>
      </dsp:txBody>
      <dsp:txXfrm>
        <a:off x="3649257" y="1169095"/>
        <a:ext cx="1460742" cy="584296"/>
      </dsp:txXfrm>
    </dsp:sp>
    <dsp:sp modelId="{C182914B-CE82-4A92-B53D-51236A667467}">
      <dsp:nvSpPr>
        <dsp:cNvPr id="0" name=""/>
        <dsp:cNvSpPr/>
      </dsp:nvSpPr>
      <dsp:spPr>
        <a:xfrm>
          <a:off x="5650474" y="502"/>
          <a:ext cx="891052" cy="891052"/>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3E17379-C0B1-443C-852A-6ACD6C81A9A6}">
      <dsp:nvSpPr>
        <dsp:cNvPr id="0" name=""/>
        <dsp:cNvSpPr/>
      </dsp:nvSpPr>
      <dsp:spPr>
        <a:xfrm>
          <a:off x="5840370" y="190398"/>
          <a:ext cx="511259" cy="511259"/>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2CDE462-97B3-4558-A78E-C591567E4754}">
      <dsp:nvSpPr>
        <dsp:cNvPr id="0" name=""/>
        <dsp:cNvSpPr/>
      </dsp:nvSpPr>
      <dsp:spPr>
        <a:xfrm>
          <a:off x="5365629" y="1169095"/>
          <a:ext cx="1460742" cy="584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90000"/>
            </a:lnSpc>
            <a:spcBef>
              <a:spcPct val="0"/>
            </a:spcBef>
            <a:spcAft>
              <a:spcPct val="35000"/>
            </a:spcAft>
            <a:buNone/>
            <a:defRPr cap="all"/>
          </a:pPr>
          <a:r>
            <a:rPr lang="en-US" sz="2300" kern="1200"/>
            <a:t>Receive</a:t>
          </a:r>
        </a:p>
      </dsp:txBody>
      <dsp:txXfrm>
        <a:off x="5365629" y="1169095"/>
        <a:ext cx="1460742" cy="584296"/>
      </dsp:txXfrm>
    </dsp:sp>
    <dsp:sp modelId="{487A065D-4657-4786-8DC8-861ACA31A0CE}">
      <dsp:nvSpPr>
        <dsp:cNvPr id="0" name=""/>
        <dsp:cNvSpPr/>
      </dsp:nvSpPr>
      <dsp:spPr>
        <a:xfrm>
          <a:off x="7366846" y="502"/>
          <a:ext cx="891052" cy="891052"/>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2322FB7-DF94-4AFD-B28D-5BBE3D71280F}">
      <dsp:nvSpPr>
        <dsp:cNvPr id="0" name=""/>
        <dsp:cNvSpPr/>
      </dsp:nvSpPr>
      <dsp:spPr>
        <a:xfrm>
          <a:off x="7556742" y="190398"/>
          <a:ext cx="511259" cy="511259"/>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A7F791B-B8AE-41D8-8817-99102F375871}">
      <dsp:nvSpPr>
        <dsp:cNvPr id="0" name=""/>
        <dsp:cNvSpPr/>
      </dsp:nvSpPr>
      <dsp:spPr>
        <a:xfrm>
          <a:off x="7082001" y="1169095"/>
          <a:ext cx="1460742" cy="584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90000"/>
            </a:lnSpc>
            <a:spcBef>
              <a:spcPct val="0"/>
            </a:spcBef>
            <a:spcAft>
              <a:spcPct val="35000"/>
            </a:spcAft>
            <a:buNone/>
            <a:defRPr cap="all"/>
          </a:pPr>
          <a:r>
            <a:rPr lang="en-US" sz="2300" kern="1200"/>
            <a:t>Procure</a:t>
          </a:r>
        </a:p>
      </dsp:txBody>
      <dsp:txXfrm>
        <a:off x="7082001" y="1169095"/>
        <a:ext cx="1460742" cy="584296"/>
      </dsp:txXfrm>
    </dsp:sp>
    <dsp:sp modelId="{F5E4546F-BF8A-4E25-83D6-3FF9CCCC5AF3}">
      <dsp:nvSpPr>
        <dsp:cNvPr id="0" name=""/>
        <dsp:cNvSpPr/>
      </dsp:nvSpPr>
      <dsp:spPr>
        <a:xfrm>
          <a:off x="9083218" y="502"/>
          <a:ext cx="891052" cy="891052"/>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A512DB7-F4D1-48BC-89FA-98520C57ECFB}">
      <dsp:nvSpPr>
        <dsp:cNvPr id="0" name=""/>
        <dsp:cNvSpPr/>
      </dsp:nvSpPr>
      <dsp:spPr>
        <a:xfrm>
          <a:off x="9273114" y="190398"/>
          <a:ext cx="511259" cy="511259"/>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EDFD192-DA92-4554-BE98-973D744C5D60}">
      <dsp:nvSpPr>
        <dsp:cNvPr id="0" name=""/>
        <dsp:cNvSpPr/>
      </dsp:nvSpPr>
      <dsp:spPr>
        <a:xfrm>
          <a:off x="8798373" y="1169095"/>
          <a:ext cx="1460742" cy="584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90000"/>
            </a:lnSpc>
            <a:spcBef>
              <a:spcPct val="0"/>
            </a:spcBef>
            <a:spcAft>
              <a:spcPct val="35000"/>
            </a:spcAft>
            <a:buNone/>
            <a:defRPr cap="all"/>
          </a:pPr>
          <a:r>
            <a:rPr lang="en-US" sz="2300" kern="1200"/>
            <a:t>Construct</a:t>
          </a:r>
        </a:p>
      </dsp:txBody>
      <dsp:txXfrm>
        <a:off x="8798373" y="1169095"/>
        <a:ext cx="1460742" cy="584296"/>
      </dsp:txXfrm>
    </dsp:sp>
    <dsp:sp modelId="{449FE3EA-10EC-4270-B376-D04B6D718FEB}">
      <dsp:nvSpPr>
        <dsp:cNvPr id="0" name=""/>
        <dsp:cNvSpPr/>
      </dsp:nvSpPr>
      <dsp:spPr>
        <a:xfrm>
          <a:off x="10799590" y="502"/>
          <a:ext cx="891052" cy="891052"/>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48DE38A-AE65-479E-9331-EFAAF3A2324E}">
      <dsp:nvSpPr>
        <dsp:cNvPr id="0" name=""/>
        <dsp:cNvSpPr/>
      </dsp:nvSpPr>
      <dsp:spPr>
        <a:xfrm>
          <a:off x="10989486" y="190398"/>
          <a:ext cx="511259" cy="511259"/>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2EFB2B4-6F7D-4EA8-ACB3-E3FB5A1BB111}">
      <dsp:nvSpPr>
        <dsp:cNvPr id="0" name=""/>
        <dsp:cNvSpPr/>
      </dsp:nvSpPr>
      <dsp:spPr>
        <a:xfrm>
          <a:off x="10514745" y="1169095"/>
          <a:ext cx="1460742" cy="584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90000"/>
            </a:lnSpc>
            <a:spcBef>
              <a:spcPct val="0"/>
            </a:spcBef>
            <a:spcAft>
              <a:spcPct val="35000"/>
            </a:spcAft>
            <a:buNone/>
            <a:defRPr cap="all"/>
          </a:pPr>
          <a:r>
            <a:rPr lang="en-US" sz="2300" kern="1200" dirty="0"/>
            <a:t>Operate</a:t>
          </a:r>
        </a:p>
      </dsp:txBody>
      <dsp:txXfrm>
        <a:off x="10514745" y="1169095"/>
        <a:ext cx="1460742" cy="58429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289F68-0F3B-4198-A7A8-6EFBE21AE3E4}">
      <dsp:nvSpPr>
        <dsp:cNvPr id="0" name=""/>
        <dsp:cNvSpPr/>
      </dsp:nvSpPr>
      <dsp:spPr>
        <a:xfrm>
          <a:off x="1994158" y="18047"/>
          <a:ext cx="891052" cy="891052"/>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BD9A75-FA20-4CFA-BF70-CBE2FBF87BCA}">
      <dsp:nvSpPr>
        <dsp:cNvPr id="0" name=""/>
        <dsp:cNvSpPr/>
      </dsp:nvSpPr>
      <dsp:spPr>
        <a:xfrm>
          <a:off x="2219225" y="190398"/>
          <a:ext cx="511259" cy="51125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2B1DC65-91AF-4AF1-A39E-305881C48849}">
      <dsp:nvSpPr>
        <dsp:cNvPr id="0" name=""/>
        <dsp:cNvSpPr/>
      </dsp:nvSpPr>
      <dsp:spPr>
        <a:xfrm>
          <a:off x="1784245" y="1128206"/>
          <a:ext cx="1460742" cy="584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100000"/>
            </a:lnSpc>
            <a:spcBef>
              <a:spcPct val="0"/>
            </a:spcBef>
            <a:spcAft>
              <a:spcPct val="35000"/>
            </a:spcAft>
            <a:buNone/>
            <a:defRPr cap="all"/>
          </a:pPr>
          <a:r>
            <a:rPr lang="en-US" sz="2400" kern="1200" dirty="0"/>
            <a:t>Products</a:t>
          </a:r>
        </a:p>
      </dsp:txBody>
      <dsp:txXfrm>
        <a:off x="1784245" y="1128206"/>
        <a:ext cx="1460742" cy="584296"/>
      </dsp:txXfrm>
    </dsp:sp>
    <dsp:sp modelId="{6AD2FD04-6227-49DE-A8E5-2F9D91807072}">
      <dsp:nvSpPr>
        <dsp:cNvPr id="0" name=""/>
        <dsp:cNvSpPr/>
      </dsp:nvSpPr>
      <dsp:spPr>
        <a:xfrm>
          <a:off x="3745700" y="502"/>
          <a:ext cx="891052" cy="891052"/>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55C6B6B-653C-43DE-B002-718FBCE4DE93}">
      <dsp:nvSpPr>
        <dsp:cNvPr id="0" name=""/>
        <dsp:cNvSpPr/>
      </dsp:nvSpPr>
      <dsp:spPr>
        <a:xfrm>
          <a:off x="3935597" y="190398"/>
          <a:ext cx="511259" cy="51125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5B30E4E-32EA-42B4-B94A-87B0BBA3931D}">
      <dsp:nvSpPr>
        <dsp:cNvPr id="0" name=""/>
        <dsp:cNvSpPr/>
      </dsp:nvSpPr>
      <dsp:spPr>
        <a:xfrm>
          <a:off x="3460855" y="1128206"/>
          <a:ext cx="1460742" cy="584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100000"/>
            </a:lnSpc>
            <a:spcBef>
              <a:spcPct val="0"/>
            </a:spcBef>
            <a:spcAft>
              <a:spcPct val="35000"/>
            </a:spcAft>
            <a:buNone/>
            <a:defRPr cap="all"/>
          </a:pPr>
          <a:r>
            <a:rPr lang="en-US" sz="2400" kern="1200" dirty="0"/>
            <a:t>Services</a:t>
          </a:r>
        </a:p>
      </dsp:txBody>
      <dsp:txXfrm>
        <a:off x="3460855" y="1128206"/>
        <a:ext cx="1460742" cy="584296"/>
      </dsp:txXfrm>
    </dsp:sp>
    <dsp:sp modelId="{3E768A93-4A2E-49BD-83FD-F7E4064345C1}">
      <dsp:nvSpPr>
        <dsp:cNvPr id="0" name=""/>
        <dsp:cNvSpPr/>
      </dsp:nvSpPr>
      <dsp:spPr>
        <a:xfrm>
          <a:off x="5462072" y="32599"/>
          <a:ext cx="891052" cy="891052"/>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B16C822-D2EC-40AD-A0A5-3B527850B56C}">
      <dsp:nvSpPr>
        <dsp:cNvPr id="0" name=""/>
        <dsp:cNvSpPr/>
      </dsp:nvSpPr>
      <dsp:spPr>
        <a:xfrm>
          <a:off x="5591096" y="83335"/>
          <a:ext cx="633006" cy="78957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9C2A37-AEE1-40B9-A89B-7E22B0532C0E}">
      <dsp:nvSpPr>
        <dsp:cNvPr id="0" name=""/>
        <dsp:cNvSpPr/>
      </dsp:nvSpPr>
      <dsp:spPr>
        <a:xfrm>
          <a:off x="5245094" y="1131045"/>
          <a:ext cx="1460742" cy="4559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100000"/>
            </a:lnSpc>
            <a:spcBef>
              <a:spcPct val="0"/>
            </a:spcBef>
            <a:spcAft>
              <a:spcPct val="35000"/>
            </a:spcAft>
            <a:buNone/>
            <a:defRPr cap="all"/>
          </a:pPr>
          <a:r>
            <a:rPr lang="en-US" sz="2400" kern="1200" dirty="0"/>
            <a:t>Financing</a:t>
          </a:r>
        </a:p>
      </dsp:txBody>
      <dsp:txXfrm>
        <a:off x="5245094" y="1131045"/>
        <a:ext cx="1460742" cy="45590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AEAE0F-4697-47B4-BE89-91C6BC7438F0}">
      <dsp:nvSpPr>
        <dsp:cNvPr id="0" name=""/>
        <dsp:cNvSpPr/>
      </dsp:nvSpPr>
      <dsp:spPr>
        <a:xfrm>
          <a:off x="3243" y="213079"/>
          <a:ext cx="3161960" cy="518400"/>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a:t>THE WHERE</a:t>
          </a:r>
        </a:p>
      </dsp:txBody>
      <dsp:txXfrm>
        <a:off x="3243" y="213079"/>
        <a:ext cx="3161960" cy="518400"/>
      </dsp:txXfrm>
    </dsp:sp>
    <dsp:sp modelId="{032CEB3B-3851-41A3-AE75-C166A1EC46C3}">
      <dsp:nvSpPr>
        <dsp:cNvPr id="0" name=""/>
        <dsp:cNvSpPr/>
      </dsp:nvSpPr>
      <dsp:spPr>
        <a:xfrm>
          <a:off x="3243" y="731479"/>
          <a:ext cx="3161960" cy="2964599"/>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b="0" kern="1200">
              <a:latin typeface="Avenir Next LT Pro"/>
            </a:rPr>
            <a:t>Comparative ROI Ranking</a:t>
          </a:r>
        </a:p>
        <a:p>
          <a:pPr marL="171450" lvl="1" indent="-171450" algn="l" defTabSz="800100">
            <a:lnSpc>
              <a:spcPct val="90000"/>
            </a:lnSpc>
            <a:spcBef>
              <a:spcPct val="0"/>
            </a:spcBef>
            <a:spcAft>
              <a:spcPct val="15000"/>
            </a:spcAft>
            <a:buChar char="•"/>
          </a:pPr>
          <a:r>
            <a:rPr lang="en-US" sz="1800" b="0" kern="1200" dirty="0">
              <a:latin typeface="Avenir Next LT Pro"/>
            </a:rPr>
            <a:t>Identified Unserved/Underserved (Housetop)</a:t>
          </a:r>
        </a:p>
        <a:p>
          <a:pPr marL="171450" lvl="1" indent="-171450" algn="l" defTabSz="800100">
            <a:lnSpc>
              <a:spcPct val="90000"/>
            </a:lnSpc>
            <a:spcBef>
              <a:spcPct val="0"/>
            </a:spcBef>
            <a:spcAft>
              <a:spcPct val="15000"/>
            </a:spcAft>
            <a:buChar char="•"/>
          </a:pPr>
          <a:r>
            <a:rPr lang="en-US" sz="1800" b="0" kern="1200">
              <a:latin typeface="Avenir Next LT Pro"/>
            </a:rPr>
            <a:t>Competitive Breakdown</a:t>
          </a:r>
        </a:p>
        <a:p>
          <a:pPr marL="171450" lvl="1" indent="-171450" algn="l" defTabSz="800100" rtl="0">
            <a:lnSpc>
              <a:spcPct val="90000"/>
            </a:lnSpc>
            <a:spcBef>
              <a:spcPct val="0"/>
            </a:spcBef>
            <a:spcAft>
              <a:spcPct val="15000"/>
            </a:spcAft>
            <a:buChar char="•"/>
          </a:pPr>
          <a:r>
            <a:rPr lang="en-US" sz="1800" b="0" kern="1200">
              <a:latin typeface="Avenir Next LT Pro"/>
            </a:rPr>
            <a:t>Historical Federal Grant Winning Locations</a:t>
          </a:r>
        </a:p>
        <a:p>
          <a:pPr marL="171450" lvl="1" indent="-171450" algn="l" defTabSz="800100">
            <a:lnSpc>
              <a:spcPct val="90000"/>
            </a:lnSpc>
            <a:spcBef>
              <a:spcPct val="0"/>
            </a:spcBef>
            <a:spcAft>
              <a:spcPct val="15000"/>
            </a:spcAft>
            <a:buChar char="•"/>
          </a:pPr>
          <a:r>
            <a:rPr lang="en-US" sz="1800" b="0" kern="1200">
              <a:latin typeface="Avenir Next LT Pro"/>
            </a:rPr>
            <a:t>Demographics of Project Bid Area</a:t>
          </a:r>
        </a:p>
        <a:p>
          <a:pPr marL="171450" lvl="1" indent="-171450" algn="l" defTabSz="800100">
            <a:lnSpc>
              <a:spcPct val="90000"/>
            </a:lnSpc>
            <a:spcBef>
              <a:spcPct val="0"/>
            </a:spcBef>
            <a:spcAft>
              <a:spcPct val="15000"/>
            </a:spcAft>
            <a:buChar char="•"/>
          </a:pPr>
          <a:endParaRPr lang="en-US" sz="1800" kern="1200"/>
        </a:p>
      </dsp:txBody>
      <dsp:txXfrm>
        <a:off x="3243" y="731479"/>
        <a:ext cx="3161960" cy="2964599"/>
      </dsp:txXfrm>
    </dsp:sp>
    <dsp:sp modelId="{0AF01611-F0E5-4153-AB13-D0DD974A172E}">
      <dsp:nvSpPr>
        <dsp:cNvPr id="0" name=""/>
        <dsp:cNvSpPr/>
      </dsp:nvSpPr>
      <dsp:spPr>
        <a:xfrm>
          <a:off x="3607877" y="213079"/>
          <a:ext cx="3161960" cy="518400"/>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a:t>THE NETWORK</a:t>
          </a:r>
        </a:p>
      </dsp:txBody>
      <dsp:txXfrm>
        <a:off x="3607877" y="213079"/>
        <a:ext cx="3161960" cy="518400"/>
      </dsp:txXfrm>
    </dsp:sp>
    <dsp:sp modelId="{08AA04D2-9F9D-4638-9B32-A26226789DA7}">
      <dsp:nvSpPr>
        <dsp:cNvPr id="0" name=""/>
        <dsp:cNvSpPr/>
      </dsp:nvSpPr>
      <dsp:spPr>
        <a:xfrm>
          <a:off x="3607877" y="731479"/>
          <a:ext cx="3161960" cy="2964599"/>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a:t>AI Generated Fiber Spine</a:t>
          </a:r>
        </a:p>
        <a:p>
          <a:pPr marL="171450" lvl="1" indent="-171450" algn="l" defTabSz="800100">
            <a:lnSpc>
              <a:spcPct val="90000"/>
            </a:lnSpc>
            <a:spcBef>
              <a:spcPct val="0"/>
            </a:spcBef>
            <a:spcAft>
              <a:spcPct val="15000"/>
            </a:spcAft>
            <a:buChar char="•"/>
          </a:pPr>
          <a:r>
            <a:rPr lang="en-US" sz="1800" kern="1200"/>
            <a:t>Customized Buried/Aerial costs </a:t>
          </a:r>
        </a:p>
        <a:p>
          <a:pPr marL="171450" lvl="1" indent="-171450" algn="l" defTabSz="800100">
            <a:lnSpc>
              <a:spcPct val="90000"/>
            </a:lnSpc>
            <a:spcBef>
              <a:spcPct val="0"/>
            </a:spcBef>
            <a:spcAft>
              <a:spcPct val="15000"/>
            </a:spcAft>
            <a:buChar char="•"/>
          </a:pPr>
          <a:r>
            <a:rPr lang="en-US" sz="1800" kern="1200"/>
            <a:t>Soil/Terrain Complexity</a:t>
          </a:r>
        </a:p>
        <a:p>
          <a:pPr marL="171450" lvl="1" indent="-171450" algn="l" defTabSz="800100">
            <a:lnSpc>
              <a:spcPct val="90000"/>
            </a:lnSpc>
            <a:spcBef>
              <a:spcPct val="0"/>
            </a:spcBef>
            <a:spcAft>
              <a:spcPct val="15000"/>
            </a:spcAft>
            <a:buChar char="•"/>
          </a:pPr>
          <a:r>
            <a:rPr lang="en-US" sz="1800" kern="1200"/>
            <a:t>Number and Cost for High-Cost Locations</a:t>
          </a:r>
        </a:p>
        <a:p>
          <a:pPr marL="171450" lvl="1" indent="-171450" algn="l" defTabSz="800100">
            <a:lnSpc>
              <a:spcPct val="90000"/>
            </a:lnSpc>
            <a:spcBef>
              <a:spcPct val="0"/>
            </a:spcBef>
            <a:spcAft>
              <a:spcPct val="15000"/>
            </a:spcAft>
            <a:buChar char="•"/>
          </a:pPr>
          <a:endParaRPr lang="en-US" sz="1800" kern="1200"/>
        </a:p>
        <a:p>
          <a:pPr marL="171450" lvl="1" indent="-171450" algn="l" defTabSz="800100">
            <a:lnSpc>
              <a:spcPct val="90000"/>
            </a:lnSpc>
            <a:spcBef>
              <a:spcPct val="0"/>
            </a:spcBef>
            <a:spcAft>
              <a:spcPct val="15000"/>
            </a:spcAft>
            <a:buChar char="•"/>
          </a:pPr>
          <a:endParaRPr lang="en-US" sz="1800" kern="1200"/>
        </a:p>
      </dsp:txBody>
      <dsp:txXfrm>
        <a:off x="3607877" y="731479"/>
        <a:ext cx="3161960" cy="2964599"/>
      </dsp:txXfrm>
    </dsp:sp>
    <dsp:sp modelId="{0EB8C654-4C75-4E98-8FC6-E0D04A64C861}">
      <dsp:nvSpPr>
        <dsp:cNvPr id="0" name=""/>
        <dsp:cNvSpPr/>
      </dsp:nvSpPr>
      <dsp:spPr>
        <a:xfrm>
          <a:off x="7212511" y="213079"/>
          <a:ext cx="3161960" cy="518400"/>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a:t>THE MONEY</a:t>
          </a:r>
        </a:p>
      </dsp:txBody>
      <dsp:txXfrm>
        <a:off x="7212511" y="213079"/>
        <a:ext cx="3161960" cy="518400"/>
      </dsp:txXfrm>
    </dsp:sp>
    <dsp:sp modelId="{329FEFC5-F602-4C8B-B1AB-CCBBACEAE40C}">
      <dsp:nvSpPr>
        <dsp:cNvPr id="0" name=""/>
        <dsp:cNvSpPr/>
      </dsp:nvSpPr>
      <dsp:spPr>
        <a:xfrm>
          <a:off x="7212511" y="731479"/>
          <a:ext cx="3161960" cy="2964599"/>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844550">
            <a:lnSpc>
              <a:spcPct val="90000"/>
            </a:lnSpc>
            <a:spcBef>
              <a:spcPct val="0"/>
            </a:spcBef>
            <a:spcAft>
              <a:spcPct val="15000"/>
            </a:spcAft>
            <a:buChar char="•"/>
          </a:pPr>
          <a:r>
            <a:rPr lang="en-US" sz="1900" kern="1200"/>
            <a:t>Winning Bid Recommendation</a:t>
          </a:r>
        </a:p>
        <a:p>
          <a:pPr marL="171450" lvl="1" indent="-171450" algn="l" defTabSz="844550">
            <a:lnSpc>
              <a:spcPct val="90000"/>
            </a:lnSpc>
            <a:spcBef>
              <a:spcPct val="0"/>
            </a:spcBef>
            <a:spcAft>
              <a:spcPct val="15000"/>
            </a:spcAft>
            <a:buChar char="•"/>
          </a:pPr>
          <a:r>
            <a:rPr lang="en-US" sz="1900" kern="1200"/>
            <a:t>10 Year Pro-Forma:</a:t>
          </a:r>
        </a:p>
        <a:p>
          <a:pPr marL="342900" lvl="2" indent="-171450" algn="l" defTabSz="711200">
            <a:lnSpc>
              <a:spcPct val="90000"/>
            </a:lnSpc>
            <a:spcBef>
              <a:spcPct val="0"/>
            </a:spcBef>
            <a:spcAft>
              <a:spcPct val="15000"/>
            </a:spcAft>
            <a:buFont typeface="Wingdings" panose="05000000000000000000" pitchFamily="2" charset="2"/>
            <a:buChar char="§"/>
          </a:pPr>
          <a:r>
            <a:rPr lang="en-US" sz="1600" b="0" i="1" kern="1200">
              <a:solidFill>
                <a:schemeClr val="tx2"/>
              </a:solidFill>
              <a:latin typeface="+mj-lt"/>
            </a:rPr>
            <a:t>Build Phases</a:t>
          </a:r>
        </a:p>
        <a:p>
          <a:pPr marL="342900" lvl="2" indent="-171450" algn="l" defTabSz="711200">
            <a:lnSpc>
              <a:spcPct val="90000"/>
            </a:lnSpc>
            <a:spcBef>
              <a:spcPct val="0"/>
            </a:spcBef>
            <a:spcAft>
              <a:spcPct val="15000"/>
            </a:spcAft>
            <a:buFont typeface="Wingdings" panose="05000000000000000000" pitchFamily="2" charset="2"/>
            <a:buChar char="§"/>
          </a:pPr>
          <a:r>
            <a:rPr lang="en-US" sz="1600" b="0" i="1" kern="1200">
              <a:solidFill>
                <a:schemeClr val="tx2"/>
              </a:solidFill>
              <a:latin typeface="+mj-lt"/>
            </a:rPr>
            <a:t>OPEX/CAPEX</a:t>
          </a:r>
        </a:p>
        <a:p>
          <a:pPr marL="342900" lvl="2" indent="-171450" algn="l" defTabSz="711200" rtl="0">
            <a:lnSpc>
              <a:spcPct val="90000"/>
            </a:lnSpc>
            <a:spcBef>
              <a:spcPct val="0"/>
            </a:spcBef>
            <a:spcAft>
              <a:spcPct val="15000"/>
            </a:spcAft>
            <a:buFont typeface="Wingdings" panose="05000000000000000000" pitchFamily="2" charset="2"/>
            <a:buChar char="§"/>
          </a:pPr>
          <a:r>
            <a:rPr lang="en-US" sz="1600" b="0" i="1" kern="1200">
              <a:solidFill>
                <a:schemeClr val="tx2"/>
              </a:solidFill>
              <a:latin typeface="+mj-lt"/>
            </a:rPr>
            <a:t>Adoption Rate &amp;  Build by Phase Revenue </a:t>
          </a:r>
        </a:p>
        <a:p>
          <a:pPr marL="342900" lvl="2" indent="-171450" algn="l" defTabSz="711200" rtl="0">
            <a:lnSpc>
              <a:spcPct val="90000"/>
            </a:lnSpc>
            <a:spcBef>
              <a:spcPct val="0"/>
            </a:spcBef>
            <a:spcAft>
              <a:spcPct val="15000"/>
            </a:spcAft>
            <a:buFont typeface="Wingdings" panose="05000000000000000000" pitchFamily="2" charset="2"/>
            <a:buChar char="§"/>
          </a:pPr>
          <a:r>
            <a:rPr lang="en-US" sz="1600" b="0" i="1" kern="1200">
              <a:solidFill>
                <a:schemeClr val="tx2"/>
              </a:solidFill>
              <a:latin typeface="+mj-lt"/>
            </a:rPr>
            <a:t>Stage Grant Funds</a:t>
          </a:r>
          <a:r>
            <a:rPr lang="en-US" sz="1600" b="0" kern="1200">
              <a:solidFill>
                <a:schemeClr val="tx2"/>
              </a:solidFill>
              <a:latin typeface="+mj-lt"/>
            </a:rPr>
            <a:t> </a:t>
          </a:r>
        </a:p>
      </dsp:txBody>
      <dsp:txXfrm>
        <a:off x="7212511" y="731479"/>
        <a:ext cx="3161960" cy="2964599"/>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3.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8C828E-56B8-4528-A116-DEFCB0CD9DCD}" type="datetimeFigureOut">
              <a:rPr lang="en-US" smtClean="0"/>
              <a:t>7/1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4D5C2A-16BC-49F9-ABAA-F2DDDBC149C0}" type="slidenum">
              <a:rPr lang="en-US" smtClean="0"/>
              <a:t>‹#›</a:t>
            </a:fld>
            <a:endParaRPr lang="en-US"/>
          </a:p>
        </p:txBody>
      </p:sp>
    </p:spTree>
    <p:extLst>
      <p:ext uri="{BB962C8B-B14F-4D97-AF65-F5344CB8AC3E}">
        <p14:creationId xmlns:p14="http://schemas.microsoft.com/office/powerpoint/2010/main" val="8320870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4D5C2A-16BC-49F9-ABAA-F2DDDBC149C0}" type="slidenum">
              <a:rPr lang="en-US" smtClean="0"/>
              <a:t>1</a:t>
            </a:fld>
            <a:endParaRPr lang="en-US"/>
          </a:p>
        </p:txBody>
      </p:sp>
    </p:spTree>
    <p:extLst>
      <p:ext uri="{BB962C8B-B14F-4D97-AF65-F5344CB8AC3E}">
        <p14:creationId xmlns:p14="http://schemas.microsoft.com/office/powerpoint/2010/main" val="641442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4D5C2A-16BC-49F9-ABAA-F2DDDBC149C0}" type="slidenum">
              <a:rPr lang="en-US" smtClean="0"/>
              <a:t>18</a:t>
            </a:fld>
            <a:endParaRPr lang="en-US"/>
          </a:p>
        </p:txBody>
      </p:sp>
    </p:spTree>
    <p:extLst>
      <p:ext uri="{BB962C8B-B14F-4D97-AF65-F5344CB8AC3E}">
        <p14:creationId xmlns:p14="http://schemas.microsoft.com/office/powerpoint/2010/main" val="5947984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nncom leverages a proprietary QGIS data tool.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173FC6-BA20-4947-8CC5-A0AE40FF3DA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779531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4D5C2A-16BC-49F9-ABAA-F2DDDBC149C0}" type="slidenum">
              <a:rPr lang="en-US" smtClean="0"/>
              <a:t>24</a:t>
            </a:fld>
            <a:endParaRPr lang="en-US"/>
          </a:p>
        </p:txBody>
      </p:sp>
    </p:spTree>
    <p:extLst>
      <p:ext uri="{BB962C8B-B14F-4D97-AF65-F5344CB8AC3E}">
        <p14:creationId xmlns:p14="http://schemas.microsoft.com/office/powerpoint/2010/main" val="5262906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4D5C2A-16BC-49F9-ABAA-F2DDDBC149C0}" type="slidenum">
              <a:rPr lang="en-US" smtClean="0"/>
              <a:t>25</a:t>
            </a:fld>
            <a:endParaRPr lang="en-US"/>
          </a:p>
        </p:txBody>
      </p:sp>
    </p:spTree>
    <p:extLst>
      <p:ext uri="{BB962C8B-B14F-4D97-AF65-F5344CB8AC3E}">
        <p14:creationId xmlns:p14="http://schemas.microsoft.com/office/powerpoint/2010/main" val="3411389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4ECAD9-32EE-4091-BDA5-6BD15ACC5E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43538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mon Business Attributes:</a:t>
            </a:r>
          </a:p>
          <a:p>
            <a:pPr marL="171450" indent="-171450">
              <a:buFont typeface="Arial" panose="020B0604020202020204" pitchFamily="34" charset="0"/>
              <a:buChar char="•"/>
            </a:pPr>
            <a:r>
              <a:rPr lang="en-US" dirty="0"/>
              <a:t>Percentage mix of Buried / Aerial Fiber</a:t>
            </a:r>
          </a:p>
          <a:p>
            <a:pPr marL="171450" indent="-171450">
              <a:buFont typeface="Arial" panose="020B0604020202020204" pitchFamily="34" charset="0"/>
              <a:buChar char="•"/>
            </a:pPr>
            <a:r>
              <a:rPr lang="en-US" dirty="0"/>
              <a:t>Cost per mile for Buried &amp; Aerial Fiber</a:t>
            </a:r>
          </a:p>
          <a:p>
            <a:pPr marL="171450" indent="-171450">
              <a:buFont typeface="Arial" panose="020B0604020202020204" pitchFamily="34" charset="0"/>
              <a:buChar char="•"/>
            </a:pPr>
            <a:r>
              <a:rPr lang="en-US" dirty="0"/>
              <a:t>Take rate for new subscribers</a:t>
            </a:r>
          </a:p>
          <a:p>
            <a:pPr marL="171450" indent="-171450">
              <a:buFont typeface="Arial" panose="020B0604020202020204" pitchFamily="34" charset="0"/>
              <a:buChar char="•"/>
            </a:pPr>
            <a:r>
              <a:rPr lang="en-US" dirty="0"/>
              <a:t>Match percentag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this information, we can provide service projection areas, total fiber cost (cable + installation), estimated subscriber revenue, and win probability.  </a:t>
            </a:r>
          </a:p>
        </p:txBody>
      </p:sp>
      <p:sp>
        <p:nvSpPr>
          <p:cNvPr id="4" name="Slide Number Placeholder 3"/>
          <p:cNvSpPr>
            <a:spLocks noGrp="1"/>
          </p:cNvSpPr>
          <p:nvPr>
            <p:ph type="sldNum" sz="quarter" idx="5"/>
          </p:nvPr>
        </p:nvSpPr>
        <p:spPr/>
        <p:txBody>
          <a:bodyPr/>
          <a:lstStyle/>
          <a:p>
            <a:fld id="{174D5C2A-16BC-49F9-ABAA-F2DDDBC149C0}" type="slidenum">
              <a:rPr lang="en-US" smtClean="0"/>
              <a:t>27</a:t>
            </a:fld>
            <a:endParaRPr lang="en-US"/>
          </a:p>
        </p:txBody>
      </p:sp>
    </p:spTree>
    <p:extLst>
      <p:ext uri="{BB962C8B-B14F-4D97-AF65-F5344CB8AC3E}">
        <p14:creationId xmlns:p14="http://schemas.microsoft.com/office/powerpoint/2010/main" val="37030606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ed on the latest </a:t>
            </a:r>
            <a:r>
              <a:rPr lang="en-US" dirty="0" err="1"/>
              <a:t>costquest</a:t>
            </a:r>
            <a:r>
              <a:rPr lang="en-US" dirty="0"/>
              <a:t> tier D license, we can plot out your network with rooftop accuracy and determine unserved and underserved households.  Based on the location of these households, we then use a AI driven tool to determine the most optimal path for your new fiber network.  </a:t>
            </a:r>
          </a:p>
          <a:p>
            <a:r>
              <a:rPr lang="en-US" dirty="0"/>
              <a:t>The fiber spine is customizable.  </a:t>
            </a:r>
          </a:p>
          <a:p>
            <a:r>
              <a:rPr lang="en-US" dirty="0"/>
              <a:t>This also can be used to identify host cost areas where FWA makes the most sense. </a:t>
            </a:r>
          </a:p>
        </p:txBody>
      </p:sp>
      <p:sp>
        <p:nvSpPr>
          <p:cNvPr id="4" name="Slide Number Placeholder 3"/>
          <p:cNvSpPr>
            <a:spLocks noGrp="1"/>
          </p:cNvSpPr>
          <p:nvPr>
            <p:ph type="sldNum" sz="quarter" idx="5"/>
          </p:nvPr>
        </p:nvSpPr>
        <p:spPr/>
        <p:txBody>
          <a:bodyPr/>
          <a:lstStyle/>
          <a:p>
            <a:fld id="{174D5C2A-16BC-49F9-ABAA-F2DDDBC149C0}" type="slidenum">
              <a:rPr lang="en-US" smtClean="0"/>
              <a:t>28</a:t>
            </a:fld>
            <a:endParaRPr lang="en-US"/>
          </a:p>
        </p:txBody>
      </p:sp>
    </p:spTree>
    <p:extLst>
      <p:ext uri="{BB962C8B-B14F-4D97-AF65-F5344CB8AC3E}">
        <p14:creationId xmlns:p14="http://schemas.microsoft.com/office/powerpoint/2010/main" val="10281167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rough this program, we can also see your network analytics.</a:t>
            </a:r>
          </a:p>
          <a:p>
            <a:r>
              <a:rPr lang="en-US" dirty="0"/>
              <a:t>Things like:</a:t>
            </a:r>
          </a:p>
          <a:p>
            <a:pPr marL="171450" indent="-171450">
              <a:buFont typeface="Arial" panose="020B0604020202020204" pitchFamily="34" charset="0"/>
              <a:buChar char="•"/>
            </a:pPr>
            <a:r>
              <a:rPr lang="en-US" dirty="0"/>
              <a:t>Total fiber cost, Grant Request, Subscriber Revenue, Win Probability, Rate of return, </a:t>
            </a:r>
          </a:p>
          <a:p>
            <a:pPr marL="171450" indent="-171450">
              <a:buFont typeface="Arial" panose="020B0604020202020204" pitchFamily="34" charset="0"/>
              <a:buChar char="•"/>
            </a:pPr>
            <a:r>
              <a:rPr lang="en-US" dirty="0"/>
              <a:t>10 year pro-forma income statement</a:t>
            </a:r>
          </a:p>
          <a:p>
            <a:pPr marL="628650" lvl="1" indent="-171450">
              <a:buFont typeface="Arial" panose="020B0604020202020204" pitchFamily="34" charset="0"/>
              <a:buChar char="•"/>
            </a:pPr>
            <a:r>
              <a:rPr lang="en-US" dirty="0"/>
              <a:t>Revenue:</a:t>
            </a:r>
          </a:p>
          <a:p>
            <a:pPr marL="1085850" lvl="2" indent="-171450">
              <a:buFont typeface="Arial" panose="020B0604020202020204" pitchFamily="34" charset="0"/>
              <a:buChar char="•"/>
            </a:pPr>
            <a:r>
              <a:rPr lang="en-US" dirty="0"/>
              <a:t>Standard subscriber revenue, premium subscriber revenue, number of subs</a:t>
            </a:r>
          </a:p>
          <a:p>
            <a:pPr marL="628650" lvl="1" indent="-171450">
              <a:buFont typeface="Arial" panose="020B0604020202020204" pitchFamily="34" charset="0"/>
              <a:buChar char="•"/>
            </a:pPr>
            <a:r>
              <a:rPr lang="en-US" dirty="0"/>
              <a:t>Cost of Goods Sold</a:t>
            </a:r>
          </a:p>
          <a:p>
            <a:pPr marL="1085850" lvl="2" indent="-171450">
              <a:buFont typeface="Arial" panose="020B0604020202020204" pitchFamily="34" charset="0"/>
              <a:buChar char="•"/>
            </a:pPr>
            <a:r>
              <a:rPr lang="en-US" dirty="0"/>
              <a:t>Operational Expenses</a:t>
            </a:r>
          </a:p>
          <a:p>
            <a:pPr marL="628650" lvl="1" indent="-171450">
              <a:buFont typeface="Arial" panose="020B0604020202020204" pitchFamily="34" charset="0"/>
              <a:buChar char="•"/>
            </a:pPr>
            <a:r>
              <a:rPr lang="en-US" dirty="0"/>
              <a:t>Gross Profit</a:t>
            </a:r>
          </a:p>
          <a:p>
            <a:pPr marL="628650" lvl="1" indent="-171450">
              <a:buFont typeface="Arial" panose="020B0604020202020204" pitchFamily="34" charset="0"/>
              <a:buChar char="•"/>
            </a:pPr>
            <a:r>
              <a:rPr lang="en-US" dirty="0"/>
              <a:t>Capital Expenses</a:t>
            </a:r>
          </a:p>
          <a:p>
            <a:pPr marL="628650" lvl="1" indent="-171450">
              <a:buFont typeface="Arial" panose="020B0604020202020204" pitchFamily="34" charset="0"/>
              <a:buChar char="•"/>
            </a:pPr>
            <a:r>
              <a:rPr lang="en-US" dirty="0"/>
              <a:t>Net Income.</a:t>
            </a:r>
          </a:p>
        </p:txBody>
      </p:sp>
      <p:sp>
        <p:nvSpPr>
          <p:cNvPr id="4" name="Slide Number Placeholder 3"/>
          <p:cNvSpPr>
            <a:spLocks noGrp="1"/>
          </p:cNvSpPr>
          <p:nvPr>
            <p:ph type="sldNum" sz="quarter" idx="5"/>
          </p:nvPr>
        </p:nvSpPr>
        <p:spPr/>
        <p:txBody>
          <a:bodyPr/>
          <a:lstStyle/>
          <a:p>
            <a:fld id="{174D5C2A-16BC-49F9-ABAA-F2DDDBC149C0}" type="slidenum">
              <a:rPr lang="en-US" smtClean="0"/>
              <a:t>29</a:t>
            </a:fld>
            <a:endParaRPr lang="en-US"/>
          </a:p>
        </p:txBody>
      </p:sp>
    </p:spTree>
    <p:extLst>
      <p:ext uri="{BB962C8B-B14F-4D97-AF65-F5344CB8AC3E}">
        <p14:creationId xmlns:p14="http://schemas.microsoft.com/office/powerpoint/2010/main" val="6461192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bscriber adoption by year</a:t>
            </a:r>
          </a:p>
          <a:p>
            <a:r>
              <a:rPr lang="en-US" dirty="0"/>
              <a:t>Revenue by year</a:t>
            </a:r>
          </a:p>
          <a:p>
            <a:r>
              <a:rPr lang="en-US" dirty="0"/>
              <a:t>Win probability</a:t>
            </a:r>
          </a:p>
          <a:p>
            <a:r>
              <a:rPr lang="en-US" dirty="0"/>
              <a:t>Fiber Distance</a:t>
            </a:r>
          </a:p>
          <a:p>
            <a:r>
              <a:rPr lang="en-US" dirty="0"/>
              <a:t>Remoteness Index</a:t>
            </a:r>
          </a:p>
          <a:p>
            <a:r>
              <a:rPr lang="en-US" dirty="0"/>
              <a:t>Terrain index</a:t>
            </a:r>
          </a:p>
        </p:txBody>
      </p:sp>
      <p:sp>
        <p:nvSpPr>
          <p:cNvPr id="4" name="Slide Number Placeholder 3"/>
          <p:cNvSpPr>
            <a:spLocks noGrp="1"/>
          </p:cNvSpPr>
          <p:nvPr>
            <p:ph type="sldNum" sz="quarter" idx="5"/>
          </p:nvPr>
        </p:nvSpPr>
        <p:spPr/>
        <p:txBody>
          <a:bodyPr/>
          <a:lstStyle/>
          <a:p>
            <a:fld id="{174D5C2A-16BC-49F9-ABAA-F2DDDBC149C0}" type="slidenum">
              <a:rPr lang="en-US" smtClean="0"/>
              <a:t>30</a:t>
            </a:fld>
            <a:endParaRPr lang="en-US"/>
          </a:p>
        </p:txBody>
      </p:sp>
    </p:spTree>
    <p:extLst>
      <p:ext uri="{BB962C8B-B14F-4D97-AF65-F5344CB8AC3E}">
        <p14:creationId xmlns:p14="http://schemas.microsoft.com/office/powerpoint/2010/main" val="19060912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4ECAD9-32EE-4091-BDA5-6BD15ACC5E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5748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4D5C2A-16BC-49F9-ABAA-F2DDDBC149C0}" type="slidenum">
              <a:rPr lang="en-US" smtClean="0"/>
              <a:t>2</a:t>
            </a:fld>
            <a:endParaRPr lang="en-US"/>
          </a:p>
        </p:txBody>
      </p:sp>
    </p:spTree>
    <p:extLst>
      <p:ext uri="{BB962C8B-B14F-4D97-AF65-F5344CB8AC3E}">
        <p14:creationId xmlns:p14="http://schemas.microsoft.com/office/powerpoint/2010/main" val="20384774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4D5C2A-16BC-49F9-ABAA-F2DDDBC149C0}" type="slidenum">
              <a:rPr lang="en-US" smtClean="0"/>
              <a:t>32</a:t>
            </a:fld>
            <a:endParaRPr lang="en-US"/>
          </a:p>
        </p:txBody>
      </p:sp>
    </p:spTree>
    <p:extLst>
      <p:ext uri="{BB962C8B-B14F-4D97-AF65-F5344CB8AC3E}">
        <p14:creationId xmlns:p14="http://schemas.microsoft.com/office/powerpoint/2010/main" val="35054388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With our grant writing services, we can collaborate with your engineers to design your project and develop a comprehensive plan of action. Using a high-level design, we will create a detailed project budget that lists everything needed for implementation. This includes the executive summary, project and budget narratives, budget spreadsheets, financial information collection, and digital application submissions.</a:t>
            </a: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Additionally, we offer post-award compliance services, which encompass compliance consulting, performance reporting, invoice reimbursement, and closeout reporting.</a:t>
            </a:r>
          </a:p>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7D38C-DEDC-4454-8E31-5E0D395332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67173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What type of things may be required.  This is state dependent.  General Expectations.  </a:t>
            </a:r>
          </a:p>
          <a:p>
            <a:pPr marL="0" indent="0">
              <a:buNone/>
            </a:pPr>
            <a:endParaRPr lang="en-US" sz="1200" dirty="0">
              <a:latin typeface="Arial" panose="020B060402020202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n-US" sz="1200" kern="100" dirty="0">
                <a:solidFill>
                  <a:srgbClr val="000000"/>
                </a:solidFill>
                <a:effectLst/>
                <a:latin typeface="Arial" panose="020B0604020202020204" pitchFamily="34" charset="0"/>
                <a:ea typeface="Calibri" panose="020F0502020204030204" pitchFamily="34" charset="0"/>
                <a:cs typeface="Arial" panose="020B0604020202020204" pitchFamily="34" charset="0"/>
              </a:rPr>
              <a:t>Audited Financials by independent certified accountant.  Last 2-years.  Unaudited are acceptable, however they will need them submitted later to receive funding.</a:t>
            </a:r>
            <a:endParaRPr lang="en-US" sz="12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n-US" sz="1200" kern="100" dirty="0">
                <a:solidFill>
                  <a:srgbClr val="000000"/>
                </a:solidFill>
                <a:effectLst/>
                <a:latin typeface="Arial" panose="020B0604020202020204" pitchFamily="34" charset="0"/>
                <a:ea typeface="Calibri" panose="020F0502020204030204" pitchFamily="34" charset="0"/>
                <a:cs typeface="Arial" panose="020B0604020202020204" pitchFamily="34" charset="0"/>
              </a:rPr>
              <a:t>Business plans – projections, cash flows</a:t>
            </a:r>
            <a:endParaRPr lang="en-US" sz="12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n-US" sz="1200" kern="100" dirty="0">
                <a:solidFill>
                  <a:srgbClr val="000000"/>
                </a:solidFill>
                <a:effectLst/>
                <a:latin typeface="Arial" panose="020B0604020202020204" pitchFamily="34" charset="0"/>
                <a:ea typeface="Calibri" panose="020F0502020204030204" pitchFamily="34" charset="0"/>
                <a:cs typeface="Arial" panose="020B0604020202020204" pitchFamily="34" charset="0"/>
              </a:rPr>
              <a:t>Pro forma</a:t>
            </a:r>
            <a:endParaRPr lang="en-US" sz="12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n-US" sz="1200" kern="100" dirty="0">
                <a:solidFill>
                  <a:srgbClr val="000000"/>
                </a:solidFill>
                <a:effectLst/>
                <a:latin typeface="Arial" panose="020B0604020202020204" pitchFamily="34" charset="0"/>
                <a:ea typeface="Calibri" panose="020F0502020204030204" pitchFamily="34" charset="0"/>
                <a:cs typeface="Arial" panose="020B0604020202020204" pitchFamily="34" charset="0"/>
              </a:rPr>
              <a:t>Analysis of current cash flow and balance </a:t>
            </a:r>
            <a:endParaRPr lang="en-US" sz="12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n-US" sz="1200" kern="100" dirty="0">
                <a:solidFill>
                  <a:srgbClr val="000000"/>
                </a:solidFill>
                <a:effectLst/>
                <a:latin typeface="Arial" panose="020B0604020202020204" pitchFamily="34" charset="0"/>
                <a:ea typeface="Calibri" panose="020F0502020204030204" pitchFamily="34" charset="0"/>
                <a:cs typeface="Arial" panose="020B0604020202020204" pitchFamily="34" charset="0"/>
              </a:rPr>
              <a:t>3 years of operating costs and cash flow projections.</a:t>
            </a:r>
            <a:endParaRPr lang="en-US" sz="12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n-US" sz="1200" kern="100" dirty="0">
                <a:solidFill>
                  <a:srgbClr val="000000"/>
                </a:solidFill>
                <a:effectLst/>
                <a:latin typeface="Arial" panose="020B0604020202020204" pitchFamily="34" charset="0"/>
                <a:ea typeface="Calibri" panose="020F0502020204030204" pitchFamily="34" charset="0"/>
                <a:cs typeface="Arial" panose="020B0604020202020204" pitchFamily="34" charset="0"/>
              </a:rPr>
              <a:t>Resumes – provide you have operation, and technical experience. Org charts.  All company and employees.  Similar projects requesting 2.  Experience can also work.  </a:t>
            </a:r>
            <a:endParaRPr lang="en-US" sz="12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n-US" sz="1200" kern="100" dirty="0">
                <a:solidFill>
                  <a:srgbClr val="000000"/>
                </a:solidFill>
                <a:effectLst/>
                <a:latin typeface="Arial" panose="020B0604020202020204" pitchFamily="34" charset="0"/>
                <a:ea typeface="Calibri" panose="020F0502020204030204" pitchFamily="34" charset="0"/>
                <a:cs typeface="Arial" panose="020B0604020202020204" pitchFamily="34" charset="0"/>
              </a:rPr>
              <a:t>Network design, diagrams, projects costs, timelines…cert by a professional engineer….</a:t>
            </a:r>
            <a:endParaRPr lang="en-US" sz="12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n-US" sz="1200" kern="100" dirty="0">
                <a:solidFill>
                  <a:srgbClr val="000000"/>
                </a:solidFill>
                <a:effectLst/>
                <a:latin typeface="Arial" panose="020B0604020202020204" pitchFamily="34" charset="0"/>
                <a:ea typeface="Calibri" panose="020F0502020204030204" pitchFamily="34" charset="0"/>
                <a:cs typeface="Arial" panose="020B0604020202020204" pitchFamily="34" charset="0"/>
              </a:rPr>
              <a:t>Wages, benefits, contractors /sub-contractors, employee</a:t>
            </a:r>
            <a:endParaRPr lang="en-US" sz="12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n-US" sz="1200" kern="100" dirty="0">
                <a:solidFill>
                  <a:srgbClr val="000000"/>
                </a:solidFill>
                <a:effectLst/>
                <a:latin typeface="Arial" panose="020B0604020202020204" pitchFamily="34" charset="0"/>
                <a:ea typeface="Calibri" panose="020F0502020204030204" pitchFamily="34" charset="0"/>
                <a:cs typeface="Arial" panose="020B0604020202020204" pitchFamily="34" charset="0"/>
              </a:rPr>
              <a:t>Letter of support from local gov (every state is different). </a:t>
            </a:r>
            <a:endParaRPr lang="en-US" sz="12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n-US" sz="1200" kern="100" dirty="0">
                <a:solidFill>
                  <a:srgbClr val="000000"/>
                </a:solidFill>
                <a:effectLst/>
                <a:latin typeface="Arial" panose="020B0604020202020204" pitchFamily="34" charset="0"/>
                <a:ea typeface="Calibri" panose="020F0502020204030204" pitchFamily="34" charset="0"/>
                <a:cs typeface="Arial" panose="020B0604020202020204" pitchFamily="34" charset="0"/>
              </a:rPr>
              <a:t>BABA Compliance.  </a:t>
            </a:r>
            <a:endParaRPr lang="en-US" sz="12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800"/>
              </a:spcAft>
              <a:buFont typeface="+mj-lt"/>
              <a:buAutoNum type="arabicPeriod"/>
            </a:pPr>
            <a:r>
              <a:rPr lang="en-US" sz="1200" kern="100" dirty="0">
                <a:solidFill>
                  <a:srgbClr val="000000"/>
                </a:solidFill>
                <a:effectLst/>
                <a:latin typeface="Arial" panose="020B0604020202020204" pitchFamily="34" charset="0"/>
                <a:ea typeface="Calibri" panose="020F0502020204030204" pitchFamily="34" charset="0"/>
                <a:cs typeface="Arial" panose="020B0604020202020204" pitchFamily="34" charset="0"/>
              </a:rPr>
              <a:t>Supply chain risk managed / cyber security plan.</a:t>
            </a:r>
          </a:p>
          <a:p>
            <a:pPr marL="342900" marR="0" lvl="0" indent="-342900">
              <a:lnSpc>
                <a:spcPct val="107000"/>
              </a:lnSpc>
              <a:spcBef>
                <a:spcPts val="0"/>
              </a:spcBef>
              <a:spcAft>
                <a:spcPts val="800"/>
              </a:spcAft>
              <a:buFont typeface="+mj-lt"/>
              <a:buAutoNum type="arabicPeriod"/>
            </a:pPr>
            <a:r>
              <a:rPr lang="en-US" sz="1200" kern="100" dirty="0">
                <a:effectLst/>
                <a:latin typeface="Arial" panose="020B0604020202020204" pitchFamily="34" charset="0"/>
                <a:ea typeface="Calibri" panose="020F0502020204030204" pitchFamily="34" charset="0"/>
                <a:cs typeface="Arial" panose="020B0604020202020204" pitchFamily="34" charset="0"/>
              </a:rPr>
              <a:t>Letter of credit (25%) + grant match (25%)</a:t>
            </a:r>
          </a:p>
          <a:p>
            <a:endParaRPr lang="en-US" dirty="0"/>
          </a:p>
        </p:txBody>
      </p:sp>
      <p:sp>
        <p:nvSpPr>
          <p:cNvPr id="4" name="Slide Number Placeholder 3"/>
          <p:cNvSpPr>
            <a:spLocks noGrp="1"/>
          </p:cNvSpPr>
          <p:nvPr>
            <p:ph type="sldNum" sz="quarter" idx="5"/>
          </p:nvPr>
        </p:nvSpPr>
        <p:spPr/>
        <p:txBody>
          <a:bodyPr/>
          <a:lstStyle/>
          <a:p>
            <a:fld id="{174D5C2A-16BC-49F9-ABAA-F2DDDBC149C0}" type="slidenum">
              <a:rPr lang="en-US" smtClean="0"/>
              <a:t>34</a:t>
            </a:fld>
            <a:endParaRPr lang="en-US"/>
          </a:p>
        </p:txBody>
      </p:sp>
    </p:spTree>
    <p:extLst>
      <p:ext uri="{BB962C8B-B14F-4D97-AF65-F5344CB8AC3E}">
        <p14:creationId xmlns:p14="http://schemas.microsoft.com/office/powerpoint/2010/main" val="36645433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at you have a location, a basic design, and a budget, you are ready to apply to a grant program.  Every state program is different but generally you can expect to provide.,..</a:t>
            </a:r>
          </a:p>
        </p:txBody>
      </p:sp>
      <p:sp>
        <p:nvSpPr>
          <p:cNvPr id="4" name="Slide Number Placeholder 3"/>
          <p:cNvSpPr>
            <a:spLocks noGrp="1"/>
          </p:cNvSpPr>
          <p:nvPr>
            <p:ph type="sldNum" sz="quarter" idx="5"/>
          </p:nvPr>
        </p:nvSpPr>
        <p:spPr/>
        <p:txBody>
          <a:bodyPr/>
          <a:lstStyle/>
          <a:p>
            <a:fld id="{174D5C2A-16BC-49F9-ABAA-F2DDDBC149C0}" type="slidenum">
              <a:rPr lang="en-US" smtClean="0"/>
              <a:t>35</a:t>
            </a:fld>
            <a:endParaRPr lang="en-US"/>
          </a:p>
        </p:txBody>
      </p:sp>
    </p:spTree>
    <p:extLst>
      <p:ext uri="{BB962C8B-B14F-4D97-AF65-F5344CB8AC3E}">
        <p14:creationId xmlns:p14="http://schemas.microsoft.com/office/powerpoint/2010/main" val="17758835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t support is required. Through our grant writing service, you will have a dedicated contact and a proven workflow that will take you through processing the materials to project reimbursements.  </a:t>
            </a:r>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7D38C-DEDC-4454-8E31-5E0D395332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77150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4D5C2A-16BC-49F9-ABAA-F2DDDBC149C0}" type="slidenum">
              <a:rPr lang="en-US" smtClean="0"/>
              <a:t>37</a:t>
            </a:fld>
            <a:endParaRPr lang="en-US"/>
          </a:p>
        </p:txBody>
      </p:sp>
    </p:spTree>
    <p:extLst>
      <p:ext uri="{BB962C8B-B14F-4D97-AF65-F5344CB8AC3E}">
        <p14:creationId xmlns:p14="http://schemas.microsoft.com/office/powerpoint/2010/main" val="33241935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228600">
              <a:spcBef>
                <a:spcPts val="0"/>
              </a:spcBef>
              <a:spcAft>
                <a:spcPts val="600"/>
              </a:spcAft>
              <a:defRPr/>
            </a:pPr>
            <a:r>
              <a:rPr lang="en-US" sz="1200" dirty="0"/>
              <a:t>In addition to our native technical support capabilities based on the scope of work and size of these opportunities we have extended our staff through strategic partnerships.  With our professional engineering services, we have the ability to provide you with a low-level component level fiber design.  </a:t>
            </a:r>
          </a:p>
          <a:p>
            <a:pPr marL="0" indent="-228600">
              <a:spcBef>
                <a:spcPts val="0"/>
              </a:spcBef>
              <a:spcAft>
                <a:spcPts val="600"/>
              </a:spcAft>
              <a:defRPr/>
            </a:pPr>
            <a:endParaRPr lang="en-US" sz="1200" dirty="0"/>
          </a:p>
          <a:p>
            <a:pPr marL="0" indent="-228600">
              <a:spcBef>
                <a:spcPts val="0"/>
              </a:spcBef>
              <a:spcAft>
                <a:spcPts val="600"/>
              </a:spcAft>
              <a:defRPr/>
            </a:pPr>
            <a:r>
              <a:rPr lang="en-US" sz="1200" dirty="0" err="1"/>
              <a:t>Winncom’s</a:t>
            </a:r>
            <a:r>
              <a:rPr lang="en-US" sz="1200" dirty="0"/>
              <a:t> Professional Engineering Service develop engineering plans and exhibits using Civil 3D, AutoCAD and GIS formats. </a:t>
            </a:r>
          </a:p>
          <a:p>
            <a:pPr marL="0" indent="-228600">
              <a:spcBef>
                <a:spcPts val="0"/>
              </a:spcBef>
              <a:spcAft>
                <a:spcPts val="600"/>
              </a:spcAft>
              <a:defRPr/>
            </a:pPr>
            <a:r>
              <a:rPr lang="en-US" sz="1200" dirty="0"/>
              <a:t>Offer onsite site surveys for wireless and fiber systems and provide PE stamped drawings.</a:t>
            </a:r>
          </a:p>
          <a:p>
            <a:endParaRPr lang="en-US" dirty="0"/>
          </a:p>
          <a:p>
            <a:r>
              <a:rPr lang="en-US" dirty="0"/>
              <a:t>Through our service, we have the ability to manage your OSP construction projects.</a:t>
            </a:r>
          </a:p>
          <a:p>
            <a:endParaRPr lang="en-US" dirty="0"/>
          </a:p>
          <a:p>
            <a:r>
              <a:rPr lang="en-US" dirty="0"/>
              <a:t>Our professional service provider has over 40-years in experience.  Typical projects include:</a:t>
            </a:r>
          </a:p>
          <a:p>
            <a:r>
              <a:rPr lang="en-US" dirty="0"/>
              <a:t>AS-build projects: scope includes locating existing fiber</a:t>
            </a:r>
          </a:p>
          <a:p>
            <a:r>
              <a:rPr lang="en-US" dirty="0"/>
              <a:t>Relocation Projects: Relocation of existing plant.  Scope includes fielding, excavation permits, new design, and traffic control designs.</a:t>
            </a:r>
          </a:p>
          <a:p>
            <a:r>
              <a:rPr lang="en-US" dirty="0"/>
              <a:t>Network Drop Projects: Field, </a:t>
            </a:r>
            <a:r>
              <a:rPr lang="en-US" dirty="0" err="1"/>
              <a:t>sesign</a:t>
            </a:r>
            <a:r>
              <a:rPr lang="en-US" dirty="0"/>
              <a:t>, engineering, and permit design.</a:t>
            </a:r>
          </a:p>
          <a:p>
            <a:r>
              <a:rPr lang="en-US" dirty="0"/>
              <a:t>Backhaul Engineering: Full engineering design of fiber runs </a:t>
            </a:r>
          </a:p>
          <a:p>
            <a:r>
              <a:rPr lang="en-US" dirty="0"/>
              <a:t>FTTE Projects: Field, engineering &amp; permit drawings </a:t>
            </a:r>
          </a:p>
          <a:p>
            <a:r>
              <a:rPr lang="en-US" dirty="0"/>
              <a:t>FTTH Projects: </a:t>
            </a:r>
            <a:r>
              <a:rPr lang="en-US" sz="1200" dirty="0">
                <a:ea typeface="+mn-lt"/>
              </a:rPr>
              <a:t>Scope included the design, engineering (fiber counts and splice types) of fiber runs via Aerial and Underground to homes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7D38C-DEDC-4454-8E31-5E0D395332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97900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600" dirty="0"/>
              <a:t>We are partnered with LEAF, a leading provider in tailored financial solutions, specializing in empowering BEAD program participants with essential funding support for services and equipment.</a:t>
            </a:r>
          </a:p>
          <a:p>
            <a:pPr algn="l"/>
            <a:r>
              <a:rPr lang="en-US" sz="1800" b="0" i="0" dirty="0">
                <a:solidFill>
                  <a:srgbClr val="242424"/>
                </a:solidFill>
                <a:effectLst/>
                <a:latin typeface="Calibri" panose="020F0502020204030204" pitchFamily="34" charset="0"/>
              </a:rPr>
              <a:t> </a:t>
            </a:r>
          </a:p>
          <a:p>
            <a:pPr algn="l">
              <a:buFont typeface="Arial" panose="020B0604020202020204" pitchFamily="34" charset="0"/>
              <a:buChar char="•"/>
            </a:pPr>
            <a:endParaRPr lang="en-US" sz="1800" b="0" i="0" dirty="0">
              <a:solidFill>
                <a:srgbClr val="242424"/>
              </a:solidFill>
              <a:effectLst/>
              <a:latin typeface="Calibri" panose="020F0502020204030204" pitchFamily="34" charset="0"/>
            </a:endParaRPr>
          </a:p>
          <a:p>
            <a:pPr marL="0" marR="0">
              <a:lnSpc>
                <a:spcPct val="107000"/>
              </a:lnSpc>
              <a:spcBef>
                <a:spcPts val="0"/>
              </a:spcBef>
              <a:spcAft>
                <a:spcPts val="800"/>
              </a:spcAft>
            </a:pPr>
            <a:r>
              <a:rPr lang="en-US" sz="1800" kern="1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Funding is a potential problem.  It is possible to need up to 50% coverage.   25% letter of credit plus 25% grant match</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gn="l">
              <a:buFont typeface="Arial" panose="020B0604020202020204" pitchFamily="34" charset="0"/>
              <a:buChar char="•"/>
            </a:pPr>
            <a:endParaRPr lang="en-US" sz="1800" b="0" i="0" dirty="0">
              <a:solidFill>
                <a:srgbClr val="242424"/>
              </a:solidFill>
              <a:effectLst/>
              <a:latin typeface="Calibri" panose="020F0502020204030204" pitchFamily="34" charset="0"/>
            </a:endParaRPr>
          </a:p>
          <a:p>
            <a:pPr algn="l">
              <a:buFont typeface="Arial" panose="020B0604020202020204" pitchFamily="34" charset="0"/>
              <a:buNone/>
            </a:pPr>
            <a:r>
              <a:rPr lang="en-US" sz="1800" b="0" i="0" dirty="0">
                <a:solidFill>
                  <a:srgbClr val="242424"/>
                </a:solidFill>
                <a:effectLst/>
                <a:latin typeface="Calibri" panose="020F0502020204030204" pitchFamily="34" charset="0"/>
              </a:rPr>
              <a:t>With leaf, we can offer you two different types of op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Leaf Financial Corporation was formed in 2002.  Operating over 22 years, Leaf is also a part of Bank of Americ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742950" marR="0" lvl="0" indent="-742950" algn="l" defTabSz="914400" rtl="0" eaLnBrk="1" fontAlgn="auto" latinLnBrk="0" hangingPunct="1">
              <a:lnSpc>
                <a:spcPct val="100000"/>
              </a:lnSpc>
              <a:spcBef>
                <a:spcPts val="0"/>
              </a:spcBef>
              <a:spcAft>
                <a:spcPts val="0"/>
              </a:spcAft>
              <a:buClrTx/>
              <a:buSzTx/>
              <a:buFontTx/>
              <a:buAutoNum type="arabicPeriod"/>
              <a:tabLst/>
              <a:defRPr/>
            </a:pPr>
            <a:r>
              <a:rPr lang="en-US" sz="1200" b="1" dirty="0"/>
              <a:t>Capital Now Program</a:t>
            </a:r>
            <a:r>
              <a:rPr lang="en-US" sz="1200" dirty="0"/>
              <a:t>.  This is a leasing service for nontangible products like grant writing and professional engineering.  Like working capital, this short-term financing options provides up to 300K in funds financed over a 3–24-month term. 25,000 minimum to $300,000 maximum </a:t>
            </a:r>
          </a:p>
          <a:p>
            <a:pPr marL="742950" marR="0" lvl="0" indent="-742950" algn="l" defTabSz="914400" rtl="0" eaLnBrk="1" fontAlgn="auto" latinLnBrk="0" hangingPunct="1">
              <a:lnSpc>
                <a:spcPct val="100000"/>
              </a:lnSpc>
              <a:spcBef>
                <a:spcPts val="0"/>
              </a:spcBef>
              <a:spcAft>
                <a:spcPts val="0"/>
              </a:spcAft>
              <a:buClrTx/>
              <a:buSzTx/>
              <a:buFontTx/>
              <a:buAutoNum type="arabicPeriod"/>
              <a:tabLst/>
              <a:defRPr/>
            </a:pPr>
            <a:endParaRPr lang="en-US" sz="1200" dirty="0"/>
          </a:p>
          <a:p>
            <a:pPr marL="742950" marR="0" lvl="0" indent="-742950" algn="l" defTabSz="914400" rtl="0" eaLnBrk="1" fontAlgn="auto" latinLnBrk="0" hangingPunct="1">
              <a:lnSpc>
                <a:spcPct val="100000"/>
              </a:lnSpc>
              <a:spcBef>
                <a:spcPts val="0"/>
              </a:spcBef>
              <a:spcAft>
                <a:spcPts val="0"/>
              </a:spcAft>
              <a:buClrTx/>
              <a:buSzTx/>
              <a:buFontTx/>
              <a:buAutoNum type="arabicPeriod"/>
              <a:tabLst/>
              <a:defRPr/>
            </a:pPr>
            <a:r>
              <a:rPr lang="en-US" sz="1200" b="1" dirty="0"/>
              <a:t>Equipment Financing Options</a:t>
            </a:r>
            <a:r>
              <a:rPr lang="en-US" sz="1200" dirty="0"/>
              <a:t>.  Reduce your grant match obligation by prepaying for equipment.  This is </a:t>
            </a:r>
            <a:r>
              <a:rPr lang="en-US" sz="1200" dirty="0" err="1"/>
              <a:t>leafs</a:t>
            </a:r>
            <a:r>
              <a:rPr lang="en-US" sz="1200" dirty="0"/>
              <a:t> bread and butter.  Longer term financing.  UP to 1-5 years.  Preapprovals available up to 500k.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7D38C-DEDC-4454-8E31-5E0D395332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7040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B00663-F0C1-204C-972F-0B9D3B2FE9B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8420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haven’t they announced the next steps or timing for preapplication? States are waiting on NTIA for final approval of thei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BCF877-BD59-F048-B7F8-7D344387EC5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02070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BCF877-BD59-F048-B7F8-7D344387EC5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37611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sistant Secretary Davidson, BEAD Director Evan </a:t>
            </a:r>
            <a:r>
              <a:rPr lang="en-US" dirty="0" err="1"/>
              <a:t>Feinman</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early 50 live technology demonstrations in 24 stat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BCF877-BD59-F048-B7F8-7D344387EC5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99179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BCF877-BD59-F048-B7F8-7D344387EC5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2946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7D38C-DEDC-4454-8E31-5E0D395332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209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Robust Team of experience professionals</a:t>
            </a:r>
          </a:p>
          <a:p>
            <a:pPr marL="0" indent="0">
              <a:buFont typeface="Arial" panose="020B0604020202020204" pitchFamily="34" charset="0"/>
              <a:buNone/>
            </a:pPr>
            <a:r>
              <a:rPr lang="en-US" dirty="0"/>
              <a:t>Turnkey Experience.  Single Point of Contact through your account manage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7D38C-DEDC-4454-8E31-5E0D395332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31224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30.sv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30.sv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30.sv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2.sv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2.sv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32.sv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2.sv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2.sv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32.svg"/></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30.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30.sv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30.svg"/></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30.sv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30.svg"/></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30.svg"/></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2.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2.sv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2.svg"/></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32.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4.jpe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21.svg"/></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21.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21.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7.png"/><Relationship Id="rId1" Type="http://schemas.openxmlformats.org/officeDocument/2006/relationships/slideMaster" Target="../slideMasters/slideMaster7.xml"/><Relationship Id="rId4" Type="http://schemas.microsoft.com/office/2007/relationships/hdphoto" Target="../media/hdphoto3.wdp"/></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48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1.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48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2.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48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1.png"/><Relationship Id="rId1" Type="http://schemas.openxmlformats.org/officeDocument/2006/relationships/slideMaster" Target="../slideMasters/slideMaster7.xml"/><Relationship Id="rId4" Type="http://schemas.openxmlformats.org/officeDocument/2006/relationships/image" Target="../media/image4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2 Title dark">
    <p:bg>
      <p:bgPr>
        <a:gradFill>
          <a:gsLst>
            <a:gs pos="53100">
              <a:schemeClr val="accent1">
                <a:lumMod val="59000"/>
              </a:schemeClr>
            </a:gs>
            <a:gs pos="0">
              <a:schemeClr val="tx1">
                <a:lumMod val="96000"/>
              </a:schemeClr>
            </a:gs>
            <a:gs pos="100000">
              <a:schemeClr val="accent1">
                <a:lumMod val="30000"/>
              </a:schemeClr>
            </a:gs>
          </a:gsLst>
          <a:lin ang="12000000" scaled="0"/>
        </a:gra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pic>
        <p:nvPicPr>
          <p:cNvPr id="3" name="Graphic 2">
            <a:extLst>
              <a:ext uri="{FF2B5EF4-FFF2-40B4-BE49-F238E27FC236}">
                <a16:creationId xmlns:a16="http://schemas.microsoft.com/office/drawing/2014/main" id="{BB937390-63D5-3E5C-5017-6C0EFAC8BC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3930" y="6330072"/>
            <a:ext cx="1296000" cy="292019"/>
          </a:xfrm>
          <a:prstGeom prst="rect">
            <a:avLst/>
          </a:prstGeom>
        </p:spPr>
      </p:pic>
    </p:spTree>
    <p:extLst>
      <p:ext uri="{BB962C8B-B14F-4D97-AF65-F5344CB8AC3E}">
        <p14:creationId xmlns:p14="http://schemas.microsoft.com/office/powerpoint/2010/main" val="15547185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6 Bulletpoint text 3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360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4296000" y="1680000"/>
            <a:ext cx="360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8035550" y="1680000"/>
            <a:ext cx="3596877"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BF8E66B8-C798-B992-2C68-B85351E1170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6CA67C43-66D6-847E-98DC-61F9029ECC0B}"/>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323A8A5F-292F-2AC1-C1B0-A59D33F93A2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A1277FE0-ECBC-0B62-6936-4A9C8E1CE894}"/>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9834424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1.13 Title slide with media 3">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556802" y="527928"/>
            <a:ext cx="455402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556802" y="1019360"/>
            <a:ext cx="4554028"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556454" y="1680000"/>
            <a:ext cx="455402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E7BA896-DC3C-C861-6C89-0401950D7446}"/>
              </a:ext>
            </a:extLst>
          </p:cNvPr>
          <p:cNvSpPr>
            <a:spLocks noGrp="1"/>
          </p:cNvSpPr>
          <p:nvPr>
            <p:ph type="pic" sz="quarter" idx="15" hasCustomPrompt="1"/>
          </p:nvPr>
        </p:nvSpPr>
        <p:spPr>
          <a:xfrm>
            <a:off x="5486400" y="0"/>
            <a:ext cx="67056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4" name="TextBox 3">
            <a:extLst>
              <a:ext uri="{FF2B5EF4-FFF2-40B4-BE49-F238E27FC236}">
                <a16:creationId xmlns:a16="http://schemas.microsoft.com/office/drawing/2014/main" id="{DD05DD94-B1D7-AF62-87C9-7EF3B816BC50}"/>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4CA45A5E-8155-944F-17C0-E8C2DF0291BF}"/>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6660D9BC-D30D-1466-7616-8C7936E38CF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9FEC4AEB-8265-3816-B1A7-81B4297B51B5}"/>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4505258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1.14 Title slide with media 4">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556802" y="527928"/>
            <a:ext cx="329418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556802" y="1019360"/>
            <a:ext cx="3294188"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556454" y="1680000"/>
            <a:ext cx="329418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C663BDD0-396A-C130-FA04-231CB3C74388}"/>
              </a:ext>
            </a:extLst>
          </p:cNvPr>
          <p:cNvSpPr>
            <a:spLocks noGrp="1"/>
          </p:cNvSpPr>
          <p:nvPr>
            <p:ph type="pic" sz="quarter" idx="16" hasCustomPrompt="1"/>
          </p:nvPr>
        </p:nvSpPr>
        <p:spPr>
          <a:xfrm>
            <a:off x="4267200" y="0"/>
            <a:ext cx="79248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3" name="TextBox 2">
            <a:extLst>
              <a:ext uri="{FF2B5EF4-FFF2-40B4-BE49-F238E27FC236}">
                <a16:creationId xmlns:a16="http://schemas.microsoft.com/office/drawing/2014/main" id="{2069DAC9-98D0-DE29-0854-C322936DF8E9}"/>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E3B783F8-E852-2880-7AC7-93C221C8FF1B}"/>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C79725E7-2EC0-E3B5-3DB0-057A690FD95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5F00D657-7150-C4CD-A10F-64140FBB30BD}"/>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62556551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1.11 Title slide with white ">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A9C292-FC1E-4CD0-D1C2-1C1BF0964A4B}"/>
              </a:ext>
            </a:extLst>
          </p:cNvPr>
          <p:cNvSpPr/>
          <p:nvPr userDrawn="1"/>
        </p:nvSpPr>
        <p:spPr>
          <a:xfrm flipH="1">
            <a:off x="-14515" y="0"/>
            <a:ext cx="5080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96000" rIns="96000" bIns="96000" numCol="1" spcCol="0" rtlCol="0" fromWordArt="0" anchor="t" anchorCtr="0" forceAA="0" compatLnSpc="1">
            <a:prstTxWarp prst="textNoShape">
              <a:avLst/>
            </a:prstTxWarp>
            <a:noAutofit/>
          </a:bodyPr>
          <a:lstStyle/>
          <a:p>
            <a:pPr algn="l">
              <a:spcAft>
                <a:spcPts val="400"/>
              </a:spcAft>
              <a:buSzPct val="100000"/>
            </a:pPr>
            <a:endParaRPr lang="en-US" sz="1600">
              <a:solidFill>
                <a:schemeClr val="tx2"/>
              </a:solidFill>
            </a:endParaRPr>
          </a:p>
        </p:txBody>
      </p:sp>
      <p:pic>
        <p:nvPicPr>
          <p:cNvPr id="6" name="Graphic 5">
            <a:extLst>
              <a:ext uri="{FF2B5EF4-FFF2-40B4-BE49-F238E27FC236}">
                <a16:creationId xmlns:a16="http://schemas.microsoft.com/office/drawing/2014/main" id="{9ADE2C08-8C2F-6DA1-140F-78B7C383967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3" name="Text Placeholder 42">
            <a:extLst>
              <a:ext uri="{FF2B5EF4-FFF2-40B4-BE49-F238E27FC236}">
                <a16:creationId xmlns:a16="http://schemas.microsoft.com/office/drawing/2014/main" id="{076F2482-56A5-DF69-EDAB-369E53244A98}"/>
              </a:ext>
            </a:extLst>
          </p:cNvPr>
          <p:cNvSpPr>
            <a:spLocks noGrp="1"/>
          </p:cNvSpPr>
          <p:nvPr>
            <p:ph type="body" sz="quarter" idx="12" hasCustomPrompt="1"/>
          </p:nvPr>
        </p:nvSpPr>
        <p:spPr>
          <a:xfrm>
            <a:off x="556801" y="527928"/>
            <a:ext cx="423872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14" name="Text Placeholder 42">
            <a:extLst>
              <a:ext uri="{FF2B5EF4-FFF2-40B4-BE49-F238E27FC236}">
                <a16:creationId xmlns:a16="http://schemas.microsoft.com/office/drawing/2014/main" id="{9EE67559-07A5-8DC0-5F9E-74889395C505}"/>
              </a:ext>
            </a:extLst>
          </p:cNvPr>
          <p:cNvSpPr>
            <a:spLocks noGrp="1"/>
          </p:cNvSpPr>
          <p:nvPr>
            <p:ph type="body" sz="quarter" idx="13" hasCustomPrompt="1"/>
          </p:nvPr>
        </p:nvSpPr>
        <p:spPr>
          <a:xfrm>
            <a:off x="556801" y="1019360"/>
            <a:ext cx="423872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5" name="TextBox 14">
            <a:extLst>
              <a:ext uri="{FF2B5EF4-FFF2-40B4-BE49-F238E27FC236}">
                <a16:creationId xmlns:a16="http://schemas.microsoft.com/office/drawing/2014/main" id="{888C92FD-B39B-95B0-724C-D1AA2268DE24}"/>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F172D6B9-A8FE-EBFF-D93D-5EB12C01965D}"/>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Footer Placeholder 2">
            <a:extLst>
              <a:ext uri="{FF2B5EF4-FFF2-40B4-BE49-F238E27FC236}">
                <a16:creationId xmlns:a16="http://schemas.microsoft.com/office/drawing/2014/main" id="{AF35F11C-FBF2-64A9-BC5E-546156F777F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
        <p:nvSpPr>
          <p:cNvPr id="19" name="Text Placeholder 12">
            <a:extLst>
              <a:ext uri="{FF2B5EF4-FFF2-40B4-BE49-F238E27FC236}">
                <a16:creationId xmlns:a16="http://schemas.microsoft.com/office/drawing/2014/main" id="{EFF7564F-7000-1BEA-AD06-C8104C4313E7}"/>
              </a:ext>
            </a:extLst>
          </p:cNvPr>
          <p:cNvSpPr>
            <a:spLocks noGrp="1"/>
          </p:cNvSpPr>
          <p:nvPr>
            <p:ph type="body" sz="quarter" idx="14"/>
          </p:nvPr>
        </p:nvSpPr>
        <p:spPr>
          <a:xfrm>
            <a:off x="556453" y="1680000"/>
            <a:ext cx="423906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754276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1.3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0" indent="0">
              <a:lnSpc>
                <a:spcPct val="100000"/>
              </a:lnSpc>
              <a:spcBef>
                <a:spcPts val="0"/>
              </a:spcBef>
              <a:spcAft>
                <a:spcPts val="800"/>
              </a:spcAft>
              <a:buSzPct val="70000"/>
              <a:buNone/>
              <a:defRPr sz="1600">
                <a:solidFill>
                  <a:schemeClr val="tx1"/>
                </a:solidFill>
              </a:defRPr>
            </a:lvl1pPr>
            <a:lvl2pPr marL="239994" indent="0">
              <a:lnSpc>
                <a:spcPct val="100000"/>
              </a:lnSpc>
              <a:spcBef>
                <a:spcPts val="0"/>
              </a:spcBef>
              <a:spcAft>
                <a:spcPts val="800"/>
              </a:spcAft>
              <a:buSzPct val="70000"/>
              <a:buNone/>
              <a:defRPr sz="1600">
                <a:solidFill>
                  <a:schemeClr val="tx1"/>
                </a:solidFill>
              </a:defRPr>
            </a:lvl2pPr>
            <a:lvl3pPr marL="479988" indent="0">
              <a:lnSpc>
                <a:spcPct val="100000"/>
              </a:lnSpc>
              <a:spcBef>
                <a:spcPts val="0"/>
              </a:spcBef>
              <a:spcAft>
                <a:spcPts val="800"/>
              </a:spcAft>
              <a:buSzPct val="70000"/>
              <a:buNone/>
              <a:defRPr sz="1600">
                <a:solidFill>
                  <a:schemeClr val="tx1"/>
                </a:solidFill>
              </a:defRPr>
            </a:lvl3pPr>
            <a:lvl4pPr marL="719982" indent="0">
              <a:lnSpc>
                <a:spcPct val="100000"/>
              </a:lnSpc>
              <a:spcBef>
                <a:spcPts val="0"/>
              </a:spcBef>
              <a:spcAft>
                <a:spcPts val="800"/>
              </a:spcAft>
              <a:buSzPct val="70000"/>
              <a:buNone/>
              <a:defRPr sz="1600">
                <a:solidFill>
                  <a:schemeClr val="tx1"/>
                </a:solidFill>
              </a:defRPr>
            </a:lvl4pPr>
            <a:lvl5pPr marL="959976" indent="0">
              <a:lnSpc>
                <a:spcPct val="100000"/>
              </a:lnSpc>
              <a:spcBef>
                <a:spcPts val="0"/>
              </a:spcBef>
              <a:spcAft>
                <a:spcPts val="800"/>
              </a:spcAft>
              <a:buSzPct val="70000"/>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0" name="TextBox 9">
            <a:extLst>
              <a:ext uri="{FF2B5EF4-FFF2-40B4-BE49-F238E27FC236}">
                <a16:creationId xmlns:a16="http://schemas.microsoft.com/office/drawing/2014/main" id="{D706B219-6557-5951-F467-43B768A9C96C}"/>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4FF66938-CF4B-D097-1BC6-18EB230030F4}"/>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CB929F03-682A-4566-CF9F-D3B71DB4575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E177B5-71D7-398C-03E7-932A701525D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8706283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1.4 Bulletpoint text 1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FD95910B-6C91-D297-584C-3D1533AECBE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C76EFBCA-F2A9-DB62-4D3E-60E897B89B56}"/>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5E7D3F5-04E5-7DAF-AB76-2DAC95AB476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7D61FF18-0BA2-46E4-85DF-332117D1237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98773290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1.5 Bulletpoint text 2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5424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6211552" y="1680000"/>
            <a:ext cx="5424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E3A67328-00EF-5713-CA06-6BF95B775913}"/>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CED75580-5FAF-E6C5-DFED-1F462D82E3A6}"/>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1E21FDDB-B801-EAA3-9D13-40103E7AC2C1}"/>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65EB5894-B0A6-D8F1-AD97-D6E4D056DDA6}"/>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77994330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1.6 Bulletpoint text 3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360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4296000" y="1680000"/>
            <a:ext cx="360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8035550" y="1680000"/>
            <a:ext cx="3596877"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BF8E66B8-C798-B992-2C68-B85351E1170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6CA67C43-66D6-847E-98DC-61F9029ECC0B}"/>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323A8A5F-292F-2AC1-C1B0-A59D33F93A2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A1277FE0-ECBC-0B62-6936-4A9C8E1CE894}"/>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1928451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1.7 Bulletpoint text 4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368443"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180435"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8992427"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93DA646D-5F97-9D8A-4598-A0C98D4634E0}"/>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9115B87B-934C-0F92-5F93-D343BD44B66C}"/>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7428D676-DD53-1C54-82A5-88434E06B3E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45A16F44-B403-571B-AD0A-B6A86614B77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04558893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1.8 Numbered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556800" y="1680000"/>
            <a:ext cx="11078400" cy="4158640"/>
          </a:xfrm>
          <a:prstGeom prst="rect">
            <a:avLst/>
          </a:prstGeom>
        </p:spPr>
        <p:txBody>
          <a:bodyPr lIns="0" tIns="0" rIns="0" bIns="0"/>
          <a:lstStyle>
            <a:lvl1pPr marL="304792" indent="-304792">
              <a:lnSpc>
                <a:spcPct val="100000"/>
              </a:lnSpc>
              <a:spcBef>
                <a:spcPts val="0"/>
              </a:spcBef>
              <a:spcAft>
                <a:spcPts val="800"/>
              </a:spcAft>
              <a:buFont typeface="+mj-lt"/>
              <a:buAutoNum type="arabicPeriod"/>
              <a:defRPr sz="1600">
                <a:solidFill>
                  <a:schemeClr val="tx1"/>
                </a:solidFill>
              </a:defRPr>
            </a:lvl1pPr>
            <a:lvl2pPr marL="544786" indent="-304792">
              <a:lnSpc>
                <a:spcPct val="100000"/>
              </a:lnSpc>
              <a:spcBef>
                <a:spcPts val="0"/>
              </a:spcBef>
              <a:spcAft>
                <a:spcPts val="800"/>
              </a:spcAft>
              <a:buFont typeface="+mj-lt"/>
              <a:buAutoNum type="arabicPeriod" startAt="2"/>
              <a:defRPr sz="1600">
                <a:solidFill>
                  <a:schemeClr val="tx1"/>
                </a:solidFill>
              </a:defRPr>
            </a:lvl2pPr>
            <a:lvl3pPr marL="784780" indent="-304792">
              <a:lnSpc>
                <a:spcPct val="100000"/>
              </a:lnSpc>
              <a:spcBef>
                <a:spcPts val="0"/>
              </a:spcBef>
              <a:spcAft>
                <a:spcPts val="800"/>
              </a:spcAft>
              <a:buFont typeface="+mj-lt"/>
              <a:buAutoNum type="arabicPeriod" startAt="3"/>
              <a:defRPr sz="1600">
                <a:solidFill>
                  <a:schemeClr val="tx1"/>
                </a:solidFill>
              </a:defRPr>
            </a:lvl3pPr>
            <a:lvl4pPr marL="1024774" indent="-304792">
              <a:lnSpc>
                <a:spcPct val="100000"/>
              </a:lnSpc>
              <a:spcBef>
                <a:spcPts val="0"/>
              </a:spcBef>
              <a:spcAft>
                <a:spcPts val="800"/>
              </a:spcAft>
              <a:buFont typeface="+mj-lt"/>
              <a:buAutoNum type="arabicPeriod" startAt="4"/>
              <a:defRPr sz="1600">
                <a:solidFill>
                  <a:schemeClr val="tx1"/>
                </a:solidFill>
              </a:defRPr>
            </a:lvl4pPr>
            <a:lvl5pPr marL="1276168" indent="-304792">
              <a:lnSpc>
                <a:spcPct val="100000"/>
              </a:lnSpc>
              <a:spcBef>
                <a:spcPts val="0"/>
              </a:spcBef>
              <a:spcAft>
                <a:spcPts val="800"/>
              </a:spcAft>
              <a:buFont typeface="+mj-lt"/>
              <a:buAutoNum type="arabicPeriod" startAt="5"/>
              <a:defRPr sz="1600">
                <a:solidFill>
                  <a:schemeClr val="tx1"/>
                </a:solidFill>
              </a:defRPr>
            </a:lvl5pPr>
          </a:lstStyle>
          <a:p>
            <a:pPr lvl="0"/>
            <a:r>
              <a:rPr lang="en-US"/>
              <a:t>Text here</a:t>
            </a:r>
          </a:p>
          <a:p>
            <a:pPr lvl="1"/>
            <a:r>
              <a:rPr lang="en-US"/>
              <a:t>Text here</a:t>
            </a:r>
          </a:p>
          <a:p>
            <a:pPr lvl="2"/>
            <a:r>
              <a:rPr lang="en-US"/>
              <a:t>Text here</a:t>
            </a:r>
          </a:p>
          <a:p>
            <a:pPr lvl="3"/>
            <a:r>
              <a:rPr lang="en-US"/>
              <a:t>Text here</a:t>
            </a:r>
          </a:p>
          <a:p>
            <a:pPr marL="1276168" marR="0" lvl="4" indent="-304792" algn="l" defTabSz="914377" rtl="0" eaLnBrk="1" fontAlgn="auto" latinLnBrk="0" hangingPunct="1">
              <a:lnSpc>
                <a:spcPct val="100000"/>
              </a:lnSpc>
              <a:spcBef>
                <a:spcPts val="0"/>
              </a:spcBef>
              <a:spcAft>
                <a:spcPts val="400"/>
              </a:spcAft>
              <a:buClrTx/>
              <a:buSzTx/>
              <a:tabLst/>
              <a:defRPr/>
            </a:pPr>
            <a:r>
              <a:rPr lang="en-US"/>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BB696985-1EFA-02D0-106A-9F81CEBC3FA1}"/>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1AF7E5B4-21F0-0696-BF4F-8AFCA8103CD7}"/>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87755C10-FC21-4D9F-8DA4-A30B437ABD12}"/>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DDC4B182-BD0E-D0F1-793C-A6CE500EA3BD}"/>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9398341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1.9 Title slid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accent1"/>
                </a:solidFill>
                <a:latin typeface="Nokia Pure Headline Light" panose="020B0304020202020204" pitchFamily="34" charset="0"/>
              </a:defRPr>
            </a:lvl1pPr>
          </a:lstStyle>
          <a:p>
            <a:pPr lvl="0"/>
            <a:r>
              <a:rPr lang="en-US"/>
              <a:t>Click to edit headline</a:t>
            </a:r>
          </a:p>
        </p:txBody>
      </p:sp>
      <p:sp>
        <p:nvSpPr>
          <p:cNvPr id="3" name="TextBox 2">
            <a:extLst>
              <a:ext uri="{FF2B5EF4-FFF2-40B4-BE49-F238E27FC236}">
                <a16:creationId xmlns:a16="http://schemas.microsoft.com/office/drawing/2014/main" id="{3306DFA0-C2BA-C581-C314-740F6D8A7079}"/>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AB1F327B-603C-86B8-9F24-AB86561B3C06}"/>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FB24B9E5-9DF5-72DD-49F0-33455A6A12D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5D779461-EFB5-C35B-DE08-509687C8261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2932622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7 Bulletpoint text 4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368443"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180435"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8992427"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93DA646D-5F97-9D8A-4598-A0C98D4634E0}"/>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9115B87B-934C-0F92-5F93-D343BD44B66C}"/>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7428D676-DD53-1C54-82A5-88434E06B3E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45A16F44-B403-571B-AD0A-B6A86614B77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8161376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1.10 Title slide with media 1">
    <p:spTree>
      <p:nvGrpSpPr>
        <p:cNvPr id="1" name=""/>
        <p:cNvGrpSpPr/>
        <p:nvPr/>
      </p:nvGrpSpPr>
      <p:grpSpPr>
        <a:xfrm>
          <a:off x="0" y="0"/>
          <a:ext cx="0" cy="0"/>
          <a:chOff x="0" y="0"/>
          <a:chExt cx="0" cy="0"/>
        </a:xfrm>
      </p:grpSpPr>
      <p:sp>
        <p:nvSpPr>
          <p:cNvPr id="3" name="Media Placeholder 6">
            <a:extLst>
              <a:ext uri="{FF2B5EF4-FFF2-40B4-BE49-F238E27FC236}">
                <a16:creationId xmlns:a16="http://schemas.microsoft.com/office/drawing/2014/main" id="{BB2531A6-B2AF-8CE3-D4E6-FFA2A6F43CBA}"/>
              </a:ext>
            </a:extLst>
          </p:cNvPr>
          <p:cNvSpPr>
            <a:spLocks noGrp="1"/>
          </p:cNvSpPr>
          <p:nvPr>
            <p:ph type="media" sz="quarter" idx="12"/>
          </p:nvPr>
        </p:nvSpPr>
        <p:spPr>
          <a:xfrm>
            <a:off x="0" y="0"/>
            <a:ext cx="12192000" cy="6858000"/>
          </a:xfrm>
          <a:prstGeom prst="rect">
            <a:avLst/>
          </a:prstGeom>
        </p:spPr>
        <p:txBody>
          <a:bodyPr/>
          <a:lstStyle>
            <a:lvl1pPr marL="0" indent="0">
              <a:buNone/>
              <a:defRPr>
                <a:solidFill>
                  <a:schemeClr val="accent4"/>
                </a:solidFill>
              </a:defRPr>
            </a:lvl1pPr>
          </a:lstStyle>
          <a:p>
            <a:r>
              <a:rPr lang="en-US"/>
              <a:t>Click icon to add media</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4" name="Text Placeholder 42">
            <a:extLst>
              <a:ext uri="{FF2B5EF4-FFF2-40B4-BE49-F238E27FC236}">
                <a16:creationId xmlns:a16="http://schemas.microsoft.com/office/drawing/2014/main" id="{294B94FF-B007-7648-0008-A471B34C4CB3}"/>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accent1"/>
                </a:solidFill>
                <a:latin typeface="Nokia Pure Headline Light" panose="020B0304020202020204" pitchFamily="34" charset="0"/>
              </a:defRPr>
            </a:lvl1pPr>
          </a:lstStyle>
          <a:p>
            <a:pPr lvl="0"/>
            <a:r>
              <a:rPr lang="en-US"/>
              <a:t>Click to edit headline</a:t>
            </a:r>
          </a:p>
        </p:txBody>
      </p:sp>
      <p:sp>
        <p:nvSpPr>
          <p:cNvPr id="4" name="TextBox 3">
            <a:extLst>
              <a:ext uri="{FF2B5EF4-FFF2-40B4-BE49-F238E27FC236}">
                <a16:creationId xmlns:a16="http://schemas.microsoft.com/office/drawing/2014/main" id="{4C9BA26F-4B98-6DDA-4965-A8BCB0A90C5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2218EC66-6293-FC0C-C8AC-A21153E5703B}"/>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B7316F68-F558-B048-EF20-3133405450BF}"/>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A535B119-5E07-6658-028F-A2E92F84E1E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15182166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1.11 Title slide with white ">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A9C292-FC1E-4CD0-D1C2-1C1BF0964A4B}"/>
              </a:ext>
            </a:extLst>
          </p:cNvPr>
          <p:cNvSpPr/>
          <p:nvPr userDrawn="1"/>
        </p:nvSpPr>
        <p:spPr>
          <a:xfrm flipH="1">
            <a:off x="-14515" y="0"/>
            <a:ext cx="5080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96000" rIns="96000" bIns="96000" numCol="1" spcCol="0" rtlCol="0" fromWordArt="0" anchor="t" anchorCtr="0" forceAA="0" compatLnSpc="1">
            <a:prstTxWarp prst="textNoShape">
              <a:avLst/>
            </a:prstTxWarp>
            <a:noAutofit/>
          </a:bodyPr>
          <a:lstStyle/>
          <a:p>
            <a:pPr algn="l">
              <a:spcAft>
                <a:spcPts val="400"/>
              </a:spcAft>
              <a:buSzPct val="100000"/>
            </a:pPr>
            <a:endParaRPr lang="en-US" sz="1600">
              <a:solidFill>
                <a:schemeClr val="tx2"/>
              </a:solidFill>
            </a:endParaRPr>
          </a:p>
        </p:txBody>
      </p:sp>
      <p:pic>
        <p:nvPicPr>
          <p:cNvPr id="6" name="Graphic 5">
            <a:extLst>
              <a:ext uri="{FF2B5EF4-FFF2-40B4-BE49-F238E27FC236}">
                <a16:creationId xmlns:a16="http://schemas.microsoft.com/office/drawing/2014/main" id="{9ADE2C08-8C2F-6DA1-140F-78B7C383967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3" name="Text Placeholder 42">
            <a:extLst>
              <a:ext uri="{FF2B5EF4-FFF2-40B4-BE49-F238E27FC236}">
                <a16:creationId xmlns:a16="http://schemas.microsoft.com/office/drawing/2014/main" id="{076F2482-56A5-DF69-EDAB-369E53244A98}"/>
              </a:ext>
            </a:extLst>
          </p:cNvPr>
          <p:cNvSpPr>
            <a:spLocks noGrp="1"/>
          </p:cNvSpPr>
          <p:nvPr>
            <p:ph type="body" sz="quarter" idx="12" hasCustomPrompt="1"/>
          </p:nvPr>
        </p:nvSpPr>
        <p:spPr>
          <a:xfrm>
            <a:off x="556801" y="527928"/>
            <a:ext cx="423872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14" name="Text Placeholder 42">
            <a:extLst>
              <a:ext uri="{FF2B5EF4-FFF2-40B4-BE49-F238E27FC236}">
                <a16:creationId xmlns:a16="http://schemas.microsoft.com/office/drawing/2014/main" id="{9EE67559-07A5-8DC0-5F9E-74889395C505}"/>
              </a:ext>
            </a:extLst>
          </p:cNvPr>
          <p:cNvSpPr>
            <a:spLocks noGrp="1"/>
          </p:cNvSpPr>
          <p:nvPr>
            <p:ph type="body" sz="quarter" idx="13" hasCustomPrompt="1"/>
          </p:nvPr>
        </p:nvSpPr>
        <p:spPr>
          <a:xfrm>
            <a:off x="556801" y="1019360"/>
            <a:ext cx="423872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5" name="TextBox 14">
            <a:extLst>
              <a:ext uri="{FF2B5EF4-FFF2-40B4-BE49-F238E27FC236}">
                <a16:creationId xmlns:a16="http://schemas.microsoft.com/office/drawing/2014/main" id="{888C92FD-B39B-95B0-724C-D1AA2268DE24}"/>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F172D6B9-A8FE-EBFF-D93D-5EB12C01965D}"/>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Footer Placeholder 2">
            <a:extLst>
              <a:ext uri="{FF2B5EF4-FFF2-40B4-BE49-F238E27FC236}">
                <a16:creationId xmlns:a16="http://schemas.microsoft.com/office/drawing/2014/main" id="{AF35F11C-FBF2-64A9-BC5E-546156F777F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
        <p:nvSpPr>
          <p:cNvPr id="19" name="Text Placeholder 12">
            <a:extLst>
              <a:ext uri="{FF2B5EF4-FFF2-40B4-BE49-F238E27FC236}">
                <a16:creationId xmlns:a16="http://schemas.microsoft.com/office/drawing/2014/main" id="{EFF7564F-7000-1BEA-AD06-C8104C4313E7}"/>
              </a:ext>
            </a:extLst>
          </p:cNvPr>
          <p:cNvSpPr>
            <a:spLocks noGrp="1"/>
          </p:cNvSpPr>
          <p:nvPr>
            <p:ph type="body" sz="quarter" idx="14"/>
          </p:nvPr>
        </p:nvSpPr>
        <p:spPr>
          <a:xfrm>
            <a:off x="556453" y="1680000"/>
            <a:ext cx="423906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856330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1.12 Title slide with media 2">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Box 4">
            <a:extLst>
              <a:ext uri="{FF2B5EF4-FFF2-40B4-BE49-F238E27FC236}">
                <a16:creationId xmlns:a16="http://schemas.microsoft.com/office/drawing/2014/main" id="{44F7A0E6-27FB-B6FF-2E31-5A6107DF4D1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F2544C4-9B73-80CB-B1AE-384180132B7C}"/>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612FBD75-FC64-31E3-3F75-9DAE4224DD4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ECE578A4-6CB9-C574-603A-6A6E64EB149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47242523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1.13 Title slide with media 3">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556801" y="527928"/>
            <a:ext cx="455402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556801" y="1019360"/>
            <a:ext cx="4554028"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556453" y="1680000"/>
            <a:ext cx="455402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E7BA896-DC3C-C861-6C89-0401950D7446}"/>
              </a:ext>
            </a:extLst>
          </p:cNvPr>
          <p:cNvSpPr>
            <a:spLocks noGrp="1"/>
          </p:cNvSpPr>
          <p:nvPr>
            <p:ph type="pic" sz="quarter" idx="15" hasCustomPrompt="1"/>
          </p:nvPr>
        </p:nvSpPr>
        <p:spPr>
          <a:xfrm>
            <a:off x="5486400" y="0"/>
            <a:ext cx="67056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4" name="TextBox 3">
            <a:extLst>
              <a:ext uri="{FF2B5EF4-FFF2-40B4-BE49-F238E27FC236}">
                <a16:creationId xmlns:a16="http://schemas.microsoft.com/office/drawing/2014/main" id="{DD05DD94-B1D7-AF62-87C9-7EF3B816BC50}"/>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4CA45A5E-8155-944F-17C0-E8C2DF0291BF}"/>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6660D9BC-D30D-1466-7616-8C7936E38CF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9FEC4AEB-8265-3816-B1A7-81B4297B51B5}"/>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7535039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1.14 Title slide with media 4">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556801" y="527928"/>
            <a:ext cx="329418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556801" y="1019360"/>
            <a:ext cx="3294188"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556453" y="1680000"/>
            <a:ext cx="329418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C663BDD0-396A-C130-FA04-231CB3C74388}"/>
              </a:ext>
            </a:extLst>
          </p:cNvPr>
          <p:cNvSpPr>
            <a:spLocks noGrp="1"/>
          </p:cNvSpPr>
          <p:nvPr>
            <p:ph type="pic" sz="quarter" idx="16" hasCustomPrompt="1"/>
          </p:nvPr>
        </p:nvSpPr>
        <p:spPr>
          <a:xfrm>
            <a:off x="4267200" y="0"/>
            <a:ext cx="79248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3" name="TextBox 2">
            <a:extLst>
              <a:ext uri="{FF2B5EF4-FFF2-40B4-BE49-F238E27FC236}">
                <a16:creationId xmlns:a16="http://schemas.microsoft.com/office/drawing/2014/main" id="{2069DAC9-98D0-DE29-0854-C322936DF8E9}"/>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E3B783F8-E852-2880-7AC7-93C221C8FF1B}"/>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C79725E7-2EC0-E3B5-3DB0-057A690FD95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5F00D657-7150-C4CD-A10F-64140FBB30BD}"/>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67812234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2.1 Blank dark">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4" name="TextBox 3">
            <a:extLst>
              <a:ext uri="{FF2B5EF4-FFF2-40B4-BE49-F238E27FC236}">
                <a16:creationId xmlns:a16="http://schemas.microsoft.com/office/drawing/2014/main" id="{BB2D48F3-5FAB-7137-F8DD-66420388FACA}"/>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8A0EFD0E-73A9-D773-3F8A-B9B78A9503C6}"/>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917EEC03-3391-E652-F649-78782CA24357}"/>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C021FBAF-6C06-6FF4-B424-967A0139D27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65186488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3_2.2 Title dark">
    <p:bg>
      <p:bgPr>
        <a:gradFill>
          <a:gsLst>
            <a:gs pos="53100">
              <a:schemeClr val="accent1">
                <a:lumMod val="59000"/>
              </a:schemeClr>
            </a:gs>
            <a:gs pos="0">
              <a:schemeClr val="tx1">
                <a:lumMod val="96000"/>
              </a:schemeClr>
            </a:gs>
            <a:gs pos="100000">
              <a:schemeClr val="accent1">
                <a:lumMod val="30000"/>
              </a:schemeClr>
            </a:gs>
          </a:gsLst>
          <a:lin ang="12000000" scaled="0"/>
        </a:gra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pic>
        <p:nvPicPr>
          <p:cNvPr id="3" name="Graphic 2">
            <a:extLst>
              <a:ext uri="{FF2B5EF4-FFF2-40B4-BE49-F238E27FC236}">
                <a16:creationId xmlns:a16="http://schemas.microsoft.com/office/drawing/2014/main" id="{BB937390-63D5-3E5C-5017-6C0EFAC8BC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86357" y="6330072"/>
            <a:ext cx="1296000" cy="292019"/>
          </a:xfrm>
          <a:prstGeom prst="rect">
            <a:avLst/>
          </a:prstGeom>
        </p:spPr>
      </p:pic>
      <p:pic>
        <p:nvPicPr>
          <p:cNvPr id="2" name="Picture 2">
            <a:extLst>
              <a:ext uri="{FF2B5EF4-FFF2-40B4-BE49-F238E27FC236}">
                <a16:creationId xmlns:a16="http://schemas.microsoft.com/office/drawing/2014/main" id="{54766257-3EDE-0532-1C29-76FEF5AEC310}"/>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610340" y="6330072"/>
            <a:ext cx="2444097" cy="290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006949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2_2.2 Title dark">
    <p:bg>
      <p:bgPr>
        <a:gradFill>
          <a:gsLst>
            <a:gs pos="53100">
              <a:schemeClr val="accent1">
                <a:lumMod val="59000"/>
              </a:schemeClr>
            </a:gs>
            <a:gs pos="0">
              <a:schemeClr val="tx1">
                <a:lumMod val="96000"/>
              </a:schemeClr>
            </a:gs>
            <a:gs pos="100000">
              <a:schemeClr val="accent1">
                <a:lumMod val="30000"/>
              </a:schemeClr>
            </a:gs>
          </a:gsLst>
          <a:lin ang="12000000" scaled="0"/>
        </a:gra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pic>
        <p:nvPicPr>
          <p:cNvPr id="3" name="Graphic 2">
            <a:extLst>
              <a:ext uri="{FF2B5EF4-FFF2-40B4-BE49-F238E27FC236}">
                <a16:creationId xmlns:a16="http://schemas.microsoft.com/office/drawing/2014/main" id="{BB937390-63D5-3E5C-5017-6C0EFAC8BC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86357" y="6330072"/>
            <a:ext cx="1296000" cy="292019"/>
          </a:xfrm>
          <a:prstGeom prst="rect">
            <a:avLst/>
          </a:prstGeom>
        </p:spPr>
      </p:pic>
      <p:pic>
        <p:nvPicPr>
          <p:cNvPr id="2" name="Picture 2">
            <a:extLst>
              <a:ext uri="{FF2B5EF4-FFF2-40B4-BE49-F238E27FC236}">
                <a16:creationId xmlns:a16="http://schemas.microsoft.com/office/drawing/2014/main" id="{54766257-3EDE-0532-1C29-76FEF5AEC310}"/>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610340" y="6330072"/>
            <a:ext cx="2444097" cy="290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280656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1.2.1 - Bullet 1/2 imag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05186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051868" cy="454205"/>
          </a:xfrm>
          <a:prstGeom prst="rect">
            <a:avLst/>
          </a:prstGeom>
        </p:spPr>
        <p:txBody>
          <a:bodyPr lIns="0" tIns="0" rIns="0" bIns="0"/>
          <a:lstStyle>
            <a:lvl1pPr marL="0" indent="0">
              <a:lnSpc>
                <a:spcPct val="100000"/>
              </a:lnSpc>
              <a:spcBef>
                <a:spcPts val="0"/>
              </a:spcBef>
              <a:buNone/>
              <a:defRPr sz="2400" baseline="0">
                <a:solidFill>
                  <a:schemeClr val="tx2"/>
                </a:solidFill>
                <a:latin typeface="Nokia Pure Headline Light" panose="020B0304020202020204" pitchFamily="34" charset="0"/>
              </a:defRPr>
            </a:lvl1pPr>
          </a:lstStyle>
          <a:p>
            <a:pPr lvl="0"/>
            <a:r>
              <a:rPr lang="en-US" noProof="0"/>
              <a:t>Click to edit headline</a:t>
            </a:r>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096004" y="0"/>
            <a:ext cx="6096001"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051868" cy="4389120"/>
          </a:xfrm>
          <a:prstGeom prst="rect">
            <a:avLst/>
          </a:prstGeom>
        </p:spPr>
        <p:txBody>
          <a:bodyPr lIns="0" tIns="0" rIns="0" bIns="0"/>
          <a:lstStyle>
            <a:lvl1pPr marL="239983" indent="-239983">
              <a:lnSpc>
                <a:spcPct val="100000"/>
              </a:lnSpc>
              <a:spcBef>
                <a:spcPts val="0"/>
              </a:spcBef>
              <a:spcAft>
                <a:spcPts val="800"/>
              </a:spcAft>
              <a:buSzPct val="70000"/>
              <a:defRPr sz="1600">
                <a:solidFill>
                  <a:schemeClr val="tx2"/>
                </a:solidFill>
              </a:defRPr>
            </a:lvl1pPr>
            <a:lvl2pPr marL="479964" indent="-239983">
              <a:lnSpc>
                <a:spcPct val="100000"/>
              </a:lnSpc>
              <a:spcBef>
                <a:spcPts val="0"/>
              </a:spcBef>
              <a:spcAft>
                <a:spcPts val="800"/>
              </a:spcAft>
              <a:buSzPct val="70000"/>
              <a:defRPr sz="1600">
                <a:solidFill>
                  <a:schemeClr val="tx2"/>
                </a:solidFill>
              </a:defRPr>
            </a:lvl2pPr>
            <a:lvl3pPr marL="719947" indent="-239983">
              <a:lnSpc>
                <a:spcPct val="100000"/>
              </a:lnSpc>
              <a:spcBef>
                <a:spcPts val="0"/>
              </a:spcBef>
              <a:spcAft>
                <a:spcPts val="800"/>
              </a:spcAft>
              <a:buSzPct val="70000"/>
              <a:defRPr sz="1600">
                <a:solidFill>
                  <a:schemeClr val="tx2"/>
                </a:solidFill>
              </a:defRPr>
            </a:lvl3pPr>
            <a:lvl4pPr marL="959928" indent="-239983">
              <a:lnSpc>
                <a:spcPct val="100000"/>
              </a:lnSpc>
              <a:spcBef>
                <a:spcPts val="0"/>
              </a:spcBef>
              <a:spcAft>
                <a:spcPts val="800"/>
              </a:spcAft>
              <a:buSzPct val="70000"/>
              <a:defRPr sz="1600">
                <a:solidFill>
                  <a:schemeClr val="tx2"/>
                </a:solidFill>
              </a:defRPr>
            </a:lvl4pPr>
            <a:lvl5pPr marL="1199911" indent="-239983">
              <a:lnSpc>
                <a:spcPct val="100000"/>
              </a:lnSpc>
              <a:spcBef>
                <a:spcPts val="0"/>
              </a:spcBef>
              <a:spcAft>
                <a:spcPts val="800"/>
              </a:spcAft>
              <a:buSzPct val="70000"/>
              <a:defRPr sz="16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0" name="TextBox 19">
            <a:extLst>
              <a:ext uri="{FF2B5EF4-FFF2-40B4-BE49-F238E27FC236}">
                <a16:creationId xmlns:a16="http://schemas.microsoft.com/office/drawing/2014/main" id="{972230E8-8C3E-FACC-BB83-0BEB16548E55}"/>
              </a:ext>
            </a:extLst>
          </p:cNvPr>
          <p:cNvSpPr txBox="1"/>
          <p:nvPr userDrawn="1"/>
        </p:nvSpPr>
        <p:spPr>
          <a:xfrm>
            <a:off x="906707" y="6478075"/>
            <a:ext cx="842111" cy="164148"/>
          </a:xfrm>
          <a:prstGeom prst="rect">
            <a:avLst/>
          </a:prstGeom>
          <a:noFill/>
        </p:spPr>
        <p:txBody>
          <a:bodyPr wrap="none" lIns="0" tIns="0" rIns="0" bIns="0" anchor="b" anchorCtr="0">
            <a:noAutofit/>
          </a:bodyPr>
          <a:lstStyle/>
          <a:p>
            <a:r>
              <a:rPr lang="en-US" sz="1067"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FFD06BD2-8C82-3A42-EA94-1DAD5F04366A}"/>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3451481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1.2.1 - Bullet 1/2 imag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05186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051868" cy="454205"/>
          </a:xfrm>
          <a:prstGeom prst="rect">
            <a:avLst/>
          </a:prstGeom>
        </p:spPr>
        <p:txBody>
          <a:bodyPr lIns="0" tIns="0" rIns="0" bIns="0"/>
          <a:lstStyle>
            <a:lvl1pPr marL="0" indent="0">
              <a:lnSpc>
                <a:spcPct val="100000"/>
              </a:lnSpc>
              <a:spcBef>
                <a:spcPts val="0"/>
              </a:spcBef>
              <a:buNone/>
              <a:defRPr sz="2400" baseline="0">
                <a:solidFill>
                  <a:schemeClr val="tx2"/>
                </a:solidFill>
                <a:latin typeface="Nokia Pure Headline Light" panose="020B0304020202020204" pitchFamily="34" charset="0"/>
              </a:defRPr>
            </a:lvl1pPr>
          </a:lstStyle>
          <a:p>
            <a:pPr lvl="0"/>
            <a:r>
              <a:rPr lang="en-US" noProof="0"/>
              <a:t>Click to edit headline</a:t>
            </a:r>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096002" y="0"/>
            <a:ext cx="6096001"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05186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2"/>
                </a:solidFill>
              </a:defRPr>
            </a:lvl1pPr>
            <a:lvl2pPr marL="479976" indent="-239989">
              <a:lnSpc>
                <a:spcPct val="100000"/>
              </a:lnSpc>
              <a:spcBef>
                <a:spcPts val="0"/>
              </a:spcBef>
              <a:spcAft>
                <a:spcPts val="800"/>
              </a:spcAft>
              <a:buSzPct val="70000"/>
              <a:defRPr sz="1600">
                <a:solidFill>
                  <a:schemeClr val="tx2"/>
                </a:solidFill>
              </a:defRPr>
            </a:lvl2pPr>
            <a:lvl3pPr marL="719965" indent="-239989">
              <a:lnSpc>
                <a:spcPct val="100000"/>
              </a:lnSpc>
              <a:spcBef>
                <a:spcPts val="0"/>
              </a:spcBef>
              <a:spcAft>
                <a:spcPts val="800"/>
              </a:spcAft>
              <a:buSzPct val="70000"/>
              <a:defRPr sz="1600">
                <a:solidFill>
                  <a:schemeClr val="tx2"/>
                </a:solidFill>
              </a:defRPr>
            </a:lvl3pPr>
            <a:lvl4pPr marL="959952" indent="-239989">
              <a:lnSpc>
                <a:spcPct val="100000"/>
              </a:lnSpc>
              <a:spcBef>
                <a:spcPts val="0"/>
              </a:spcBef>
              <a:spcAft>
                <a:spcPts val="800"/>
              </a:spcAft>
              <a:buSzPct val="70000"/>
              <a:defRPr sz="1600">
                <a:solidFill>
                  <a:schemeClr val="tx2"/>
                </a:solidFill>
              </a:defRPr>
            </a:lvl4pPr>
            <a:lvl5pPr marL="1199941" indent="-239989">
              <a:lnSpc>
                <a:spcPct val="100000"/>
              </a:lnSpc>
              <a:spcBef>
                <a:spcPts val="0"/>
              </a:spcBef>
              <a:spcAft>
                <a:spcPts val="800"/>
              </a:spcAft>
              <a:buSzPct val="70000"/>
              <a:defRPr sz="16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0" name="TextBox 19">
            <a:extLst>
              <a:ext uri="{FF2B5EF4-FFF2-40B4-BE49-F238E27FC236}">
                <a16:creationId xmlns:a16="http://schemas.microsoft.com/office/drawing/2014/main" id="{972230E8-8C3E-FACC-BB83-0BEB16548E5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FFD06BD2-8C82-3A42-EA94-1DAD5F04366A}"/>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0525243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8 Numbered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556800" y="1680000"/>
            <a:ext cx="11078400" cy="4158640"/>
          </a:xfrm>
          <a:prstGeom prst="rect">
            <a:avLst/>
          </a:prstGeom>
        </p:spPr>
        <p:txBody>
          <a:bodyPr lIns="0" tIns="0" rIns="0" bIns="0"/>
          <a:lstStyle>
            <a:lvl1pPr marL="304792" indent="-304792">
              <a:lnSpc>
                <a:spcPct val="100000"/>
              </a:lnSpc>
              <a:spcBef>
                <a:spcPts val="0"/>
              </a:spcBef>
              <a:spcAft>
                <a:spcPts val="800"/>
              </a:spcAft>
              <a:buFont typeface="+mj-lt"/>
              <a:buAutoNum type="arabicPeriod"/>
              <a:defRPr sz="1600">
                <a:solidFill>
                  <a:schemeClr val="tx1"/>
                </a:solidFill>
              </a:defRPr>
            </a:lvl1pPr>
            <a:lvl2pPr marL="544786" indent="-304792">
              <a:lnSpc>
                <a:spcPct val="100000"/>
              </a:lnSpc>
              <a:spcBef>
                <a:spcPts val="0"/>
              </a:spcBef>
              <a:spcAft>
                <a:spcPts val="800"/>
              </a:spcAft>
              <a:buFont typeface="+mj-lt"/>
              <a:buAutoNum type="arabicPeriod" startAt="2"/>
              <a:defRPr sz="1600">
                <a:solidFill>
                  <a:schemeClr val="tx1"/>
                </a:solidFill>
              </a:defRPr>
            </a:lvl2pPr>
            <a:lvl3pPr marL="784780" indent="-304792">
              <a:lnSpc>
                <a:spcPct val="100000"/>
              </a:lnSpc>
              <a:spcBef>
                <a:spcPts val="0"/>
              </a:spcBef>
              <a:spcAft>
                <a:spcPts val="800"/>
              </a:spcAft>
              <a:buFont typeface="+mj-lt"/>
              <a:buAutoNum type="arabicPeriod" startAt="3"/>
              <a:defRPr sz="1600">
                <a:solidFill>
                  <a:schemeClr val="tx1"/>
                </a:solidFill>
              </a:defRPr>
            </a:lvl3pPr>
            <a:lvl4pPr marL="1024774" indent="-304792">
              <a:lnSpc>
                <a:spcPct val="100000"/>
              </a:lnSpc>
              <a:spcBef>
                <a:spcPts val="0"/>
              </a:spcBef>
              <a:spcAft>
                <a:spcPts val="800"/>
              </a:spcAft>
              <a:buFont typeface="+mj-lt"/>
              <a:buAutoNum type="arabicPeriod" startAt="4"/>
              <a:defRPr sz="1600">
                <a:solidFill>
                  <a:schemeClr val="tx1"/>
                </a:solidFill>
              </a:defRPr>
            </a:lvl4pPr>
            <a:lvl5pPr marL="1276168" indent="-304792">
              <a:lnSpc>
                <a:spcPct val="100000"/>
              </a:lnSpc>
              <a:spcBef>
                <a:spcPts val="0"/>
              </a:spcBef>
              <a:spcAft>
                <a:spcPts val="800"/>
              </a:spcAft>
              <a:buFont typeface="+mj-lt"/>
              <a:buAutoNum type="arabicPeriod" startAt="5"/>
              <a:defRPr sz="1600">
                <a:solidFill>
                  <a:schemeClr val="tx1"/>
                </a:solidFill>
              </a:defRPr>
            </a:lvl5pPr>
          </a:lstStyle>
          <a:p>
            <a:pPr lvl="0"/>
            <a:r>
              <a:rPr lang="en-US"/>
              <a:t>Text here</a:t>
            </a:r>
          </a:p>
          <a:p>
            <a:pPr lvl="1"/>
            <a:r>
              <a:rPr lang="en-US"/>
              <a:t>Text here</a:t>
            </a:r>
          </a:p>
          <a:p>
            <a:pPr lvl="2"/>
            <a:r>
              <a:rPr lang="en-US"/>
              <a:t>Text here</a:t>
            </a:r>
          </a:p>
          <a:p>
            <a:pPr lvl="3"/>
            <a:r>
              <a:rPr lang="en-US"/>
              <a:t>Text here</a:t>
            </a:r>
          </a:p>
          <a:p>
            <a:pPr marL="1276168" marR="0" lvl="4" indent="-304792" algn="l" defTabSz="914377" rtl="0" eaLnBrk="1" fontAlgn="auto" latinLnBrk="0" hangingPunct="1">
              <a:lnSpc>
                <a:spcPct val="100000"/>
              </a:lnSpc>
              <a:spcBef>
                <a:spcPts val="0"/>
              </a:spcBef>
              <a:spcAft>
                <a:spcPts val="400"/>
              </a:spcAft>
              <a:buClrTx/>
              <a:buSzTx/>
              <a:tabLst/>
              <a:defRPr/>
            </a:pPr>
            <a:r>
              <a:rPr lang="en-US"/>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BB696985-1EFA-02D0-106A-9F81CEBC3FA1}"/>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1AF7E5B4-21F0-0696-BF4F-8AFCA8103CD7}"/>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87755C10-FC21-4D9F-8DA4-A30B437ABD12}"/>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DDC4B182-BD0E-D0F1-793C-A6CE500EA3BD}"/>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92230282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1.1 Blank">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0FF79836-BBB3-F465-E1C5-425AB4A83E4B}"/>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D4E9A04A-3145-3809-19A7-33EF3021A9A7}"/>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E5C3DF80-A3E4-DDDB-D584-7BEE3A84C96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16E76675-E286-0D90-FB5C-6C963712349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53694707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1.3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0" indent="0">
              <a:lnSpc>
                <a:spcPct val="100000"/>
              </a:lnSpc>
              <a:spcBef>
                <a:spcPts val="0"/>
              </a:spcBef>
              <a:spcAft>
                <a:spcPts val="800"/>
              </a:spcAft>
              <a:buSzPct val="70000"/>
              <a:buNone/>
              <a:defRPr sz="1600">
                <a:solidFill>
                  <a:schemeClr val="tx1"/>
                </a:solidFill>
              </a:defRPr>
            </a:lvl1pPr>
            <a:lvl2pPr marL="239989" indent="0">
              <a:lnSpc>
                <a:spcPct val="100000"/>
              </a:lnSpc>
              <a:spcBef>
                <a:spcPts val="0"/>
              </a:spcBef>
              <a:spcAft>
                <a:spcPts val="800"/>
              </a:spcAft>
              <a:buSzPct val="70000"/>
              <a:buNone/>
              <a:defRPr sz="1600">
                <a:solidFill>
                  <a:schemeClr val="tx1"/>
                </a:solidFill>
              </a:defRPr>
            </a:lvl2pPr>
            <a:lvl3pPr marL="479976" indent="0">
              <a:lnSpc>
                <a:spcPct val="100000"/>
              </a:lnSpc>
              <a:spcBef>
                <a:spcPts val="0"/>
              </a:spcBef>
              <a:spcAft>
                <a:spcPts val="800"/>
              </a:spcAft>
              <a:buSzPct val="70000"/>
              <a:buNone/>
              <a:defRPr sz="1600">
                <a:solidFill>
                  <a:schemeClr val="tx1"/>
                </a:solidFill>
              </a:defRPr>
            </a:lvl3pPr>
            <a:lvl4pPr marL="719965" indent="0">
              <a:lnSpc>
                <a:spcPct val="100000"/>
              </a:lnSpc>
              <a:spcBef>
                <a:spcPts val="0"/>
              </a:spcBef>
              <a:spcAft>
                <a:spcPts val="800"/>
              </a:spcAft>
              <a:buSzPct val="70000"/>
              <a:buNone/>
              <a:defRPr sz="1600">
                <a:solidFill>
                  <a:schemeClr val="tx1"/>
                </a:solidFill>
              </a:defRPr>
            </a:lvl4pPr>
            <a:lvl5pPr marL="959952" indent="0">
              <a:lnSpc>
                <a:spcPct val="100000"/>
              </a:lnSpc>
              <a:spcBef>
                <a:spcPts val="0"/>
              </a:spcBef>
              <a:spcAft>
                <a:spcPts val="800"/>
              </a:spcAft>
              <a:buSzPct val="70000"/>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0" name="TextBox 9">
            <a:extLst>
              <a:ext uri="{FF2B5EF4-FFF2-40B4-BE49-F238E27FC236}">
                <a16:creationId xmlns:a16="http://schemas.microsoft.com/office/drawing/2014/main" id="{D706B219-6557-5951-F467-43B768A9C96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4FF66938-CF4B-D097-1BC6-18EB230030F4}"/>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CB929F03-682A-4566-CF9F-D3B71DB4575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E177B5-71D7-398C-03E7-932A701525D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35190784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1.4 Bulletpoint text 1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Box 1">
            <a:extLst>
              <a:ext uri="{FF2B5EF4-FFF2-40B4-BE49-F238E27FC236}">
                <a16:creationId xmlns:a16="http://schemas.microsoft.com/office/drawing/2014/main" id="{FD95910B-6C91-D297-584C-3D1533AECBE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C76EFBCA-F2A9-DB62-4D3E-60E897B89B56}"/>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5E7D3F5-04E5-7DAF-AB76-2DAC95AB476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7D61FF18-0BA2-46E4-85DF-332117D1237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78394093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1.5 Bulletpoint text 2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5424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6211552" y="1680000"/>
            <a:ext cx="5424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Box 1">
            <a:extLst>
              <a:ext uri="{FF2B5EF4-FFF2-40B4-BE49-F238E27FC236}">
                <a16:creationId xmlns:a16="http://schemas.microsoft.com/office/drawing/2014/main" id="{E3A67328-00EF-5713-CA06-6BF95B775913}"/>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CED75580-5FAF-E6C5-DFED-1F462D82E3A6}"/>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1E21FDDB-B801-EAA3-9D13-40103E7AC2C1}"/>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65EB5894-B0A6-D8F1-AD97-D6E4D056DDA6}"/>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85461533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1.6 Bulletpoint text 3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360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4296000" y="1680000"/>
            <a:ext cx="360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8035551" y="1680000"/>
            <a:ext cx="3596877"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BF8E66B8-C798-B992-2C68-B85351E1170D}"/>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6CA67C43-66D6-847E-98DC-61F9029ECC0B}"/>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323A8A5F-292F-2AC1-C1B0-A59D33F93A2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A1277FE0-ECBC-0B62-6936-4A9C8E1CE894}"/>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58983818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1.7 Bulletpoint text 4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368443"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180435"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8992427"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93DA646D-5F97-9D8A-4598-A0C98D4634E0}"/>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9115B87B-934C-0F92-5F93-D343BD44B66C}"/>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7428D676-DD53-1C54-82A5-88434E06B3E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45A16F44-B403-571B-AD0A-B6A86614B77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76783137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_1.8 Numbered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556800" y="1680000"/>
            <a:ext cx="11078400" cy="4158640"/>
          </a:xfrm>
          <a:prstGeom prst="rect">
            <a:avLst/>
          </a:prstGeom>
        </p:spPr>
        <p:txBody>
          <a:bodyPr lIns="0" tIns="0" rIns="0" bIns="0"/>
          <a:lstStyle>
            <a:lvl1pPr marL="304784" indent="-304784">
              <a:lnSpc>
                <a:spcPct val="100000"/>
              </a:lnSpc>
              <a:spcBef>
                <a:spcPts val="0"/>
              </a:spcBef>
              <a:spcAft>
                <a:spcPts val="800"/>
              </a:spcAft>
              <a:buFont typeface="+mj-lt"/>
              <a:buAutoNum type="arabicPeriod"/>
              <a:defRPr sz="1600">
                <a:solidFill>
                  <a:schemeClr val="tx1"/>
                </a:solidFill>
              </a:defRPr>
            </a:lvl1pPr>
            <a:lvl2pPr marL="544773" indent="-304784">
              <a:lnSpc>
                <a:spcPct val="100000"/>
              </a:lnSpc>
              <a:spcBef>
                <a:spcPts val="0"/>
              </a:spcBef>
              <a:spcAft>
                <a:spcPts val="800"/>
              </a:spcAft>
              <a:buFont typeface="+mj-lt"/>
              <a:buAutoNum type="arabicPeriod" startAt="2"/>
              <a:defRPr sz="1600">
                <a:solidFill>
                  <a:schemeClr val="tx1"/>
                </a:solidFill>
              </a:defRPr>
            </a:lvl2pPr>
            <a:lvl3pPr marL="784760" indent="-304784">
              <a:lnSpc>
                <a:spcPct val="100000"/>
              </a:lnSpc>
              <a:spcBef>
                <a:spcPts val="0"/>
              </a:spcBef>
              <a:spcAft>
                <a:spcPts val="800"/>
              </a:spcAft>
              <a:buFont typeface="+mj-lt"/>
              <a:buAutoNum type="arabicPeriod" startAt="3"/>
              <a:defRPr sz="1600">
                <a:solidFill>
                  <a:schemeClr val="tx1"/>
                </a:solidFill>
              </a:defRPr>
            </a:lvl3pPr>
            <a:lvl4pPr marL="1024749" indent="-304784">
              <a:lnSpc>
                <a:spcPct val="100000"/>
              </a:lnSpc>
              <a:spcBef>
                <a:spcPts val="0"/>
              </a:spcBef>
              <a:spcAft>
                <a:spcPts val="800"/>
              </a:spcAft>
              <a:buFont typeface="+mj-lt"/>
              <a:buAutoNum type="arabicPeriod" startAt="4"/>
              <a:defRPr sz="1600">
                <a:solidFill>
                  <a:schemeClr val="tx1"/>
                </a:solidFill>
              </a:defRPr>
            </a:lvl4pPr>
            <a:lvl5pPr marL="1276136" indent="-304784">
              <a:lnSpc>
                <a:spcPct val="100000"/>
              </a:lnSpc>
              <a:spcBef>
                <a:spcPts val="0"/>
              </a:spcBef>
              <a:spcAft>
                <a:spcPts val="800"/>
              </a:spcAft>
              <a:buFont typeface="+mj-lt"/>
              <a:buAutoNum type="arabicPeriod" startAt="5"/>
              <a:defRPr sz="1600">
                <a:solidFill>
                  <a:schemeClr val="tx1"/>
                </a:solidFill>
              </a:defRPr>
            </a:lvl5pPr>
          </a:lstStyle>
          <a:p>
            <a:pPr lvl="0"/>
            <a:r>
              <a:rPr lang="en-US"/>
              <a:t>Text here</a:t>
            </a:r>
          </a:p>
          <a:p>
            <a:pPr lvl="1"/>
            <a:r>
              <a:rPr lang="en-US"/>
              <a:t>Text here</a:t>
            </a:r>
          </a:p>
          <a:p>
            <a:pPr lvl="2"/>
            <a:r>
              <a:rPr lang="en-US"/>
              <a:t>Text here</a:t>
            </a:r>
          </a:p>
          <a:p>
            <a:pPr lvl="3"/>
            <a:r>
              <a:rPr lang="en-US"/>
              <a:t>Text here</a:t>
            </a:r>
          </a:p>
          <a:p>
            <a:pPr marL="1276136" marR="0" lvl="4" indent="-304784" algn="l" defTabSz="914354" rtl="0" eaLnBrk="1" fontAlgn="auto" latinLnBrk="0" hangingPunct="1">
              <a:lnSpc>
                <a:spcPct val="100000"/>
              </a:lnSpc>
              <a:spcBef>
                <a:spcPts val="0"/>
              </a:spcBef>
              <a:spcAft>
                <a:spcPts val="400"/>
              </a:spcAft>
              <a:buClrTx/>
              <a:buSzTx/>
              <a:tabLst/>
              <a:defRPr/>
            </a:pPr>
            <a:r>
              <a:rPr lang="en-US"/>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Box 1">
            <a:extLst>
              <a:ext uri="{FF2B5EF4-FFF2-40B4-BE49-F238E27FC236}">
                <a16:creationId xmlns:a16="http://schemas.microsoft.com/office/drawing/2014/main" id="{BB696985-1EFA-02D0-106A-9F81CEBC3FA1}"/>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1AF7E5B4-21F0-0696-BF4F-8AFCA8103CD7}"/>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87755C10-FC21-4D9F-8DA4-A30B437ABD12}"/>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DDC4B182-BD0E-D0F1-793C-A6CE500EA3BD}"/>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7052640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1.1 Blank">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Box 1">
            <a:extLst>
              <a:ext uri="{FF2B5EF4-FFF2-40B4-BE49-F238E27FC236}">
                <a16:creationId xmlns:a16="http://schemas.microsoft.com/office/drawing/2014/main" id="{0FF79836-BBB3-F465-E1C5-425AB4A83E4B}"/>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D4E9A04A-3145-3809-19A7-33EF3021A9A7}"/>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E5C3DF80-A3E4-DDDB-D584-7BEE3A84C96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16E76675-E286-0D90-FB5C-6C963712349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422145667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1.2.1 - Bullet 1/2 imag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05186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051868" cy="454205"/>
          </a:xfrm>
          <a:prstGeom prst="rect">
            <a:avLst/>
          </a:prstGeom>
        </p:spPr>
        <p:txBody>
          <a:bodyPr lIns="0" tIns="0" rIns="0" bIns="0"/>
          <a:lstStyle>
            <a:lvl1pPr marL="0" indent="0">
              <a:lnSpc>
                <a:spcPct val="100000"/>
              </a:lnSpc>
              <a:spcBef>
                <a:spcPts val="0"/>
              </a:spcBef>
              <a:buNone/>
              <a:defRPr sz="2400" baseline="0">
                <a:solidFill>
                  <a:schemeClr val="tx2"/>
                </a:solidFill>
                <a:latin typeface="Nokia Pure Headline Light" panose="020B0304020202020204" pitchFamily="34" charset="0"/>
              </a:defRPr>
            </a:lvl1pPr>
          </a:lstStyle>
          <a:p>
            <a:pPr lvl="0"/>
            <a:r>
              <a:rPr lang="en-US" noProof="0"/>
              <a:t>Click to edit headline</a:t>
            </a:r>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096004" y="0"/>
            <a:ext cx="6096001"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051868" cy="4389120"/>
          </a:xfrm>
          <a:prstGeom prst="rect">
            <a:avLst/>
          </a:prstGeom>
        </p:spPr>
        <p:txBody>
          <a:bodyPr lIns="0" tIns="0" rIns="0" bIns="0"/>
          <a:lstStyle>
            <a:lvl1pPr marL="239983" indent="-239983">
              <a:lnSpc>
                <a:spcPct val="100000"/>
              </a:lnSpc>
              <a:spcBef>
                <a:spcPts val="0"/>
              </a:spcBef>
              <a:spcAft>
                <a:spcPts val="800"/>
              </a:spcAft>
              <a:buSzPct val="70000"/>
              <a:defRPr sz="1600">
                <a:solidFill>
                  <a:schemeClr val="tx2"/>
                </a:solidFill>
              </a:defRPr>
            </a:lvl1pPr>
            <a:lvl2pPr marL="479964" indent="-239983">
              <a:lnSpc>
                <a:spcPct val="100000"/>
              </a:lnSpc>
              <a:spcBef>
                <a:spcPts val="0"/>
              </a:spcBef>
              <a:spcAft>
                <a:spcPts val="800"/>
              </a:spcAft>
              <a:buSzPct val="70000"/>
              <a:defRPr sz="1600">
                <a:solidFill>
                  <a:schemeClr val="tx2"/>
                </a:solidFill>
              </a:defRPr>
            </a:lvl2pPr>
            <a:lvl3pPr marL="719947" indent="-239983">
              <a:lnSpc>
                <a:spcPct val="100000"/>
              </a:lnSpc>
              <a:spcBef>
                <a:spcPts val="0"/>
              </a:spcBef>
              <a:spcAft>
                <a:spcPts val="800"/>
              </a:spcAft>
              <a:buSzPct val="70000"/>
              <a:defRPr sz="1600">
                <a:solidFill>
                  <a:schemeClr val="tx2"/>
                </a:solidFill>
              </a:defRPr>
            </a:lvl3pPr>
            <a:lvl4pPr marL="959928" indent="-239983">
              <a:lnSpc>
                <a:spcPct val="100000"/>
              </a:lnSpc>
              <a:spcBef>
                <a:spcPts val="0"/>
              </a:spcBef>
              <a:spcAft>
                <a:spcPts val="800"/>
              </a:spcAft>
              <a:buSzPct val="70000"/>
              <a:defRPr sz="1600">
                <a:solidFill>
                  <a:schemeClr val="tx2"/>
                </a:solidFill>
              </a:defRPr>
            </a:lvl4pPr>
            <a:lvl5pPr marL="1199911" indent="-239983">
              <a:lnSpc>
                <a:spcPct val="100000"/>
              </a:lnSpc>
              <a:spcBef>
                <a:spcPts val="0"/>
              </a:spcBef>
              <a:spcAft>
                <a:spcPts val="800"/>
              </a:spcAft>
              <a:buSzPct val="70000"/>
              <a:defRPr sz="16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0" name="TextBox 19">
            <a:extLst>
              <a:ext uri="{FF2B5EF4-FFF2-40B4-BE49-F238E27FC236}">
                <a16:creationId xmlns:a16="http://schemas.microsoft.com/office/drawing/2014/main" id="{972230E8-8C3E-FACC-BB83-0BEB16548E55}"/>
              </a:ext>
            </a:extLst>
          </p:cNvPr>
          <p:cNvSpPr txBox="1"/>
          <p:nvPr userDrawn="1"/>
        </p:nvSpPr>
        <p:spPr>
          <a:xfrm>
            <a:off x="906707" y="6478075"/>
            <a:ext cx="842111" cy="164148"/>
          </a:xfrm>
          <a:prstGeom prst="rect">
            <a:avLst/>
          </a:prstGeom>
          <a:noFill/>
        </p:spPr>
        <p:txBody>
          <a:bodyPr wrap="none" lIns="0" tIns="0" rIns="0" bIns="0" anchor="b" anchorCtr="0">
            <a:noAutofit/>
          </a:bodyPr>
          <a:lstStyle/>
          <a:p>
            <a:r>
              <a:rPr lang="en-US" sz="1067"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FFD06BD2-8C82-3A42-EA94-1DAD5F04366A}"/>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356428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_1.3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0" indent="0">
              <a:lnSpc>
                <a:spcPct val="100000"/>
              </a:lnSpc>
              <a:spcBef>
                <a:spcPts val="0"/>
              </a:spcBef>
              <a:spcAft>
                <a:spcPts val="800"/>
              </a:spcAft>
              <a:buSzPct val="70000"/>
              <a:buNone/>
              <a:defRPr sz="1600">
                <a:solidFill>
                  <a:schemeClr val="tx1"/>
                </a:solidFill>
              </a:defRPr>
            </a:lvl1pPr>
            <a:lvl2pPr marL="239989" indent="0">
              <a:lnSpc>
                <a:spcPct val="100000"/>
              </a:lnSpc>
              <a:spcBef>
                <a:spcPts val="0"/>
              </a:spcBef>
              <a:spcAft>
                <a:spcPts val="800"/>
              </a:spcAft>
              <a:buSzPct val="70000"/>
              <a:buNone/>
              <a:defRPr sz="1600">
                <a:solidFill>
                  <a:schemeClr val="tx1"/>
                </a:solidFill>
              </a:defRPr>
            </a:lvl2pPr>
            <a:lvl3pPr marL="479976" indent="0">
              <a:lnSpc>
                <a:spcPct val="100000"/>
              </a:lnSpc>
              <a:spcBef>
                <a:spcPts val="0"/>
              </a:spcBef>
              <a:spcAft>
                <a:spcPts val="800"/>
              </a:spcAft>
              <a:buSzPct val="70000"/>
              <a:buNone/>
              <a:defRPr sz="1600">
                <a:solidFill>
                  <a:schemeClr val="tx1"/>
                </a:solidFill>
              </a:defRPr>
            </a:lvl3pPr>
            <a:lvl4pPr marL="719965" indent="0">
              <a:lnSpc>
                <a:spcPct val="100000"/>
              </a:lnSpc>
              <a:spcBef>
                <a:spcPts val="0"/>
              </a:spcBef>
              <a:spcAft>
                <a:spcPts val="800"/>
              </a:spcAft>
              <a:buSzPct val="70000"/>
              <a:buNone/>
              <a:defRPr sz="1600">
                <a:solidFill>
                  <a:schemeClr val="tx1"/>
                </a:solidFill>
              </a:defRPr>
            </a:lvl4pPr>
            <a:lvl5pPr marL="959952" indent="0">
              <a:lnSpc>
                <a:spcPct val="100000"/>
              </a:lnSpc>
              <a:spcBef>
                <a:spcPts val="0"/>
              </a:spcBef>
              <a:spcAft>
                <a:spcPts val="800"/>
              </a:spcAft>
              <a:buSzPct val="70000"/>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0" name="TextBox 9">
            <a:extLst>
              <a:ext uri="{FF2B5EF4-FFF2-40B4-BE49-F238E27FC236}">
                <a16:creationId xmlns:a16="http://schemas.microsoft.com/office/drawing/2014/main" id="{D706B219-6557-5951-F467-43B768A9C96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4FF66938-CF4B-D097-1BC6-18EB230030F4}"/>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CB929F03-682A-4566-CF9F-D3B71DB4575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E177B5-71D7-398C-03E7-932A701525D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5913825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9 Title slid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accent1"/>
                </a:solidFill>
                <a:latin typeface="Nokia Pure Headline Light" panose="020B0304020202020204" pitchFamily="34" charset="0"/>
              </a:defRPr>
            </a:lvl1pPr>
          </a:lstStyle>
          <a:p>
            <a:pPr lvl="0"/>
            <a:r>
              <a:rPr lang="en-US"/>
              <a:t>Click to edit headline</a:t>
            </a:r>
          </a:p>
        </p:txBody>
      </p:sp>
      <p:sp>
        <p:nvSpPr>
          <p:cNvPr id="3" name="TextBox 2">
            <a:extLst>
              <a:ext uri="{FF2B5EF4-FFF2-40B4-BE49-F238E27FC236}">
                <a16:creationId xmlns:a16="http://schemas.microsoft.com/office/drawing/2014/main" id="{3306DFA0-C2BA-C581-C314-740F6D8A7079}"/>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AB1F327B-603C-86B8-9F24-AB86561B3C0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FB24B9E5-9DF5-72DD-49F0-33455A6A12D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5D779461-EFB5-C35B-DE08-509687C8261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24288570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1.4 Bulletpoint text 1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Box 1">
            <a:extLst>
              <a:ext uri="{FF2B5EF4-FFF2-40B4-BE49-F238E27FC236}">
                <a16:creationId xmlns:a16="http://schemas.microsoft.com/office/drawing/2014/main" id="{FD95910B-6C91-D297-584C-3D1533AECBE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C76EFBCA-F2A9-DB62-4D3E-60E897B89B56}"/>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5E7D3F5-04E5-7DAF-AB76-2DAC95AB476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7D61FF18-0BA2-46E4-85DF-332117D1237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3800816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_1.5 Bulletpoint text 2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5424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6211552" y="1680000"/>
            <a:ext cx="5424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Box 1">
            <a:extLst>
              <a:ext uri="{FF2B5EF4-FFF2-40B4-BE49-F238E27FC236}">
                <a16:creationId xmlns:a16="http://schemas.microsoft.com/office/drawing/2014/main" id="{E3A67328-00EF-5713-CA06-6BF95B775913}"/>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CED75580-5FAF-E6C5-DFED-1F462D82E3A6}"/>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1E21FDDB-B801-EAA3-9D13-40103E7AC2C1}"/>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65EB5894-B0A6-D8F1-AD97-D6E4D056DDA6}"/>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79185728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1.6 Bulletpoint text 3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360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4296000" y="1680000"/>
            <a:ext cx="360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8035551" y="1680000"/>
            <a:ext cx="3596877"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BF8E66B8-C798-B992-2C68-B85351E1170D}"/>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6CA67C43-66D6-847E-98DC-61F9029ECC0B}"/>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323A8A5F-292F-2AC1-C1B0-A59D33F93A2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A1277FE0-ECBC-0B62-6936-4A9C8E1CE894}"/>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07869207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1.7 Bulletpoint text 4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368443"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180435"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8992427"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93DA646D-5F97-9D8A-4598-A0C98D4634E0}"/>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9115B87B-934C-0F92-5F93-D343BD44B66C}"/>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7428D676-DD53-1C54-82A5-88434E06B3E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45A16F44-B403-571B-AD0A-B6A86614B77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96442115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1.8 Numbered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556800" y="1680000"/>
            <a:ext cx="11078400" cy="4158640"/>
          </a:xfrm>
          <a:prstGeom prst="rect">
            <a:avLst/>
          </a:prstGeom>
        </p:spPr>
        <p:txBody>
          <a:bodyPr lIns="0" tIns="0" rIns="0" bIns="0"/>
          <a:lstStyle>
            <a:lvl1pPr marL="304784" indent="-304784">
              <a:lnSpc>
                <a:spcPct val="100000"/>
              </a:lnSpc>
              <a:spcBef>
                <a:spcPts val="0"/>
              </a:spcBef>
              <a:spcAft>
                <a:spcPts val="800"/>
              </a:spcAft>
              <a:buFont typeface="+mj-lt"/>
              <a:buAutoNum type="arabicPeriod"/>
              <a:defRPr sz="1600">
                <a:solidFill>
                  <a:schemeClr val="tx1"/>
                </a:solidFill>
              </a:defRPr>
            </a:lvl1pPr>
            <a:lvl2pPr marL="544773" indent="-304784">
              <a:lnSpc>
                <a:spcPct val="100000"/>
              </a:lnSpc>
              <a:spcBef>
                <a:spcPts val="0"/>
              </a:spcBef>
              <a:spcAft>
                <a:spcPts val="800"/>
              </a:spcAft>
              <a:buFont typeface="+mj-lt"/>
              <a:buAutoNum type="arabicPeriod" startAt="2"/>
              <a:defRPr sz="1600">
                <a:solidFill>
                  <a:schemeClr val="tx1"/>
                </a:solidFill>
              </a:defRPr>
            </a:lvl2pPr>
            <a:lvl3pPr marL="784760" indent="-304784">
              <a:lnSpc>
                <a:spcPct val="100000"/>
              </a:lnSpc>
              <a:spcBef>
                <a:spcPts val="0"/>
              </a:spcBef>
              <a:spcAft>
                <a:spcPts val="800"/>
              </a:spcAft>
              <a:buFont typeface="+mj-lt"/>
              <a:buAutoNum type="arabicPeriod" startAt="3"/>
              <a:defRPr sz="1600">
                <a:solidFill>
                  <a:schemeClr val="tx1"/>
                </a:solidFill>
              </a:defRPr>
            </a:lvl3pPr>
            <a:lvl4pPr marL="1024749" indent="-304784">
              <a:lnSpc>
                <a:spcPct val="100000"/>
              </a:lnSpc>
              <a:spcBef>
                <a:spcPts val="0"/>
              </a:spcBef>
              <a:spcAft>
                <a:spcPts val="800"/>
              </a:spcAft>
              <a:buFont typeface="+mj-lt"/>
              <a:buAutoNum type="arabicPeriod" startAt="4"/>
              <a:defRPr sz="1600">
                <a:solidFill>
                  <a:schemeClr val="tx1"/>
                </a:solidFill>
              </a:defRPr>
            </a:lvl4pPr>
            <a:lvl5pPr marL="1276136" indent="-304784">
              <a:lnSpc>
                <a:spcPct val="100000"/>
              </a:lnSpc>
              <a:spcBef>
                <a:spcPts val="0"/>
              </a:spcBef>
              <a:spcAft>
                <a:spcPts val="800"/>
              </a:spcAft>
              <a:buFont typeface="+mj-lt"/>
              <a:buAutoNum type="arabicPeriod" startAt="5"/>
              <a:defRPr sz="1600">
                <a:solidFill>
                  <a:schemeClr val="tx1"/>
                </a:solidFill>
              </a:defRPr>
            </a:lvl5pPr>
          </a:lstStyle>
          <a:p>
            <a:pPr lvl="0"/>
            <a:r>
              <a:rPr lang="en-US"/>
              <a:t>Text here</a:t>
            </a:r>
          </a:p>
          <a:p>
            <a:pPr lvl="1"/>
            <a:r>
              <a:rPr lang="en-US"/>
              <a:t>Text here</a:t>
            </a:r>
          </a:p>
          <a:p>
            <a:pPr lvl="2"/>
            <a:r>
              <a:rPr lang="en-US"/>
              <a:t>Text here</a:t>
            </a:r>
          </a:p>
          <a:p>
            <a:pPr lvl="3"/>
            <a:r>
              <a:rPr lang="en-US"/>
              <a:t>Text here</a:t>
            </a:r>
          </a:p>
          <a:p>
            <a:pPr marL="1276136" marR="0" lvl="4" indent="-304784" algn="l" defTabSz="914354" rtl="0" eaLnBrk="1" fontAlgn="auto" latinLnBrk="0" hangingPunct="1">
              <a:lnSpc>
                <a:spcPct val="100000"/>
              </a:lnSpc>
              <a:spcBef>
                <a:spcPts val="0"/>
              </a:spcBef>
              <a:spcAft>
                <a:spcPts val="400"/>
              </a:spcAft>
              <a:buClrTx/>
              <a:buSzTx/>
              <a:tabLst/>
              <a:defRPr/>
            </a:pPr>
            <a:r>
              <a:rPr lang="en-US"/>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Box 1">
            <a:extLst>
              <a:ext uri="{FF2B5EF4-FFF2-40B4-BE49-F238E27FC236}">
                <a16:creationId xmlns:a16="http://schemas.microsoft.com/office/drawing/2014/main" id="{BB696985-1EFA-02D0-106A-9F81CEBC3FA1}"/>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1AF7E5B4-21F0-0696-BF4F-8AFCA8103CD7}"/>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87755C10-FC21-4D9F-8DA4-A30B437ABD12}"/>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DDC4B182-BD0E-D0F1-793C-A6CE500EA3BD}"/>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38831094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_1.3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0" indent="0">
              <a:lnSpc>
                <a:spcPct val="100000"/>
              </a:lnSpc>
              <a:spcBef>
                <a:spcPts val="0"/>
              </a:spcBef>
              <a:spcAft>
                <a:spcPts val="800"/>
              </a:spcAft>
              <a:buSzPct val="70000"/>
              <a:buNone/>
              <a:defRPr sz="1600">
                <a:solidFill>
                  <a:schemeClr val="tx1"/>
                </a:solidFill>
              </a:defRPr>
            </a:lvl1pPr>
            <a:lvl2pPr marL="239989" indent="0">
              <a:lnSpc>
                <a:spcPct val="100000"/>
              </a:lnSpc>
              <a:spcBef>
                <a:spcPts val="0"/>
              </a:spcBef>
              <a:spcAft>
                <a:spcPts val="800"/>
              </a:spcAft>
              <a:buSzPct val="70000"/>
              <a:buNone/>
              <a:defRPr sz="1600">
                <a:solidFill>
                  <a:schemeClr val="tx1"/>
                </a:solidFill>
              </a:defRPr>
            </a:lvl2pPr>
            <a:lvl3pPr marL="479976" indent="0">
              <a:lnSpc>
                <a:spcPct val="100000"/>
              </a:lnSpc>
              <a:spcBef>
                <a:spcPts val="0"/>
              </a:spcBef>
              <a:spcAft>
                <a:spcPts val="800"/>
              </a:spcAft>
              <a:buSzPct val="70000"/>
              <a:buNone/>
              <a:defRPr sz="1600">
                <a:solidFill>
                  <a:schemeClr val="tx1"/>
                </a:solidFill>
              </a:defRPr>
            </a:lvl3pPr>
            <a:lvl4pPr marL="719965" indent="0">
              <a:lnSpc>
                <a:spcPct val="100000"/>
              </a:lnSpc>
              <a:spcBef>
                <a:spcPts val="0"/>
              </a:spcBef>
              <a:spcAft>
                <a:spcPts val="800"/>
              </a:spcAft>
              <a:buSzPct val="70000"/>
              <a:buNone/>
              <a:defRPr sz="1600">
                <a:solidFill>
                  <a:schemeClr val="tx1"/>
                </a:solidFill>
              </a:defRPr>
            </a:lvl4pPr>
            <a:lvl5pPr marL="959952" indent="0">
              <a:lnSpc>
                <a:spcPct val="100000"/>
              </a:lnSpc>
              <a:spcBef>
                <a:spcPts val="0"/>
              </a:spcBef>
              <a:spcAft>
                <a:spcPts val="800"/>
              </a:spcAft>
              <a:buSzPct val="70000"/>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0" name="TextBox 9">
            <a:extLst>
              <a:ext uri="{FF2B5EF4-FFF2-40B4-BE49-F238E27FC236}">
                <a16:creationId xmlns:a16="http://schemas.microsoft.com/office/drawing/2014/main" id="{D706B219-6557-5951-F467-43B768A9C96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4FF66938-CF4B-D097-1BC6-18EB230030F4}"/>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CB929F03-682A-4566-CF9F-D3B71DB4575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E177B5-71D7-398C-03E7-932A701525D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7365592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_1.4 Bulletpoint text 1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Box 1">
            <a:extLst>
              <a:ext uri="{FF2B5EF4-FFF2-40B4-BE49-F238E27FC236}">
                <a16:creationId xmlns:a16="http://schemas.microsoft.com/office/drawing/2014/main" id="{FD95910B-6C91-D297-584C-3D1533AECBE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C76EFBCA-F2A9-DB62-4D3E-60E897B89B56}"/>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5E7D3F5-04E5-7DAF-AB76-2DAC95AB476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7D61FF18-0BA2-46E4-85DF-332117D1237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420443261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1.5 Bulletpoint text 2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5424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6211552" y="1680000"/>
            <a:ext cx="5424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Box 1">
            <a:extLst>
              <a:ext uri="{FF2B5EF4-FFF2-40B4-BE49-F238E27FC236}">
                <a16:creationId xmlns:a16="http://schemas.microsoft.com/office/drawing/2014/main" id="{E3A67328-00EF-5713-CA06-6BF95B775913}"/>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CED75580-5FAF-E6C5-DFED-1F462D82E3A6}"/>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1E21FDDB-B801-EAA3-9D13-40103E7AC2C1}"/>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65EB5894-B0A6-D8F1-AD97-D6E4D056DDA6}"/>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55704075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_1.6 Bulletpoint text 3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360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4296000" y="1680000"/>
            <a:ext cx="360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8035551" y="1680000"/>
            <a:ext cx="3596877"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BF8E66B8-C798-B992-2C68-B85351E1170D}"/>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6CA67C43-66D6-847E-98DC-61F9029ECC0B}"/>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323A8A5F-292F-2AC1-C1B0-A59D33F93A2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A1277FE0-ECBC-0B62-6936-4A9C8E1CE894}"/>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06466078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1.7 Bulletpoint text 4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368443"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180435"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8992427"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93DA646D-5F97-9D8A-4598-A0C98D4634E0}"/>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9115B87B-934C-0F92-5F93-D343BD44B66C}"/>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7428D676-DD53-1C54-82A5-88434E06B3E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45A16F44-B403-571B-AD0A-B6A86614B77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7301800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0 Title slide with media 1">
    <p:spTree>
      <p:nvGrpSpPr>
        <p:cNvPr id="1" name=""/>
        <p:cNvGrpSpPr/>
        <p:nvPr/>
      </p:nvGrpSpPr>
      <p:grpSpPr>
        <a:xfrm>
          <a:off x="0" y="0"/>
          <a:ext cx="0" cy="0"/>
          <a:chOff x="0" y="0"/>
          <a:chExt cx="0" cy="0"/>
        </a:xfrm>
      </p:grpSpPr>
      <p:sp>
        <p:nvSpPr>
          <p:cNvPr id="3" name="Media Placeholder 6">
            <a:extLst>
              <a:ext uri="{FF2B5EF4-FFF2-40B4-BE49-F238E27FC236}">
                <a16:creationId xmlns:a16="http://schemas.microsoft.com/office/drawing/2014/main" id="{BB2531A6-B2AF-8CE3-D4E6-FFA2A6F43CBA}"/>
              </a:ext>
            </a:extLst>
          </p:cNvPr>
          <p:cNvSpPr>
            <a:spLocks noGrp="1"/>
          </p:cNvSpPr>
          <p:nvPr>
            <p:ph type="media" sz="quarter" idx="12"/>
          </p:nvPr>
        </p:nvSpPr>
        <p:spPr>
          <a:xfrm>
            <a:off x="0" y="0"/>
            <a:ext cx="12192000" cy="6858000"/>
          </a:xfrm>
          <a:prstGeom prst="rect">
            <a:avLst/>
          </a:prstGeom>
        </p:spPr>
        <p:txBody>
          <a:bodyPr/>
          <a:lstStyle>
            <a:lvl1pPr marL="0" indent="0">
              <a:buNone/>
              <a:defRPr>
                <a:solidFill>
                  <a:schemeClr val="accent4"/>
                </a:solidFill>
              </a:defRPr>
            </a:lvl1pPr>
          </a:lstStyle>
          <a:p>
            <a:r>
              <a:rPr lang="en-US"/>
              <a:t>Click icon to add media</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4" name="Text Placeholder 42">
            <a:extLst>
              <a:ext uri="{FF2B5EF4-FFF2-40B4-BE49-F238E27FC236}">
                <a16:creationId xmlns:a16="http://schemas.microsoft.com/office/drawing/2014/main" id="{294B94FF-B007-7648-0008-A471B34C4CB3}"/>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accent1"/>
                </a:solidFill>
                <a:latin typeface="Nokia Pure Headline Light" panose="020B0304020202020204" pitchFamily="34" charset="0"/>
              </a:defRPr>
            </a:lvl1pPr>
          </a:lstStyle>
          <a:p>
            <a:pPr lvl="0"/>
            <a:r>
              <a:rPr lang="en-US"/>
              <a:t>Click to edit headline</a:t>
            </a:r>
          </a:p>
        </p:txBody>
      </p:sp>
      <p:sp>
        <p:nvSpPr>
          <p:cNvPr id="4" name="TextBox 3">
            <a:extLst>
              <a:ext uri="{FF2B5EF4-FFF2-40B4-BE49-F238E27FC236}">
                <a16:creationId xmlns:a16="http://schemas.microsoft.com/office/drawing/2014/main" id="{4C9BA26F-4B98-6DDA-4965-A8BCB0A90C5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2218EC66-6293-FC0C-C8AC-A21153E5703B}"/>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B7316F68-F558-B048-EF20-3133405450BF}"/>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A535B119-5E07-6658-028F-A2E92F84E1E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05617184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_1.8 Numbered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556800" y="1680000"/>
            <a:ext cx="11078400" cy="4158640"/>
          </a:xfrm>
          <a:prstGeom prst="rect">
            <a:avLst/>
          </a:prstGeom>
        </p:spPr>
        <p:txBody>
          <a:bodyPr lIns="0" tIns="0" rIns="0" bIns="0"/>
          <a:lstStyle>
            <a:lvl1pPr marL="304784" indent="-304784">
              <a:lnSpc>
                <a:spcPct val="100000"/>
              </a:lnSpc>
              <a:spcBef>
                <a:spcPts val="0"/>
              </a:spcBef>
              <a:spcAft>
                <a:spcPts val="800"/>
              </a:spcAft>
              <a:buFont typeface="+mj-lt"/>
              <a:buAutoNum type="arabicPeriod"/>
              <a:defRPr sz="1600">
                <a:solidFill>
                  <a:schemeClr val="tx1"/>
                </a:solidFill>
              </a:defRPr>
            </a:lvl1pPr>
            <a:lvl2pPr marL="544773" indent="-304784">
              <a:lnSpc>
                <a:spcPct val="100000"/>
              </a:lnSpc>
              <a:spcBef>
                <a:spcPts val="0"/>
              </a:spcBef>
              <a:spcAft>
                <a:spcPts val="800"/>
              </a:spcAft>
              <a:buFont typeface="+mj-lt"/>
              <a:buAutoNum type="arabicPeriod" startAt="2"/>
              <a:defRPr sz="1600">
                <a:solidFill>
                  <a:schemeClr val="tx1"/>
                </a:solidFill>
              </a:defRPr>
            </a:lvl2pPr>
            <a:lvl3pPr marL="784760" indent="-304784">
              <a:lnSpc>
                <a:spcPct val="100000"/>
              </a:lnSpc>
              <a:spcBef>
                <a:spcPts val="0"/>
              </a:spcBef>
              <a:spcAft>
                <a:spcPts val="800"/>
              </a:spcAft>
              <a:buFont typeface="+mj-lt"/>
              <a:buAutoNum type="arabicPeriod" startAt="3"/>
              <a:defRPr sz="1600">
                <a:solidFill>
                  <a:schemeClr val="tx1"/>
                </a:solidFill>
              </a:defRPr>
            </a:lvl3pPr>
            <a:lvl4pPr marL="1024749" indent="-304784">
              <a:lnSpc>
                <a:spcPct val="100000"/>
              </a:lnSpc>
              <a:spcBef>
                <a:spcPts val="0"/>
              </a:spcBef>
              <a:spcAft>
                <a:spcPts val="800"/>
              </a:spcAft>
              <a:buFont typeface="+mj-lt"/>
              <a:buAutoNum type="arabicPeriod" startAt="4"/>
              <a:defRPr sz="1600">
                <a:solidFill>
                  <a:schemeClr val="tx1"/>
                </a:solidFill>
              </a:defRPr>
            </a:lvl4pPr>
            <a:lvl5pPr marL="1276136" indent="-304784">
              <a:lnSpc>
                <a:spcPct val="100000"/>
              </a:lnSpc>
              <a:spcBef>
                <a:spcPts val="0"/>
              </a:spcBef>
              <a:spcAft>
                <a:spcPts val="800"/>
              </a:spcAft>
              <a:buFont typeface="+mj-lt"/>
              <a:buAutoNum type="arabicPeriod" startAt="5"/>
              <a:defRPr sz="1600">
                <a:solidFill>
                  <a:schemeClr val="tx1"/>
                </a:solidFill>
              </a:defRPr>
            </a:lvl5pPr>
          </a:lstStyle>
          <a:p>
            <a:pPr lvl="0"/>
            <a:r>
              <a:rPr lang="en-US"/>
              <a:t>Text here</a:t>
            </a:r>
          </a:p>
          <a:p>
            <a:pPr lvl="1"/>
            <a:r>
              <a:rPr lang="en-US"/>
              <a:t>Text here</a:t>
            </a:r>
          </a:p>
          <a:p>
            <a:pPr lvl="2"/>
            <a:r>
              <a:rPr lang="en-US"/>
              <a:t>Text here</a:t>
            </a:r>
          </a:p>
          <a:p>
            <a:pPr lvl="3"/>
            <a:r>
              <a:rPr lang="en-US"/>
              <a:t>Text here</a:t>
            </a:r>
          </a:p>
          <a:p>
            <a:pPr marL="1276136" marR="0" lvl="4" indent="-304784" algn="l" defTabSz="914354" rtl="0" eaLnBrk="1" fontAlgn="auto" latinLnBrk="0" hangingPunct="1">
              <a:lnSpc>
                <a:spcPct val="100000"/>
              </a:lnSpc>
              <a:spcBef>
                <a:spcPts val="0"/>
              </a:spcBef>
              <a:spcAft>
                <a:spcPts val="400"/>
              </a:spcAft>
              <a:buClrTx/>
              <a:buSzTx/>
              <a:tabLst/>
              <a:defRPr/>
            </a:pPr>
            <a:r>
              <a:rPr lang="en-US"/>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Box 1">
            <a:extLst>
              <a:ext uri="{FF2B5EF4-FFF2-40B4-BE49-F238E27FC236}">
                <a16:creationId xmlns:a16="http://schemas.microsoft.com/office/drawing/2014/main" id="{BB696985-1EFA-02D0-106A-9F81CEBC3FA1}"/>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1AF7E5B4-21F0-0696-BF4F-8AFCA8103CD7}"/>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87755C10-FC21-4D9F-8DA4-A30B437ABD12}"/>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DDC4B182-BD0E-D0F1-793C-A6CE500EA3BD}"/>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65463073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1.9 Title slid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accent1"/>
                </a:solidFill>
                <a:latin typeface="Nokia Pure Headline Light" panose="020B0304020202020204" pitchFamily="34" charset="0"/>
              </a:defRPr>
            </a:lvl1pPr>
          </a:lstStyle>
          <a:p>
            <a:pPr lvl="0"/>
            <a:r>
              <a:rPr lang="en-US"/>
              <a:t>Click to edit headline</a:t>
            </a:r>
          </a:p>
        </p:txBody>
      </p:sp>
      <p:sp>
        <p:nvSpPr>
          <p:cNvPr id="3" name="TextBox 2">
            <a:extLst>
              <a:ext uri="{FF2B5EF4-FFF2-40B4-BE49-F238E27FC236}">
                <a16:creationId xmlns:a16="http://schemas.microsoft.com/office/drawing/2014/main" id="{3306DFA0-C2BA-C581-C314-740F6D8A7079}"/>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AB1F327B-603C-86B8-9F24-AB86561B3C06}"/>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FB24B9E5-9DF5-72DD-49F0-33455A6A12D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5D779461-EFB5-C35B-DE08-509687C8261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2622943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1.10 Title slide with media 1">
    <p:spTree>
      <p:nvGrpSpPr>
        <p:cNvPr id="1" name=""/>
        <p:cNvGrpSpPr/>
        <p:nvPr/>
      </p:nvGrpSpPr>
      <p:grpSpPr>
        <a:xfrm>
          <a:off x="0" y="0"/>
          <a:ext cx="0" cy="0"/>
          <a:chOff x="0" y="0"/>
          <a:chExt cx="0" cy="0"/>
        </a:xfrm>
      </p:grpSpPr>
      <p:sp>
        <p:nvSpPr>
          <p:cNvPr id="3" name="Media Placeholder 6">
            <a:extLst>
              <a:ext uri="{FF2B5EF4-FFF2-40B4-BE49-F238E27FC236}">
                <a16:creationId xmlns:a16="http://schemas.microsoft.com/office/drawing/2014/main" id="{BB2531A6-B2AF-8CE3-D4E6-FFA2A6F43CBA}"/>
              </a:ext>
            </a:extLst>
          </p:cNvPr>
          <p:cNvSpPr>
            <a:spLocks noGrp="1"/>
          </p:cNvSpPr>
          <p:nvPr>
            <p:ph type="media" sz="quarter" idx="12"/>
          </p:nvPr>
        </p:nvSpPr>
        <p:spPr>
          <a:xfrm>
            <a:off x="0" y="0"/>
            <a:ext cx="12192000" cy="6858000"/>
          </a:xfrm>
          <a:prstGeom prst="rect">
            <a:avLst/>
          </a:prstGeom>
        </p:spPr>
        <p:txBody>
          <a:bodyPr/>
          <a:lstStyle>
            <a:lvl1pPr marL="0" indent="0">
              <a:buNone/>
              <a:defRPr>
                <a:solidFill>
                  <a:schemeClr val="accent4"/>
                </a:solidFill>
              </a:defRPr>
            </a:lvl1pPr>
          </a:lstStyle>
          <a:p>
            <a:r>
              <a:rPr lang="en-US"/>
              <a:t>Click icon to add media</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4" name="Text Placeholder 42">
            <a:extLst>
              <a:ext uri="{FF2B5EF4-FFF2-40B4-BE49-F238E27FC236}">
                <a16:creationId xmlns:a16="http://schemas.microsoft.com/office/drawing/2014/main" id="{294B94FF-B007-7648-0008-A471B34C4CB3}"/>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accent1"/>
                </a:solidFill>
                <a:latin typeface="Nokia Pure Headline Light" panose="020B0304020202020204" pitchFamily="34" charset="0"/>
              </a:defRPr>
            </a:lvl1pPr>
          </a:lstStyle>
          <a:p>
            <a:pPr lvl="0"/>
            <a:r>
              <a:rPr lang="en-US"/>
              <a:t>Click to edit headline</a:t>
            </a:r>
          </a:p>
        </p:txBody>
      </p:sp>
      <p:sp>
        <p:nvSpPr>
          <p:cNvPr id="4" name="TextBox 3">
            <a:extLst>
              <a:ext uri="{FF2B5EF4-FFF2-40B4-BE49-F238E27FC236}">
                <a16:creationId xmlns:a16="http://schemas.microsoft.com/office/drawing/2014/main" id="{4C9BA26F-4B98-6DDA-4965-A8BCB0A90C5D}"/>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2218EC66-6293-FC0C-C8AC-A21153E5703B}"/>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B7316F68-F558-B048-EF20-3133405450BF}"/>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A535B119-5E07-6658-028F-A2E92F84E1E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34262700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_1.11 Title slide with white ">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A9C292-FC1E-4CD0-D1C2-1C1BF0964A4B}"/>
              </a:ext>
            </a:extLst>
          </p:cNvPr>
          <p:cNvSpPr/>
          <p:nvPr userDrawn="1"/>
        </p:nvSpPr>
        <p:spPr>
          <a:xfrm flipH="1">
            <a:off x="-14515" y="0"/>
            <a:ext cx="5080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96000" rIns="96000" bIns="96000" numCol="1" spcCol="0" rtlCol="0" fromWordArt="0" anchor="t" anchorCtr="0" forceAA="0" compatLnSpc="1">
            <a:prstTxWarp prst="textNoShape">
              <a:avLst/>
            </a:prstTxWarp>
            <a:noAutofit/>
          </a:bodyPr>
          <a:lstStyle/>
          <a:p>
            <a:pPr algn="l">
              <a:spcAft>
                <a:spcPts val="400"/>
              </a:spcAft>
              <a:buSzPct val="100000"/>
            </a:pPr>
            <a:endParaRPr lang="en-US" sz="1600">
              <a:solidFill>
                <a:schemeClr val="tx2"/>
              </a:solidFill>
            </a:endParaRPr>
          </a:p>
        </p:txBody>
      </p:sp>
      <p:pic>
        <p:nvPicPr>
          <p:cNvPr id="6" name="Graphic 5">
            <a:extLst>
              <a:ext uri="{FF2B5EF4-FFF2-40B4-BE49-F238E27FC236}">
                <a16:creationId xmlns:a16="http://schemas.microsoft.com/office/drawing/2014/main" id="{9ADE2C08-8C2F-6DA1-140F-78B7C383967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3" name="Text Placeholder 42">
            <a:extLst>
              <a:ext uri="{FF2B5EF4-FFF2-40B4-BE49-F238E27FC236}">
                <a16:creationId xmlns:a16="http://schemas.microsoft.com/office/drawing/2014/main" id="{076F2482-56A5-DF69-EDAB-369E53244A98}"/>
              </a:ext>
            </a:extLst>
          </p:cNvPr>
          <p:cNvSpPr>
            <a:spLocks noGrp="1"/>
          </p:cNvSpPr>
          <p:nvPr>
            <p:ph type="body" sz="quarter" idx="12" hasCustomPrompt="1"/>
          </p:nvPr>
        </p:nvSpPr>
        <p:spPr>
          <a:xfrm>
            <a:off x="556801" y="527928"/>
            <a:ext cx="423872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14" name="Text Placeholder 42">
            <a:extLst>
              <a:ext uri="{FF2B5EF4-FFF2-40B4-BE49-F238E27FC236}">
                <a16:creationId xmlns:a16="http://schemas.microsoft.com/office/drawing/2014/main" id="{9EE67559-07A5-8DC0-5F9E-74889395C505}"/>
              </a:ext>
            </a:extLst>
          </p:cNvPr>
          <p:cNvSpPr>
            <a:spLocks noGrp="1"/>
          </p:cNvSpPr>
          <p:nvPr>
            <p:ph type="body" sz="quarter" idx="13" hasCustomPrompt="1"/>
          </p:nvPr>
        </p:nvSpPr>
        <p:spPr>
          <a:xfrm>
            <a:off x="556801" y="1019360"/>
            <a:ext cx="423872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5" name="TextBox 14">
            <a:extLst>
              <a:ext uri="{FF2B5EF4-FFF2-40B4-BE49-F238E27FC236}">
                <a16:creationId xmlns:a16="http://schemas.microsoft.com/office/drawing/2014/main" id="{888C92FD-B39B-95B0-724C-D1AA2268DE24}"/>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F172D6B9-A8FE-EBFF-D93D-5EB12C01965D}"/>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Footer Placeholder 2">
            <a:extLst>
              <a:ext uri="{FF2B5EF4-FFF2-40B4-BE49-F238E27FC236}">
                <a16:creationId xmlns:a16="http://schemas.microsoft.com/office/drawing/2014/main" id="{AF35F11C-FBF2-64A9-BC5E-546156F777F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
        <p:nvSpPr>
          <p:cNvPr id="19" name="Text Placeholder 12">
            <a:extLst>
              <a:ext uri="{FF2B5EF4-FFF2-40B4-BE49-F238E27FC236}">
                <a16:creationId xmlns:a16="http://schemas.microsoft.com/office/drawing/2014/main" id="{EFF7564F-7000-1BEA-AD06-C8104C4313E7}"/>
              </a:ext>
            </a:extLst>
          </p:cNvPr>
          <p:cNvSpPr>
            <a:spLocks noGrp="1"/>
          </p:cNvSpPr>
          <p:nvPr>
            <p:ph type="body" sz="quarter" idx="14"/>
          </p:nvPr>
        </p:nvSpPr>
        <p:spPr>
          <a:xfrm>
            <a:off x="556454" y="1680000"/>
            <a:ext cx="423906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149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_1.12 Title slide with media 2">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5" name="TextBox 4">
            <a:extLst>
              <a:ext uri="{FF2B5EF4-FFF2-40B4-BE49-F238E27FC236}">
                <a16:creationId xmlns:a16="http://schemas.microsoft.com/office/drawing/2014/main" id="{44F7A0E6-27FB-B6FF-2E31-5A6107DF4D1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F2544C4-9B73-80CB-B1AE-384180132B7C}"/>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612FBD75-FC64-31E3-3F75-9DAE4224DD4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ECE578A4-6CB9-C574-603A-6A6E64EB149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87389635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_1.13 Title slide with media 3">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556802" y="527928"/>
            <a:ext cx="455402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556802" y="1019360"/>
            <a:ext cx="4554028"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556454" y="1680000"/>
            <a:ext cx="455402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E7BA896-DC3C-C861-6C89-0401950D7446}"/>
              </a:ext>
            </a:extLst>
          </p:cNvPr>
          <p:cNvSpPr>
            <a:spLocks noGrp="1"/>
          </p:cNvSpPr>
          <p:nvPr>
            <p:ph type="pic" sz="quarter" idx="15" hasCustomPrompt="1"/>
          </p:nvPr>
        </p:nvSpPr>
        <p:spPr>
          <a:xfrm>
            <a:off x="5486400" y="0"/>
            <a:ext cx="67056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4" name="TextBox 3">
            <a:extLst>
              <a:ext uri="{FF2B5EF4-FFF2-40B4-BE49-F238E27FC236}">
                <a16:creationId xmlns:a16="http://schemas.microsoft.com/office/drawing/2014/main" id="{DD05DD94-B1D7-AF62-87C9-7EF3B816BC50}"/>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4CA45A5E-8155-944F-17C0-E8C2DF0291BF}"/>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6660D9BC-D30D-1466-7616-8C7936E38CF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9FEC4AEB-8265-3816-B1A7-81B4297B51B5}"/>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24016545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1.14 Title slide with media 4">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556802" y="527928"/>
            <a:ext cx="329418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556802" y="1019360"/>
            <a:ext cx="3294188"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556454" y="1680000"/>
            <a:ext cx="329418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C663BDD0-396A-C130-FA04-231CB3C74388}"/>
              </a:ext>
            </a:extLst>
          </p:cNvPr>
          <p:cNvSpPr>
            <a:spLocks noGrp="1"/>
          </p:cNvSpPr>
          <p:nvPr>
            <p:ph type="pic" sz="quarter" idx="16" hasCustomPrompt="1"/>
          </p:nvPr>
        </p:nvSpPr>
        <p:spPr>
          <a:xfrm>
            <a:off x="4267200" y="0"/>
            <a:ext cx="79248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3" name="TextBox 2">
            <a:extLst>
              <a:ext uri="{FF2B5EF4-FFF2-40B4-BE49-F238E27FC236}">
                <a16:creationId xmlns:a16="http://schemas.microsoft.com/office/drawing/2014/main" id="{2069DAC9-98D0-DE29-0854-C322936DF8E9}"/>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E3B783F8-E852-2880-7AC7-93C221C8FF1B}"/>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C79725E7-2EC0-E3B5-3DB0-057A690FD95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5F00D657-7150-C4CD-A10F-64140FBB30BD}"/>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41396068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2.1 Blank dark">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4" name="TextBox 3">
            <a:extLst>
              <a:ext uri="{FF2B5EF4-FFF2-40B4-BE49-F238E27FC236}">
                <a16:creationId xmlns:a16="http://schemas.microsoft.com/office/drawing/2014/main" id="{BB2D48F3-5FAB-7137-F8DD-66420388FACA}"/>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8A0EFD0E-73A9-D773-3F8A-B9B78A9503C6}"/>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917EEC03-3391-E652-F649-78782CA24357}"/>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C021FBAF-6C06-6FF4-B424-967A0139D27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78152256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_1.11 Title slide with white ">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A9C292-FC1E-4CD0-D1C2-1C1BF0964A4B}"/>
              </a:ext>
            </a:extLst>
          </p:cNvPr>
          <p:cNvSpPr/>
          <p:nvPr userDrawn="1"/>
        </p:nvSpPr>
        <p:spPr>
          <a:xfrm flipH="1">
            <a:off x="-14515" y="0"/>
            <a:ext cx="5080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96000" rIns="96000" bIns="96000" numCol="1" spcCol="0" rtlCol="0" fromWordArt="0" anchor="t" anchorCtr="0" forceAA="0" compatLnSpc="1">
            <a:prstTxWarp prst="textNoShape">
              <a:avLst/>
            </a:prstTxWarp>
            <a:noAutofit/>
          </a:bodyPr>
          <a:lstStyle/>
          <a:p>
            <a:pPr algn="l">
              <a:spcAft>
                <a:spcPts val="400"/>
              </a:spcAft>
              <a:buSzPct val="100000"/>
            </a:pPr>
            <a:endParaRPr lang="en-US" sz="1600">
              <a:solidFill>
                <a:schemeClr val="tx2"/>
              </a:solidFill>
            </a:endParaRPr>
          </a:p>
        </p:txBody>
      </p:sp>
      <p:pic>
        <p:nvPicPr>
          <p:cNvPr id="6" name="Graphic 5">
            <a:extLst>
              <a:ext uri="{FF2B5EF4-FFF2-40B4-BE49-F238E27FC236}">
                <a16:creationId xmlns:a16="http://schemas.microsoft.com/office/drawing/2014/main" id="{9ADE2C08-8C2F-6DA1-140F-78B7C383967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3" name="Text Placeholder 42">
            <a:extLst>
              <a:ext uri="{FF2B5EF4-FFF2-40B4-BE49-F238E27FC236}">
                <a16:creationId xmlns:a16="http://schemas.microsoft.com/office/drawing/2014/main" id="{076F2482-56A5-DF69-EDAB-369E53244A98}"/>
              </a:ext>
            </a:extLst>
          </p:cNvPr>
          <p:cNvSpPr>
            <a:spLocks noGrp="1"/>
          </p:cNvSpPr>
          <p:nvPr>
            <p:ph type="body" sz="quarter" idx="12" hasCustomPrompt="1"/>
          </p:nvPr>
        </p:nvSpPr>
        <p:spPr>
          <a:xfrm>
            <a:off x="556801" y="527928"/>
            <a:ext cx="423872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14" name="Text Placeholder 42">
            <a:extLst>
              <a:ext uri="{FF2B5EF4-FFF2-40B4-BE49-F238E27FC236}">
                <a16:creationId xmlns:a16="http://schemas.microsoft.com/office/drawing/2014/main" id="{9EE67559-07A5-8DC0-5F9E-74889395C505}"/>
              </a:ext>
            </a:extLst>
          </p:cNvPr>
          <p:cNvSpPr>
            <a:spLocks noGrp="1"/>
          </p:cNvSpPr>
          <p:nvPr>
            <p:ph type="body" sz="quarter" idx="13" hasCustomPrompt="1"/>
          </p:nvPr>
        </p:nvSpPr>
        <p:spPr>
          <a:xfrm>
            <a:off x="556801" y="1019360"/>
            <a:ext cx="423872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5" name="TextBox 14">
            <a:extLst>
              <a:ext uri="{FF2B5EF4-FFF2-40B4-BE49-F238E27FC236}">
                <a16:creationId xmlns:a16="http://schemas.microsoft.com/office/drawing/2014/main" id="{888C92FD-B39B-95B0-724C-D1AA2268DE24}"/>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F172D6B9-A8FE-EBFF-D93D-5EB12C01965D}"/>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Footer Placeholder 2">
            <a:extLst>
              <a:ext uri="{FF2B5EF4-FFF2-40B4-BE49-F238E27FC236}">
                <a16:creationId xmlns:a16="http://schemas.microsoft.com/office/drawing/2014/main" id="{AF35F11C-FBF2-64A9-BC5E-546156F777F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
        <p:nvSpPr>
          <p:cNvPr id="19" name="Text Placeholder 12">
            <a:extLst>
              <a:ext uri="{FF2B5EF4-FFF2-40B4-BE49-F238E27FC236}">
                <a16:creationId xmlns:a16="http://schemas.microsoft.com/office/drawing/2014/main" id="{EFF7564F-7000-1BEA-AD06-C8104C4313E7}"/>
              </a:ext>
            </a:extLst>
          </p:cNvPr>
          <p:cNvSpPr>
            <a:spLocks noGrp="1"/>
          </p:cNvSpPr>
          <p:nvPr>
            <p:ph type="body" sz="quarter" idx="14"/>
          </p:nvPr>
        </p:nvSpPr>
        <p:spPr>
          <a:xfrm>
            <a:off x="556454" y="1680000"/>
            <a:ext cx="423906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5637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1.12 Title slide with media 2">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5" name="TextBox 4">
            <a:extLst>
              <a:ext uri="{FF2B5EF4-FFF2-40B4-BE49-F238E27FC236}">
                <a16:creationId xmlns:a16="http://schemas.microsoft.com/office/drawing/2014/main" id="{44F7A0E6-27FB-B6FF-2E31-5A6107DF4D1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F2544C4-9B73-80CB-B1AE-384180132B7C}"/>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612FBD75-FC64-31E3-3F75-9DAE4224DD4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ECE578A4-6CB9-C574-603A-6A6E64EB149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6236002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11 Title slide with white ">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A9C292-FC1E-4CD0-D1C2-1C1BF0964A4B}"/>
              </a:ext>
            </a:extLst>
          </p:cNvPr>
          <p:cNvSpPr/>
          <p:nvPr userDrawn="1"/>
        </p:nvSpPr>
        <p:spPr>
          <a:xfrm flipH="1">
            <a:off x="-14515" y="0"/>
            <a:ext cx="5080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96000" rIns="96000" bIns="96000" numCol="1" spcCol="0" rtlCol="0" fromWordArt="0" anchor="t" anchorCtr="0" forceAA="0" compatLnSpc="1">
            <a:prstTxWarp prst="textNoShape">
              <a:avLst/>
            </a:prstTxWarp>
            <a:noAutofit/>
          </a:bodyPr>
          <a:lstStyle/>
          <a:p>
            <a:pPr algn="l">
              <a:spcAft>
                <a:spcPts val="400"/>
              </a:spcAft>
              <a:buSzPct val="100000"/>
            </a:pPr>
            <a:endParaRPr lang="en-US" sz="1600">
              <a:solidFill>
                <a:schemeClr val="tx2"/>
              </a:solidFill>
            </a:endParaRPr>
          </a:p>
        </p:txBody>
      </p:sp>
      <p:pic>
        <p:nvPicPr>
          <p:cNvPr id="6" name="Graphic 5">
            <a:extLst>
              <a:ext uri="{FF2B5EF4-FFF2-40B4-BE49-F238E27FC236}">
                <a16:creationId xmlns:a16="http://schemas.microsoft.com/office/drawing/2014/main" id="{9ADE2C08-8C2F-6DA1-140F-78B7C383967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3" name="Text Placeholder 42">
            <a:extLst>
              <a:ext uri="{FF2B5EF4-FFF2-40B4-BE49-F238E27FC236}">
                <a16:creationId xmlns:a16="http://schemas.microsoft.com/office/drawing/2014/main" id="{076F2482-56A5-DF69-EDAB-369E53244A98}"/>
              </a:ext>
            </a:extLst>
          </p:cNvPr>
          <p:cNvSpPr>
            <a:spLocks noGrp="1"/>
          </p:cNvSpPr>
          <p:nvPr>
            <p:ph type="body" sz="quarter" idx="12" hasCustomPrompt="1"/>
          </p:nvPr>
        </p:nvSpPr>
        <p:spPr>
          <a:xfrm>
            <a:off x="556801" y="527928"/>
            <a:ext cx="423872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14" name="Text Placeholder 42">
            <a:extLst>
              <a:ext uri="{FF2B5EF4-FFF2-40B4-BE49-F238E27FC236}">
                <a16:creationId xmlns:a16="http://schemas.microsoft.com/office/drawing/2014/main" id="{9EE67559-07A5-8DC0-5F9E-74889395C505}"/>
              </a:ext>
            </a:extLst>
          </p:cNvPr>
          <p:cNvSpPr>
            <a:spLocks noGrp="1"/>
          </p:cNvSpPr>
          <p:nvPr>
            <p:ph type="body" sz="quarter" idx="13" hasCustomPrompt="1"/>
          </p:nvPr>
        </p:nvSpPr>
        <p:spPr>
          <a:xfrm>
            <a:off x="556801" y="1019360"/>
            <a:ext cx="423872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5" name="TextBox 14">
            <a:extLst>
              <a:ext uri="{FF2B5EF4-FFF2-40B4-BE49-F238E27FC236}">
                <a16:creationId xmlns:a16="http://schemas.microsoft.com/office/drawing/2014/main" id="{888C92FD-B39B-95B0-724C-D1AA2268DE24}"/>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F172D6B9-A8FE-EBFF-D93D-5EB12C01965D}"/>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Footer Placeholder 2">
            <a:extLst>
              <a:ext uri="{FF2B5EF4-FFF2-40B4-BE49-F238E27FC236}">
                <a16:creationId xmlns:a16="http://schemas.microsoft.com/office/drawing/2014/main" id="{AF35F11C-FBF2-64A9-BC5E-546156F777F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
        <p:nvSpPr>
          <p:cNvPr id="19" name="Text Placeholder 12">
            <a:extLst>
              <a:ext uri="{FF2B5EF4-FFF2-40B4-BE49-F238E27FC236}">
                <a16:creationId xmlns:a16="http://schemas.microsoft.com/office/drawing/2014/main" id="{EFF7564F-7000-1BEA-AD06-C8104C4313E7}"/>
              </a:ext>
            </a:extLst>
          </p:cNvPr>
          <p:cNvSpPr>
            <a:spLocks noGrp="1"/>
          </p:cNvSpPr>
          <p:nvPr>
            <p:ph type="body" sz="quarter" idx="14"/>
          </p:nvPr>
        </p:nvSpPr>
        <p:spPr>
          <a:xfrm>
            <a:off x="556453" y="1680000"/>
            <a:ext cx="423906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96661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1.13 Title slide with media 3">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556802" y="527928"/>
            <a:ext cx="455402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556802" y="1019360"/>
            <a:ext cx="4554028"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556454" y="1680000"/>
            <a:ext cx="455402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E7BA896-DC3C-C861-6C89-0401950D7446}"/>
              </a:ext>
            </a:extLst>
          </p:cNvPr>
          <p:cNvSpPr>
            <a:spLocks noGrp="1"/>
          </p:cNvSpPr>
          <p:nvPr>
            <p:ph type="pic" sz="quarter" idx="15" hasCustomPrompt="1"/>
          </p:nvPr>
        </p:nvSpPr>
        <p:spPr>
          <a:xfrm>
            <a:off x="5486400" y="0"/>
            <a:ext cx="67056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4" name="TextBox 3">
            <a:extLst>
              <a:ext uri="{FF2B5EF4-FFF2-40B4-BE49-F238E27FC236}">
                <a16:creationId xmlns:a16="http://schemas.microsoft.com/office/drawing/2014/main" id="{DD05DD94-B1D7-AF62-87C9-7EF3B816BC50}"/>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4CA45A5E-8155-944F-17C0-E8C2DF0291BF}"/>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6660D9BC-D30D-1466-7616-8C7936E38CF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9FEC4AEB-8265-3816-B1A7-81B4297B51B5}"/>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41622658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1.14 Title slide with media 4">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556802" y="527928"/>
            <a:ext cx="329418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556802" y="1019360"/>
            <a:ext cx="3294188"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556454" y="1680000"/>
            <a:ext cx="329418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C663BDD0-396A-C130-FA04-231CB3C74388}"/>
              </a:ext>
            </a:extLst>
          </p:cNvPr>
          <p:cNvSpPr>
            <a:spLocks noGrp="1"/>
          </p:cNvSpPr>
          <p:nvPr>
            <p:ph type="pic" sz="quarter" idx="16" hasCustomPrompt="1"/>
          </p:nvPr>
        </p:nvSpPr>
        <p:spPr>
          <a:xfrm>
            <a:off x="4267200" y="0"/>
            <a:ext cx="79248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3" name="TextBox 2">
            <a:extLst>
              <a:ext uri="{FF2B5EF4-FFF2-40B4-BE49-F238E27FC236}">
                <a16:creationId xmlns:a16="http://schemas.microsoft.com/office/drawing/2014/main" id="{2069DAC9-98D0-DE29-0854-C322936DF8E9}"/>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E3B783F8-E852-2880-7AC7-93C221C8FF1B}"/>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C79725E7-2EC0-E3B5-3DB0-057A690FD95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5F00D657-7150-C4CD-A10F-64140FBB30BD}"/>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88909121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_1.12 Title slide with media 2">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Box 4">
            <a:extLst>
              <a:ext uri="{FF2B5EF4-FFF2-40B4-BE49-F238E27FC236}">
                <a16:creationId xmlns:a16="http://schemas.microsoft.com/office/drawing/2014/main" id="{44F7A0E6-27FB-B6FF-2E31-5A6107DF4D1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F2544C4-9B73-80CB-B1AE-384180132B7C}"/>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612FBD75-FC64-31E3-3F75-9DAE4224DD4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ECE578A4-6CB9-C574-603A-6A6E64EB149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91263043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1.13 Title slide with media 3">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556801" y="527928"/>
            <a:ext cx="455402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556801" y="1019360"/>
            <a:ext cx="4554028"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556453" y="1680000"/>
            <a:ext cx="455402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E7BA896-DC3C-C861-6C89-0401950D7446}"/>
              </a:ext>
            </a:extLst>
          </p:cNvPr>
          <p:cNvSpPr>
            <a:spLocks noGrp="1"/>
          </p:cNvSpPr>
          <p:nvPr>
            <p:ph type="pic" sz="quarter" idx="15" hasCustomPrompt="1"/>
          </p:nvPr>
        </p:nvSpPr>
        <p:spPr>
          <a:xfrm>
            <a:off x="5486400" y="0"/>
            <a:ext cx="67056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4" name="TextBox 3">
            <a:extLst>
              <a:ext uri="{FF2B5EF4-FFF2-40B4-BE49-F238E27FC236}">
                <a16:creationId xmlns:a16="http://schemas.microsoft.com/office/drawing/2014/main" id="{DD05DD94-B1D7-AF62-87C9-7EF3B816BC50}"/>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4CA45A5E-8155-944F-17C0-E8C2DF0291BF}"/>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6660D9BC-D30D-1466-7616-8C7936E38CF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9FEC4AEB-8265-3816-B1A7-81B4297B51B5}"/>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414408978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1.14 Title slide with media 4">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556801" y="527928"/>
            <a:ext cx="329418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556801" y="1019360"/>
            <a:ext cx="3294188"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556453" y="1680000"/>
            <a:ext cx="329418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C663BDD0-396A-C130-FA04-231CB3C74388}"/>
              </a:ext>
            </a:extLst>
          </p:cNvPr>
          <p:cNvSpPr>
            <a:spLocks noGrp="1"/>
          </p:cNvSpPr>
          <p:nvPr>
            <p:ph type="pic" sz="quarter" idx="16" hasCustomPrompt="1"/>
          </p:nvPr>
        </p:nvSpPr>
        <p:spPr>
          <a:xfrm>
            <a:off x="4267200" y="0"/>
            <a:ext cx="79248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3" name="TextBox 2">
            <a:extLst>
              <a:ext uri="{FF2B5EF4-FFF2-40B4-BE49-F238E27FC236}">
                <a16:creationId xmlns:a16="http://schemas.microsoft.com/office/drawing/2014/main" id="{2069DAC9-98D0-DE29-0854-C322936DF8E9}"/>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E3B783F8-E852-2880-7AC7-93C221C8FF1B}"/>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C79725E7-2EC0-E3B5-3DB0-057A690FD95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5F00D657-7150-C4CD-A10F-64140FBB30BD}"/>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69237291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2.1 Blank dark">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4" name="TextBox 3">
            <a:extLst>
              <a:ext uri="{FF2B5EF4-FFF2-40B4-BE49-F238E27FC236}">
                <a16:creationId xmlns:a16="http://schemas.microsoft.com/office/drawing/2014/main" id="{BB2D48F3-5FAB-7137-F8DD-66420388FACA}"/>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8A0EFD0E-73A9-D773-3F8A-B9B78A9503C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917EEC03-3391-E652-F649-78782CA24357}"/>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C021FBAF-6C06-6FF4-B424-967A0139D27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42467996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2.2 Title dark">
    <p:bg>
      <p:bgPr>
        <a:gradFill>
          <a:gsLst>
            <a:gs pos="53100">
              <a:schemeClr val="accent1">
                <a:lumMod val="59000"/>
              </a:schemeClr>
            </a:gs>
            <a:gs pos="0">
              <a:schemeClr val="tx1">
                <a:lumMod val="96000"/>
              </a:schemeClr>
            </a:gs>
            <a:gs pos="100000">
              <a:schemeClr val="accent1">
                <a:lumMod val="30000"/>
              </a:schemeClr>
            </a:gs>
          </a:gsLst>
          <a:lin ang="12000000" scaled="0"/>
        </a:gra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pic>
        <p:nvPicPr>
          <p:cNvPr id="3" name="Graphic 2">
            <a:extLst>
              <a:ext uri="{FF2B5EF4-FFF2-40B4-BE49-F238E27FC236}">
                <a16:creationId xmlns:a16="http://schemas.microsoft.com/office/drawing/2014/main" id="{BB937390-63D5-3E5C-5017-6C0EFAC8BC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Tree>
    <p:extLst>
      <p:ext uri="{BB962C8B-B14F-4D97-AF65-F5344CB8AC3E}">
        <p14:creationId xmlns:p14="http://schemas.microsoft.com/office/powerpoint/2010/main" val="424243309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_3 N White">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674FB718-4590-313D-1532-FE817A22ACB4}"/>
              </a:ext>
            </a:extLst>
          </p:cNvPr>
          <p:cNvSpPr/>
          <p:nvPr/>
        </p:nvSpPr>
        <p:spPr>
          <a:xfrm>
            <a:off x="0" y="0"/>
            <a:ext cx="6859200" cy="6859200"/>
          </a:xfrm>
          <a:custGeom>
            <a:avLst/>
            <a:gdLst>
              <a:gd name="connsiteX0" fmla="*/ 0 w 5144400"/>
              <a:gd name="connsiteY0" fmla="*/ 0 h 5144400"/>
              <a:gd name="connsiteX1" fmla="*/ 5144400 w 5144400"/>
              <a:gd name="connsiteY1" fmla="*/ 0 h 5144400"/>
              <a:gd name="connsiteX2" fmla="*/ 5144400 w 5144400"/>
              <a:gd name="connsiteY2" fmla="*/ 5144400 h 5144400"/>
              <a:gd name="connsiteX3" fmla="*/ 0 w 5144400"/>
              <a:gd name="connsiteY3" fmla="*/ 5144400 h 5144400"/>
            </a:gdLst>
            <a:ahLst/>
            <a:cxnLst>
              <a:cxn ang="0">
                <a:pos x="connsiteX0" y="connsiteY0"/>
              </a:cxn>
              <a:cxn ang="0">
                <a:pos x="connsiteX1" y="connsiteY1"/>
              </a:cxn>
              <a:cxn ang="0">
                <a:pos x="connsiteX2" y="connsiteY2"/>
              </a:cxn>
              <a:cxn ang="0">
                <a:pos x="connsiteX3" y="connsiteY3"/>
              </a:cxn>
            </a:cxnLst>
            <a:rect l="l" t="t" r="r" b="b"/>
            <a:pathLst>
              <a:path w="5144400" h="5144400">
                <a:moveTo>
                  <a:pt x="0" y="0"/>
                </a:moveTo>
                <a:lnTo>
                  <a:pt x="5144400" y="0"/>
                </a:lnTo>
                <a:lnTo>
                  <a:pt x="5144400" y="5144400"/>
                </a:lnTo>
                <a:lnTo>
                  <a:pt x="0" y="5144400"/>
                </a:lnTo>
                <a:close/>
              </a:path>
            </a:pathLst>
          </a:custGeom>
          <a:noFill/>
          <a:ln w="26789" cap="flat">
            <a:noFill/>
            <a:prstDash val="solid"/>
            <a:miter/>
          </a:ln>
        </p:spPr>
        <p:txBody>
          <a:bodyPr rtlCol="0" anchor="ctr"/>
          <a:lstStyle/>
          <a:p>
            <a:endParaRPr lang="en-US" sz="3200"/>
          </a:p>
        </p:txBody>
      </p:sp>
      <p:sp>
        <p:nvSpPr>
          <p:cNvPr id="5" name="Freeform: Shape 4">
            <a:extLst>
              <a:ext uri="{FF2B5EF4-FFF2-40B4-BE49-F238E27FC236}">
                <a16:creationId xmlns:a16="http://schemas.microsoft.com/office/drawing/2014/main" id="{6585F427-7AA2-BA79-9FAB-3B20B348D66A}"/>
              </a:ext>
            </a:extLst>
          </p:cNvPr>
          <p:cNvSpPr/>
          <p:nvPr/>
        </p:nvSpPr>
        <p:spPr>
          <a:xfrm>
            <a:off x="0" y="-1200"/>
            <a:ext cx="6859200" cy="6859200"/>
          </a:xfrm>
          <a:custGeom>
            <a:avLst/>
            <a:gdLst>
              <a:gd name="connsiteX0" fmla="*/ 0 w 5144400"/>
              <a:gd name="connsiteY0" fmla="*/ 0 h 5144400"/>
              <a:gd name="connsiteX1" fmla="*/ 0 w 5144400"/>
              <a:gd name="connsiteY1" fmla="*/ 5144400 h 5144400"/>
              <a:gd name="connsiteX2" fmla="*/ 794971 w 5144400"/>
              <a:gd name="connsiteY2" fmla="*/ 5144400 h 5144400"/>
              <a:gd name="connsiteX3" fmla="*/ 794971 w 5144400"/>
              <a:gd name="connsiteY3" fmla="*/ 1741594 h 5144400"/>
              <a:gd name="connsiteX4" fmla="*/ 5144400 w 5144400"/>
              <a:gd name="connsiteY4" fmla="*/ 5144400 h 5144400"/>
              <a:gd name="connsiteX5" fmla="*/ 5144400 w 5144400"/>
              <a:gd name="connsiteY5" fmla="*/ 4142850 h 5144400"/>
              <a:gd name="connsiteX6" fmla="*/ 0 w 5144400"/>
              <a:gd name="connsiteY6" fmla="*/ 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4400" h="5144400">
                <a:moveTo>
                  <a:pt x="0" y="0"/>
                </a:moveTo>
                <a:lnTo>
                  <a:pt x="0" y="5144400"/>
                </a:lnTo>
                <a:cubicBezTo>
                  <a:pt x="0" y="5144400"/>
                  <a:pt x="794971" y="5144400"/>
                  <a:pt x="794971" y="5144400"/>
                </a:cubicBezTo>
                <a:lnTo>
                  <a:pt x="794971" y="1741594"/>
                </a:lnTo>
                <a:cubicBezTo>
                  <a:pt x="794971" y="1741594"/>
                  <a:pt x="5144400" y="5144400"/>
                  <a:pt x="5144400" y="5144400"/>
                </a:cubicBezTo>
                <a:lnTo>
                  <a:pt x="5144400" y="4142850"/>
                </a:lnTo>
                <a:lnTo>
                  <a:pt x="0" y="0"/>
                </a:lnTo>
                <a:close/>
              </a:path>
            </a:pathLst>
          </a:custGeom>
          <a:solidFill>
            <a:schemeClr val="accent1"/>
          </a:solidFill>
          <a:ln w="26789" cap="flat">
            <a:noFill/>
            <a:prstDash val="solid"/>
            <a:miter/>
          </a:ln>
        </p:spPr>
        <p:txBody>
          <a:bodyPr rtlCol="0" anchor="ctr"/>
          <a:lstStyle/>
          <a:p>
            <a:endParaRPr lang="en-US" sz="3200"/>
          </a:p>
        </p:txBody>
      </p:sp>
      <p:grpSp>
        <p:nvGrpSpPr>
          <p:cNvPr id="12" name="Graphic 3">
            <a:extLst>
              <a:ext uri="{FF2B5EF4-FFF2-40B4-BE49-F238E27FC236}">
                <a16:creationId xmlns:a16="http://schemas.microsoft.com/office/drawing/2014/main" id="{BBCFFB55-AEE0-B60F-9245-9C27632712D3}"/>
              </a:ext>
            </a:extLst>
          </p:cNvPr>
          <p:cNvGrpSpPr/>
          <p:nvPr userDrawn="1"/>
        </p:nvGrpSpPr>
        <p:grpSpPr>
          <a:xfrm>
            <a:off x="1649972" y="5976901"/>
            <a:ext cx="1817989" cy="409417"/>
            <a:chOff x="469958" y="1647414"/>
            <a:chExt cx="8205029" cy="1847802"/>
          </a:xfrm>
          <a:solidFill>
            <a:schemeClr val="accent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19" name="TextBox 18">
            <a:extLst>
              <a:ext uri="{FF2B5EF4-FFF2-40B4-BE49-F238E27FC236}">
                <a16:creationId xmlns:a16="http://schemas.microsoft.com/office/drawing/2014/main" id="{41F7AE0E-D196-9918-5EDB-E9F6D1F5BFCD}"/>
              </a:ext>
            </a:extLst>
          </p:cNvPr>
          <p:cNvSpPr txBox="1"/>
          <p:nvPr userDrawn="1"/>
        </p:nvSpPr>
        <p:spPr>
          <a:xfrm>
            <a:off x="10793089"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0" name="Slide Number Placeholder 5">
            <a:extLst>
              <a:ext uri="{FF2B5EF4-FFF2-40B4-BE49-F238E27FC236}">
                <a16:creationId xmlns:a16="http://schemas.microsoft.com/office/drawing/2014/main" id="{CE77B206-49F7-2B3D-46F6-5783EB06549D}"/>
              </a:ext>
            </a:extLst>
          </p:cNvPr>
          <p:cNvSpPr txBox="1">
            <a:spLocks/>
          </p:cNvSpPr>
          <p:nvPr userDrawn="1"/>
        </p:nvSpPr>
        <p:spPr>
          <a:xfrm>
            <a:off x="10445185"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Title 4">
            <a:extLst>
              <a:ext uri="{FF2B5EF4-FFF2-40B4-BE49-F238E27FC236}">
                <a16:creationId xmlns:a16="http://schemas.microsoft.com/office/drawing/2014/main" id="{D3CDCE65-9D09-8014-E0D4-FA37C5A40921}"/>
              </a:ext>
            </a:extLst>
          </p:cNvPr>
          <p:cNvSpPr>
            <a:spLocks noGrp="1"/>
          </p:cNvSpPr>
          <p:nvPr>
            <p:ph type="title" hasCustomPrompt="1"/>
          </p:nvPr>
        </p:nvSpPr>
        <p:spPr>
          <a:xfrm>
            <a:off x="5107197" y="959734"/>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22" name="Text Placeholder 3">
            <a:extLst>
              <a:ext uri="{FF2B5EF4-FFF2-40B4-BE49-F238E27FC236}">
                <a16:creationId xmlns:a16="http://schemas.microsoft.com/office/drawing/2014/main" id="{450AD0AE-26A9-7041-BAC9-7726260DC45A}"/>
              </a:ext>
            </a:extLst>
          </p:cNvPr>
          <p:cNvSpPr>
            <a:spLocks noGrp="1"/>
          </p:cNvSpPr>
          <p:nvPr>
            <p:ph type="body" sz="quarter" idx="12" hasCustomPrompt="1"/>
          </p:nvPr>
        </p:nvSpPr>
        <p:spPr>
          <a:xfrm>
            <a:off x="5107199" y="2834800"/>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426888010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3 O Blue green">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8A7CBB0-A767-7247-8638-81BC366967B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7BBDEA00-FE7A-639E-C16F-BC5E3DBD8FD3}"/>
              </a:ext>
            </a:extLst>
          </p:cNvPr>
          <p:cNvGrpSpPr/>
          <p:nvPr userDrawn="1"/>
        </p:nvGrpSpPr>
        <p:grpSpPr>
          <a:xfrm>
            <a:off x="9308199" y="3224293"/>
            <a:ext cx="1817989" cy="409417"/>
            <a:chOff x="469958" y="1647414"/>
            <a:chExt cx="8205029" cy="1847802"/>
          </a:xfrm>
          <a:solidFill>
            <a:schemeClr val="bg1"/>
          </a:solidFill>
        </p:grpSpPr>
        <p:sp>
          <p:nvSpPr>
            <p:cNvPr id="4" name="Freeform 24">
              <a:extLst>
                <a:ext uri="{FF2B5EF4-FFF2-40B4-BE49-F238E27FC236}">
                  <a16:creationId xmlns:a16="http://schemas.microsoft.com/office/drawing/2014/main" id="{0B5F76F9-295B-59E5-BDCF-8B6840E5B5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5" name="Freeform 25">
              <a:extLst>
                <a:ext uri="{FF2B5EF4-FFF2-40B4-BE49-F238E27FC236}">
                  <a16:creationId xmlns:a16="http://schemas.microsoft.com/office/drawing/2014/main" id="{B473941B-CE77-6414-782E-B5933651166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6" name="Freeform 26">
              <a:extLst>
                <a:ext uri="{FF2B5EF4-FFF2-40B4-BE49-F238E27FC236}">
                  <a16:creationId xmlns:a16="http://schemas.microsoft.com/office/drawing/2014/main" id="{03FCE4B1-384C-92A9-F114-45634B67A11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8" name="Freeform 27">
              <a:extLst>
                <a:ext uri="{FF2B5EF4-FFF2-40B4-BE49-F238E27FC236}">
                  <a16:creationId xmlns:a16="http://schemas.microsoft.com/office/drawing/2014/main" id="{16718376-BEBA-6EC2-B9BA-05AEA785303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12" name="Freeform 28">
              <a:extLst>
                <a:ext uri="{FF2B5EF4-FFF2-40B4-BE49-F238E27FC236}">
                  <a16:creationId xmlns:a16="http://schemas.microsoft.com/office/drawing/2014/main" id="{55E96EEC-F984-9065-5EAC-AF9297B31DF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pic>
        <p:nvPicPr>
          <p:cNvPr id="13" name="Graphic 12">
            <a:extLst>
              <a:ext uri="{FF2B5EF4-FFF2-40B4-BE49-F238E27FC236}">
                <a16:creationId xmlns:a16="http://schemas.microsoft.com/office/drawing/2014/main" id="{8CEF710E-39E1-082B-B52C-E37B4EEF550E}"/>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2" y="-6395"/>
            <a:ext cx="5356300" cy="6859200"/>
          </a:xfrm>
          <a:prstGeom prst="rect">
            <a:avLst/>
          </a:prstGeom>
        </p:spPr>
      </p:pic>
      <p:sp>
        <p:nvSpPr>
          <p:cNvPr id="9" name="Title 4">
            <a:extLst>
              <a:ext uri="{FF2B5EF4-FFF2-40B4-BE49-F238E27FC236}">
                <a16:creationId xmlns:a16="http://schemas.microsoft.com/office/drawing/2014/main" id="{9A3B12B3-A799-7EB4-75DA-BC0A7D70161D}"/>
              </a:ext>
            </a:extLst>
          </p:cNvPr>
          <p:cNvSpPr>
            <a:spLocks noGrp="1"/>
          </p:cNvSpPr>
          <p:nvPr>
            <p:ph type="title" hasCustomPrompt="1"/>
          </p:nvPr>
        </p:nvSpPr>
        <p:spPr>
          <a:xfrm>
            <a:off x="556708" y="1200002"/>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0" name="Text Placeholder 3">
            <a:extLst>
              <a:ext uri="{FF2B5EF4-FFF2-40B4-BE49-F238E27FC236}">
                <a16:creationId xmlns:a16="http://schemas.microsoft.com/office/drawing/2014/main" id="{BEDD8338-5A64-469A-E2DB-DF91FC185624}"/>
              </a:ext>
            </a:extLst>
          </p:cNvPr>
          <p:cNvSpPr>
            <a:spLocks noGrp="1"/>
          </p:cNvSpPr>
          <p:nvPr>
            <p:ph type="body" sz="quarter" idx="12" hasCustomPrompt="1"/>
          </p:nvPr>
        </p:nvSpPr>
        <p:spPr>
          <a:xfrm>
            <a:off x="556709" y="3120002"/>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8" name="TextBox 17">
            <a:extLst>
              <a:ext uri="{FF2B5EF4-FFF2-40B4-BE49-F238E27FC236}">
                <a16:creationId xmlns:a16="http://schemas.microsoft.com/office/drawing/2014/main" id="{8BB79C81-C7D6-4DE3-0A04-D7E02DD8C66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A910EA0-FECD-D7DE-120C-8BC301ED58FF}"/>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117802343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3 O Blue pink">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6" name="Graphic 3">
            <a:extLst>
              <a:ext uri="{FF2B5EF4-FFF2-40B4-BE49-F238E27FC236}">
                <a16:creationId xmlns:a16="http://schemas.microsoft.com/office/drawing/2014/main" id="{7ADBC276-24FC-31B1-198D-D0A0EB5188BB}"/>
              </a:ext>
            </a:extLst>
          </p:cNvPr>
          <p:cNvGrpSpPr/>
          <p:nvPr userDrawn="1"/>
        </p:nvGrpSpPr>
        <p:grpSpPr>
          <a:xfrm>
            <a:off x="9308199" y="3224293"/>
            <a:ext cx="1817989" cy="409417"/>
            <a:chOff x="469958" y="1647414"/>
            <a:chExt cx="8205029" cy="1847802"/>
          </a:xfrm>
          <a:solidFill>
            <a:schemeClr val="bg1"/>
          </a:solidFill>
        </p:grpSpPr>
        <p:sp>
          <p:nvSpPr>
            <p:cNvPr id="7" name="Freeform 24">
              <a:extLst>
                <a:ext uri="{FF2B5EF4-FFF2-40B4-BE49-F238E27FC236}">
                  <a16:creationId xmlns:a16="http://schemas.microsoft.com/office/drawing/2014/main" id="{CDDE8834-7F71-A488-29A8-540395324479}"/>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8" name="Freeform 25">
              <a:extLst>
                <a:ext uri="{FF2B5EF4-FFF2-40B4-BE49-F238E27FC236}">
                  <a16:creationId xmlns:a16="http://schemas.microsoft.com/office/drawing/2014/main" id="{FEFA04F6-2C3F-3E38-9E08-D6990D946A8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9" name="Freeform 26">
              <a:extLst>
                <a:ext uri="{FF2B5EF4-FFF2-40B4-BE49-F238E27FC236}">
                  <a16:creationId xmlns:a16="http://schemas.microsoft.com/office/drawing/2014/main" id="{54253727-9053-862A-19CB-32DD1616812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12" name="Freeform 27">
              <a:extLst>
                <a:ext uri="{FF2B5EF4-FFF2-40B4-BE49-F238E27FC236}">
                  <a16:creationId xmlns:a16="http://schemas.microsoft.com/office/drawing/2014/main" id="{6E5204B2-3785-90DB-45F2-F73CC497595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13" name="Freeform 28">
              <a:extLst>
                <a:ext uri="{FF2B5EF4-FFF2-40B4-BE49-F238E27FC236}">
                  <a16:creationId xmlns:a16="http://schemas.microsoft.com/office/drawing/2014/main" id="{95BC05DD-4D63-F05A-843F-EE491020FFD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pic>
        <p:nvPicPr>
          <p:cNvPr id="14" name="Graphic 13">
            <a:extLst>
              <a:ext uri="{FF2B5EF4-FFF2-40B4-BE49-F238E27FC236}">
                <a16:creationId xmlns:a16="http://schemas.microsoft.com/office/drawing/2014/main" id="{F41E3DBD-A4E2-6EF5-8073-EED87395D745}"/>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2" y="-6395"/>
            <a:ext cx="5356300" cy="6859200"/>
          </a:xfrm>
          <a:prstGeom prst="rect">
            <a:avLst/>
          </a:prstGeom>
        </p:spPr>
      </p:pic>
      <p:sp>
        <p:nvSpPr>
          <p:cNvPr id="11" name="TextBox 10">
            <a:extLst>
              <a:ext uri="{FF2B5EF4-FFF2-40B4-BE49-F238E27FC236}">
                <a16:creationId xmlns:a16="http://schemas.microsoft.com/office/drawing/2014/main" id="{79647D8A-35E4-5375-137D-AE3FBB59F9F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17E9E3A5-43FE-813E-B36E-00A287E16B3E}"/>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Title 4">
            <a:extLst>
              <a:ext uri="{FF2B5EF4-FFF2-40B4-BE49-F238E27FC236}">
                <a16:creationId xmlns:a16="http://schemas.microsoft.com/office/drawing/2014/main" id="{CA265AEB-E893-7C5A-2089-F8668DD28ED9}"/>
              </a:ext>
            </a:extLst>
          </p:cNvPr>
          <p:cNvSpPr>
            <a:spLocks noGrp="1"/>
          </p:cNvSpPr>
          <p:nvPr>
            <p:ph type="title" hasCustomPrompt="1"/>
          </p:nvPr>
        </p:nvSpPr>
        <p:spPr>
          <a:xfrm>
            <a:off x="556708" y="1200002"/>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9" name="Text Placeholder 3">
            <a:extLst>
              <a:ext uri="{FF2B5EF4-FFF2-40B4-BE49-F238E27FC236}">
                <a16:creationId xmlns:a16="http://schemas.microsoft.com/office/drawing/2014/main" id="{89A21839-5A3E-48C8-8C8A-66E6CF919C97}"/>
              </a:ext>
            </a:extLst>
          </p:cNvPr>
          <p:cNvSpPr>
            <a:spLocks noGrp="1"/>
          </p:cNvSpPr>
          <p:nvPr>
            <p:ph type="body" sz="quarter" idx="12" hasCustomPrompt="1"/>
          </p:nvPr>
        </p:nvSpPr>
        <p:spPr>
          <a:xfrm>
            <a:off x="556709" y="3120002"/>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10602522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2 Title slide with media 2">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Box 4">
            <a:extLst>
              <a:ext uri="{FF2B5EF4-FFF2-40B4-BE49-F238E27FC236}">
                <a16:creationId xmlns:a16="http://schemas.microsoft.com/office/drawing/2014/main" id="{44F7A0E6-27FB-B6FF-2E31-5A6107DF4D1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F2544C4-9B73-80CB-B1AE-384180132B7C}"/>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612FBD75-FC64-31E3-3F75-9DAE4224DD4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ECE578A4-6CB9-C574-603A-6A6E64EB149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99112137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3 O Blue green 2">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9308199" y="3224293"/>
            <a:ext cx="1817989" cy="409417"/>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2" y="-6395"/>
            <a:ext cx="5356300" cy="6859200"/>
          </a:xfrm>
          <a:prstGeom prst="rect">
            <a:avLst/>
          </a:prstGeom>
        </p:spPr>
      </p:pic>
      <p:sp>
        <p:nvSpPr>
          <p:cNvPr id="4" name="TextBox 3">
            <a:extLst>
              <a:ext uri="{FF2B5EF4-FFF2-40B4-BE49-F238E27FC236}">
                <a16:creationId xmlns:a16="http://schemas.microsoft.com/office/drawing/2014/main" id="{5054EB9F-8927-A3FE-8B84-2A5DA2E7EB1F}"/>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E1049C86-481E-BCA9-382A-A561EA22CA19}"/>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6" name="Title 4">
            <a:extLst>
              <a:ext uri="{FF2B5EF4-FFF2-40B4-BE49-F238E27FC236}">
                <a16:creationId xmlns:a16="http://schemas.microsoft.com/office/drawing/2014/main" id="{D06AC820-889D-342D-C4F1-65579046FEB3}"/>
              </a:ext>
            </a:extLst>
          </p:cNvPr>
          <p:cNvSpPr>
            <a:spLocks noGrp="1"/>
          </p:cNvSpPr>
          <p:nvPr>
            <p:ph type="title" hasCustomPrompt="1"/>
          </p:nvPr>
        </p:nvSpPr>
        <p:spPr>
          <a:xfrm>
            <a:off x="556708" y="1200002"/>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0" name="Text Placeholder 3">
            <a:extLst>
              <a:ext uri="{FF2B5EF4-FFF2-40B4-BE49-F238E27FC236}">
                <a16:creationId xmlns:a16="http://schemas.microsoft.com/office/drawing/2014/main" id="{38C0E4A4-2F9E-C493-382A-9CBF0ED8AD5E}"/>
              </a:ext>
            </a:extLst>
          </p:cNvPr>
          <p:cNvSpPr>
            <a:spLocks noGrp="1"/>
          </p:cNvSpPr>
          <p:nvPr>
            <p:ph type="body" sz="quarter" idx="12" hasCustomPrompt="1"/>
          </p:nvPr>
        </p:nvSpPr>
        <p:spPr>
          <a:xfrm>
            <a:off x="556709" y="3120002"/>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54217469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3 O Blue green">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8A7CBB0-A767-7247-8638-81BC366967B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7BBDEA00-FE7A-639E-C16F-BC5E3DBD8FD3}"/>
              </a:ext>
            </a:extLst>
          </p:cNvPr>
          <p:cNvGrpSpPr/>
          <p:nvPr userDrawn="1"/>
        </p:nvGrpSpPr>
        <p:grpSpPr>
          <a:xfrm>
            <a:off x="9308199" y="3224293"/>
            <a:ext cx="1817989" cy="409417"/>
            <a:chOff x="469958" y="1647414"/>
            <a:chExt cx="8205029" cy="1847802"/>
          </a:xfrm>
          <a:solidFill>
            <a:schemeClr val="bg1"/>
          </a:solidFill>
        </p:grpSpPr>
        <p:sp>
          <p:nvSpPr>
            <p:cNvPr id="4" name="Freeform 24">
              <a:extLst>
                <a:ext uri="{FF2B5EF4-FFF2-40B4-BE49-F238E27FC236}">
                  <a16:creationId xmlns:a16="http://schemas.microsoft.com/office/drawing/2014/main" id="{0B5F76F9-295B-59E5-BDCF-8B6840E5B5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5" name="Freeform 25">
              <a:extLst>
                <a:ext uri="{FF2B5EF4-FFF2-40B4-BE49-F238E27FC236}">
                  <a16:creationId xmlns:a16="http://schemas.microsoft.com/office/drawing/2014/main" id="{B473941B-CE77-6414-782E-B5933651166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6" name="Freeform 26">
              <a:extLst>
                <a:ext uri="{FF2B5EF4-FFF2-40B4-BE49-F238E27FC236}">
                  <a16:creationId xmlns:a16="http://schemas.microsoft.com/office/drawing/2014/main" id="{03FCE4B1-384C-92A9-F114-45634B67A11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8" name="Freeform 27">
              <a:extLst>
                <a:ext uri="{FF2B5EF4-FFF2-40B4-BE49-F238E27FC236}">
                  <a16:creationId xmlns:a16="http://schemas.microsoft.com/office/drawing/2014/main" id="{16718376-BEBA-6EC2-B9BA-05AEA785303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12" name="Freeform 28">
              <a:extLst>
                <a:ext uri="{FF2B5EF4-FFF2-40B4-BE49-F238E27FC236}">
                  <a16:creationId xmlns:a16="http://schemas.microsoft.com/office/drawing/2014/main" id="{55E96EEC-F984-9065-5EAC-AF9297B31DF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pic>
        <p:nvPicPr>
          <p:cNvPr id="13" name="Graphic 12">
            <a:extLst>
              <a:ext uri="{FF2B5EF4-FFF2-40B4-BE49-F238E27FC236}">
                <a16:creationId xmlns:a16="http://schemas.microsoft.com/office/drawing/2014/main" id="{8CEF710E-39E1-082B-B52C-E37B4EEF550E}"/>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2" y="-6395"/>
            <a:ext cx="5356300" cy="6859200"/>
          </a:xfrm>
          <a:prstGeom prst="rect">
            <a:avLst/>
          </a:prstGeom>
        </p:spPr>
      </p:pic>
      <p:sp>
        <p:nvSpPr>
          <p:cNvPr id="9" name="Title 4">
            <a:extLst>
              <a:ext uri="{FF2B5EF4-FFF2-40B4-BE49-F238E27FC236}">
                <a16:creationId xmlns:a16="http://schemas.microsoft.com/office/drawing/2014/main" id="{9A3B12B3-A799-7EB4-75DA-BC0A7D70161D}"/>
              </a:ext>
            </a:extLst>
          </p:cNvPr>
          <p:cNvSpPr>
            <a:spLocks noGrp="1"/>
          </p:cNvSpPr>
          <p:nvPr>
            <p:ph type="title" hasCustomPrompt="1"/>
          </p:nvPr>
        </p:nvSpPr>
        <p:spPr>
          <a:xfrm>
            <a:off x="556708" y="1200002"/>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0" name="Text Placeholder 3">
            <a:extLst>
              <a:ext uri="{FF2B5EF4-FFF2-40B4-BE49-F238E27FC236}">
                <a16:creationId xmlns:a16="http://schemas.microsoft.com/office/drawing/2014/main" id="{BEDD8338-5A64-469A-E2DB-DF91FC185624}"/>
              </a:ext>
            </a:extLst>
          </p:cNvPr>
          <p:cNvSpPr>
            <a:spLocks noGrp="1"/>
          </p:cNvSpPr>
          <p:nvPr>
            <p:ph type="body" sz="quarter" idx="12" hasCustomPrompt="1"/>
          </p:nvPr>
        </p:nvSpPr>
        <p:spPr>
          <a:xfrm>
            <a:off x="556709" y="3120002"/>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8" name="TextBox 17">
            <a:extLst>
              <a:ext uri="{FF2B5EF4-FFF2-40B4-BE49-F238E27FC236}">
                <a16:creationId xmlns:a16="http://schemas.microsoft.com/office/drawing/2014/main" id="{8BB79C81-C7D6-4DE3-0A04-D7E02DD8C66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A910EA0-FECD-D7DE-120C-8BC301ED58FF}"/>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00833066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3 O Blue pink">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6" name="Graphic 3">
            <a:extLst>
              <a:ext uri="{FF2B5EF4-FFF2-40B4-BE49-F238E27FC236}">
                <a16:creationId xmlns:a16="http://schemas.microsoft.com/office/drawing/2014/main" id="{7ADBC276-24FC-31B1-198D-D0A0EB5188BB}"/>
              </a:ext>
            </a:extLst>
          </p:cNvPr>
          <p:cNvGrpSpPr/>
          <p:nvPr userDrawn="1"/>
        </p:nvGrpSpPr>
        <p:grpSpPr>
          <a:xfrm>
            <a:off x="9308199" y="3224293"/>
            <a:ext cx="1817989" cy="409417"/>
            <a:chOff x="469958" y="1647414"/>
            <a:chExt cx="8205029" cy="1847802"/>
          </a:xfrm>
          <a:solidFill>
            <a:schemeClr val="bg1"/>
          </a:solidFill>
        </p:grpSpPr>
        <p:sp>
          <p:nvSpPr>
            <p:cNvPr id="7" name="Freeform 24">
              <a:extLst>
                <a:ext uri="{FF2B5EF4-FFF2-40B4-BE49-F238E27FC236}">
                  <a16:creationId xmlns:a16="http://schemas.microsoft.com/office/drawing/2014/main" id="{CDDE8834-7F71-A488-29A8-540395324479}"/>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8" name="Freeform 25">
              <a:extLst>
                <a:ext uri="{FF2B5EF4-FFF2-40B4-BE49-F238E27FC236}">
                  <a16:creationId xmlns:a16="http://schemas.microsoft.com/office/drawing/2014/main" id="{FEFA04F6-2C3F-3E38-9E08-D6990D946A8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9" name="Freeform 26">
              <a:extLst>
                <a:ext uri="{FF2B5EF4-FFF2-40B4-BE49-F238E27FC236}">
                  <a16:creationId xmlns:a16="http://schemas.microsoft.com/office/drawing/2014/main" id="{54253727-9053-862A-19CB-32DD1616812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12" name="Freeform 27">
              <a:extLst>
                <a:ext uri="{FF2B5EF4-FFF2-40B4-BE49-F238E27FC236}">
                  <a16:creationId xmlns:a16="http://schemas.microsoft.com/office/drawing/2014/main" id="{6E5204B2-3785-90DB-45F2-F73CC497595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13" name="Freeform 28">
              <a:extLst>
                <a:ext uri="{FF2B5EF4-FFF2-40B4-BE49-F238E27FC236}">
                  <a16:creationId xmlns:a16="http://schemas.microsoft.com/office/drawing/2014/main" id="{95BC05DD-4D63-F05A-843F-EE491020FFD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pic>
        <p:nvPicPr>
          <p:cNvPr id="14" name="Graphic 13">
            <a:extLst>
              <a:ext uri="{FF2B5EF4-FFF2-40B4-BE49-F238E27FC236}">
                <a16:creationId xmlns:a16="http://schemas.microsoft.com/office/drawing/2014/main" id="{F41E3DBD-A4E2-6EF5-8073-EED87395D745}"/>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2" y="-6395"/>
            <a:ext cx="5356300" cy="6859200"/>
          </a:xfrm>
          <a:prstGeom prst="rect">
            <a:avLst/>
          </a:prstGeom>
        </p:spPr>
      </p:pic>
      <p:sp>
        <p:nvSpPr>
          <p:cNvPr id="11" name="TextBox 10">
            <a:extLst>
              <a:ext uri="{FF2B5EF4-FFF2-40B4-BE49-F238E27FC236}">
                <a16:creationId xmlns:a16="http://schemas.microsoft.com/office/drawing/2014/main" id="{79647D8A-35E4-5375-137D-AE3FBB59F9F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17E9E3A5-43FE-813E-B36E-00A287E16B3E}"/>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Title 4">
            <a:extLst>
              <a:ext uri="{FF2B5EF4-FFF2-40B4-BE49-F238E27FC236}">
                <a16:creationId xmlns:a16="http://schemas.microsoft.com/office/drawing/2014/main" id="{CA265AEB-E893-7C5A-2089-F8668DD28ED9}"/>
              </a:ext>
            </a:extLst>
          </p:cNvPr>
          <p:cNvSpPr>
            <a:spLocks noGrp="1"/>
          </p:cNvSpPr>
          <p:nvPr>
            <p:ph type="title" hasCustomPrompt="1"/>
          </p:nvPr>
        </p:nvSpPr>
        <p:spPr>
          <a:xfrm>
            <a:off x="556708" y="1200002"/>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9" name="Text Placeholder 3">
            <a:extLst>
              <a:ext uri="{FF2B5EF4-FFF2-40B4-BE49-F238E27FC236}">
                <a16:creationId xmlns:a16="http://schemas.microsoft.com/office/drawing/2014/main" id="{89A21839-5A3E-48C8-8C8A-66E6CF919C97}"/>
              </a:ext>
            </a:extLst>
          </p:cNvPr>
          <p:cNvSpPr>
            <a:spLocks noGrp="1"/>
          </p:cNvSpPr>
          <p:nvPr>
            <p:ph type="body" sz="quarter" idx="12" hasCustomPrompt="1"/>
          </p:nvPr>
        </p:nvSpPr>
        <p:spPr>
          <a:xfrm>
            <a:off x="556709" y="3120002"/>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195228196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3 O Blue green 2">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9308199" y="3224293"/>
            <a:ext cx="1817989" cy="409417"/>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2" y="-6395"/>
            <a:ext cx="5356300" cy="6859200"/>
          </a:xfrm>
          <a:prstGeom prst="rect">
            <a:avLst/>
          </a:prstGeom>
        </p:spPr>
      </p:pic>
      <p:sp>
        <p:nvSpPr>
          <p:cNvPr id="4" name="TextBox 3">
            <a:extLst>
              <a:ext uri="{FF2B5EF4-FFF2-40B4-BE49-F238E27FC236}">
                <a16:creationId xmlns:a16="http://schemas.microsoft.com/office/drawing/2014/main" id="{5054EB9F-8927-A3FE-8B84-2A5DA2E7EB1F}"/>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E1049C86-481E-BCA9-382A-A561EA22CA19}"/>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6" name="Title 4">
            <a:extLst>
              <a:ext uri="{FF2B5EF4-FFF2-40B4-BE49-F238E27FC236}">
                <a16:creationId xmlns:a16="http://schemas.microsoft.com/office/drawing/2014/main" id="{D06AC820-889D-342D-C4F1-65579046FEB3}"/>
              </a:ext>
            </a:extLst>
          </p:cNvPr>
          <p:cNvSpPr>
            <a:spLocks noGrp="1"/>
          </p:cNvSpPr>
          <p:nvPr>
            <p:ph type="title" hasCustomPrompt="1"/>
          </p:nvPr>
        </p:nvSpPr>
        <p:spPr>
          <a:xfrm>
            <a:off x="556708" y="1200002"/>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0" name="Text Placeholder 3">
            <a:extLst>
              <a:ext uri="{FF2B5EF4-FFF2-40B4-BE49-F238E27FC236}">
                <a16:creationId xmlns:a16="http://schemas.microsoft.com/office/drawing/2014/main" id="{38C0E4A4-2F9E-C493-382A-9CBF0ED8AD5E}"/>
              </a:ext>
            </a:extLst>
          </p:cNvPr>
          <p:cNvSpPr>
            <a:spLocks noGrp="1"/>
          </p:cNvSpPr>
          <p:nvPr>
            <p:ph type="body" sz="quarter" idx="12" hasCustomPrompt="1"/>
          </p:nvPr>
        </p:nvSpPr>
        <p:spPr>
          <a:xfrm>
            <a:off x="556709" y="3120002"/>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421663267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3 O White">
    <p:spTree>
      <p:nvGrpSpPr>
        <p:cNvPr id="1" name=""/>
        <p:cNvGrpSpPr/>
        <p:nvPr/>
      </p:nvGrpSpPr>
      <p:grpSpPr>
        <a:xfrm>
          <a:off x="0" y="0"/>
          <a:ext cx="0" cy="0"/>
          <a:chOff x="0" y="0"/>
          <a:chExt cx="0" cy="0"/>
        </a:xfrm>
      </p:grpSpPr>
      <p:grpSp>
        <p:nvGrpSpPr>
          <p:cNvPr id="7" name="Graphic 3">
            <a:extLst>
              <a:ext uri="{FF2B5EF4-FFF2-40B4-BE49-F238E27FC236}">
                <a16:creationId xmlns:a16="http://schemas.microsoft.com/office/drawing/2014/main" id="{57ADD6F0-8A1D-2465-892B-42BFF999186F}"/>
              </a:ext>
            </a:extLst>
          </p:cNvPr>
          <p:cNvGrpSpPr/>
          <p:nvPr userDrawn="1"/>
        </p:nvGrpSpPr>
        <p:grpSpPr>
          <a:xfrm>
            <a:off x="9407772" y="3224293"/>
            <a:ext cx="1817989" cy="409417"/>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pic>
        <p:nvPicPr>
          <p:cNvPr id="20" name="Picture 19" descr="Circle&#10;&#10;Description automatically generated with medium confidence">
            <a:extLst>
              <a:ext uri="{FF2B5EF4-FFF2-40B4-BE49-F238E27FC236}">
                <a16:creationId xmlns:a16="http://schemas.microsoft.com/office/drawing/2014/main" id="{87D5AF06-6AF8-9002-BEDC-176CB57496A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25084"/>
          <a:stretch/>
        </p:blipFill>
        <p:spPr>
          <a:xfrm>
            <a:off x="6835702" y="0"/>
            <a:ext cx="5356300" cy="6858000"/>
          </a:xfrm>
          <a:prstGeom prst="rect">
            <a:avLst/>
          </a:prstGeom>
        </p:spPr>
      </p:pic>
      <p:sp>
        <p:nvSpPr>
          <p:cNvPr id="5" name="TextBox 4">
            <a:extLst>
              <a:ext uri="{FF2B5EF4-FFF2-40B4-BE49-F238E27FC236}">
                <a16:creationId xmlns:a16="http://schemas.microsoft.com/office/drawing/2014/main" id="{0A7A7115-EA83-4FF6-C9AA-23524B051F64}"/>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74832A1-1A29-5A85-3CD7-02108B35D949}"/>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4" name="Title 4">
            <a:extLst>
              <a:ext uri="{FF2B5EF4-FFF2-40B4-BE49-F238E27FC236}">
                <a16:creationId xmlns:a16="http://schemas.microsoft.com/office/drawing/2014/main" id="{2EB43E8F-27C8-8759-7A98-CAA935E7823A}"/>
              </a:ext>
            </a:extLst>
          </p:cNvPr>
          <p:cNvSpPr>
            <a:spLocks noGrp="1"/>
          </p:cNvSpPr>
          <p:nvPr>
            <p:ph type="title" hasCustomPrompt="1"/>
          </p:nvPr>
        </p:nvSpPr>
        <p:spPr>
          <a:xfrm>
            <a:off x="556708" y="1200002"/>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15" name="Text Placeholder 3">
            <a:extLst>
              <a:ext uri="{FF2B5EF4-FFF2-40B4-BE49-F238E27FC236}">
                <a16:creationId xmlns:a16="http://schemas.microsoft.com/office/drawing/2014/main" id="{CE8D2D46-B066-616E-7306-CE64233C730C}"/>
              </a:ext>
            </a:extLst>
          </p:cNvPr>
          <p:cNvSpPr>
            <a:spLocks noGrp="1"/>
          </p:cNvSpPr>
          <p:nvPr>
            <p:ph type="body" sz="quarter" idx="12" hasCustomPrompt="1"/>
          </p:nvPr>
        </p:nvSpPr>
        <p:spPr>
          <a:xfrm>
            <a:off x="556709" y="3120002"/>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452288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7_3 K Red orange">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38FCEB48-BE41-308F-33AB-94163C02BF5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10" name="Graphic 9">
            <a:extLst>
              <a:ext uri="{FF2B5EF4-FFF2-40B4-BE49-F238E27FC236}">
                <a16:creationId xmlns:a16="http://schemas.microsoft.com/office/drawing/2014/main" id="{193793F7-1073-3781-E44D-DD541B786672}"/>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sp>
        <p:nvSpPr>
          <p:cNvPr id="17" name="Title 4">
            <a:extLst>
              <a:ext uri="{FF2B5EF4-FFF2-40B4-BE49-F238E27FC236}">
                <a16:creationId xmlns:a16="http://schemas.microsoft.com/office/drawing/2014/main" id="{4A761E77-5CBD-451F-FA38-EA3EF19CE9E8}"/>
              </a:ext>
            </a:extLst>
          </p:cNvPr>
          <p:cNvSpPr>
            <a:spLocks noGrp="1"/>
          </p:cNvSpPr>
          <p:nvPr>
            <p:ph type="title" hasCustomPrompt="1"/>
          </p:nvPr>
        </p:nvSpPr>
        <p:spPr>
          <a:xfrm>
            <a:off x="556708" y="2179566"/>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8" name="Text Placeholder 3">
            <a:extLst>
              <a:ext uri="{FF2B5EF4-FFF2-40B4-BE49-F238E27FC236}">
                <a16:creationId xmlns:a16="http://schemas.microsoft.com/office/drawing/2014/main" id="{1349CF4D-C3F5-69B9-4227-EC331C16F094}"/>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6" name="Graphic 3">
            <a:extLst>
              <a:ext uri="{FF2B5EF4-FFF2-40B4-BE49-F238E27FC236}">
                <a16:creationId xmlns:a16="http://schemas.microsoft.com/office/drawing/2014/main" id="{5A3F8AE7-69F1-0171-3222-4CFFCDB4F568}"/>
              </a:ext>
            </a:extLst>
          </p:cNvPr>
          <p:cNvGrpSpPr/>
          <p:nvPr userDrawn="1"/>
        </p:nvGrpSpPr>
        <p:grpSpPr>
          <a:xfrm>
            <a:off x="9407772" y="3224293"/>
            <a:ext cx="1817989" cy="409417"/>
            <a:chOff x="469958" y="1647414"/>
            <a:chExt cx="8205029" cy="1847802"/>
          </a:xfrm>
          <a:solidFill>
            <a:schemeClr val="bg1"/>
          </a:solidFill>
        </p:grpSpPr>
        <p:sp>
          <p:nvSpPr>
            <p:cNvPr id="7" name="Freeform 25">
              <a:extLst>
                <a:ext uri="{FF2B5EF4-FFF2-40B4-BE49-F238E27FC236}">
                  <a16:creationId xmlns:a16="http://schemas.microsoft.com/office/drawing/2014/main" id="{0DE2A214-8055-F089-C6C4-415D2FEE42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8" name="Freeform 31">
              <a:extLst>
                <a:ext uri="{FF2B5EF4-FFF2-40B4-BE49-F238E27FC236}">
                  <a16:creationId xmlns:a16="http://schemas.microsoft.com/office/drawing/2014/main" id="{E7E7B380-ABE2-70DF-A29A-E3B4A181FA12}"/>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9" name="Freeform 32">
              <a:extLst>
                <a:ext uri="{FF2B5EF4-FFF2-40B4-BE49-F238E27FC236}">
                  <a16:creationId xmlns:a16="http://schemas.microsoft.com/office/drawing/2014/main" id="{ED784E94-97A9-B627-1E07-7CAEF44EE8A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1" name="Freeform 33">
              <a:extLst>
                <a:ext uri="{FF2B5EF4-FFF2-40B4-BE49-F238E27FC236}">
                  <a16:creationId xmlns:a16="http://schemas.microsoft.com/office/drawing/2014/main" id="{31E44308-7765-3146-1869-04D3DA41235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4">
              <a:extLst>
                <a:ext uri="{FF2B5EF4-FFF2-40B4-BE49-F238E27FC236}">
                  <a16:creationId xmlns:a16="http://schemas.microsoft.com/office/drawing/2014/main" id="{5E9E56FD-C856-3054-AB6B-A80BA7D6C55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2" name="TextBox 1">
            <a:extLst>
              <a:ext uri="{FF2B5EF4-FFF2-40B4-BE49-F238E27FC236}">
                <a16:creationId xmlns:a16="http://schemas.microsoft.com/office/drawing/2014/main" id="{DF372165-1480-FF4B-FD8E-0169E8CD1957}"/>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885AEDB-ED41-584E-391C-1747DAD5043C}"/>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409015277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2_3 K Blue">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8FF1A58D-53A4-65F6-8F2B-645D65C533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5166BBE5-C86E-3E87-A7C5-F29BE64D716D}"/>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grpSp>
        <p:nvGrpSpPr>
          <p:cNvPr id="7" name="Graphic 3">
            <a:extLst>
              <a:ext uri="{FF2B5EF4-FFF2-40B4-BE49-F238E27FC236}">
                <a16:creationId xmlns:a16="http://schemas.microsoft.com/office/drawing/2014/main" id="{47BEB086-B161-40ED-B2E3-DDF397278FA8}"/>
              </a:ext>
            </a:extLst>
          </p:cNvPr>
          <p:cNvGrpSpPr/>
          <p:nvPr userDrawn="1"/>
        </p:nvGrpSpPr>
        <p:grpSpPr>
          <a:xfrm>
            <a:off x="9407772" y="3224293"/>
            <a:ext cx="1817989" cy="409417"/>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6" name="TextBox 5">
            <a:extLst>
              <a:ext uri="{FF2B5EF4-FFF2-40B4-BE49-F238E27FC236}">
                <a16:creationId xmlns:a16="http://schemas.microsoft.com/office/drawing/2014/main" id="{D8B4807D-C6CB-B42F-7CAC-4B1E0264A613}"/>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7A5600B8-EF33-4C46-87E9-1A51B9580A90}"/>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Title 4">
            <a:extLst>
              <a:ext uri="{FF2B5EF4-FFF2-40B4-BE49-F238E27FC236}">
                <a16:creationId xmlns:a16="http://schemas.microsoft.com/office/drawing/2014/main" id="{651B7E9D-D552-81A8-07CE-C85143F970BC}"/>
              </a:ext>
            </a:extLst>
          </p:cNvPr>
          <p:cNvSpPr>
            <a:spLocks noGrp="1"/>
          </p:cNvSpPr>
          <p:nvPr>
            <p:ph type="title" hasCustomPrompt="1"/>
          </p:nvPr>
        </p:nvSpPr>
        <p:spPr>
          <a:xfrm>
            <a:off x="556708" y="2179566"/>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6" name="Text Placeholder 3">
            <a:extLst>
              <a:ext uri="{FF2B5EF4-FFF2-40B4-BE49-F238E27FC236}">
                <a16:creationId xmlns:a16="http://schemas.microsoft.com/office/drawing/2014/main" id="{2BF972D4-3000-87A0-9E6C-C622A2B7C6C0}"/>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72741649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3 K Red orange">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38FCEB48-BE41-308F-33AB-94163C02BF5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10" name="Graphic 9">
            <a:extLst>
              <a:ext uri="{FF2B5EF4-FFF2-40B4-BE49-F238E27FC236}">
                <a16:creationId xmlns:a16="http://schemas.microsoft.com/office/drawing/2014/main" id="{193793F7-1073-3781-E44D-DD541B786672}"/>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sp>
        <p:nvSpPr>
          <p:cNvPr id="17" name="Title 4">
            <a:extLst>
              <a:ext uri="{FF2B5EF4-FFF2-40B4-BE49-F238E27FC236}">
                <a16:creationId xmlns:a16="http://schemas.microsoft.com/office/drawing/2014/main" id="{4A761E77-5CBD-451F-FA38-EA3EF19CE9E8}"/>
              </a:ext>
            </a:extLst>
          </p:cNvPr>
          <p:cNvSpPr>
            <a:spLocks noGrp="1"/>
          </p:cNvSpPr>
          <p:nvPr>
            <p:ph type="title" hasCustomPrompt="1"/>
          </p:nvPr>
        </p:nvSpPr>
        <p:spPr>
          <a:xfrm>
            <a:off x="556708" y="2179566"/>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8" name="Text Placeholder 3">
            <a:extLst>
              <a:ext uri="{FF2B5EF4-FFF2-40B4-BE49-F238E27FC236}">
                <a16:creationId xmlns:a16="http://schemas.microsoft.com/office/drawing/2014/main" id="{1349CF4D-C3F5-69B9-4227-EC331C16F094}"/>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6" name="Graphic 3">
            <a:extLst>
              <a:ext uri="{FF2B5EF4-FFF2-40B4-BE49-F238E27FC236}">
                <a16:creationId xmlns:a16="http://schemas.microsoft.com/office/drawing/2014/main" id="{5A3F8AE7-69F1-0171-3222-4CFFCDB4F568}"/>
              </a:ext>
            </a:extLst>
          </p:cNvPr>
          <p:cNvGrpSpPr/>
          <p:nvPr userDrawn="1"/>
        </p:nvGrpSpPr>
        <p:grpSpPr>
          <a:xfrm>
            <a:off x="9407772" y="3224293"/>
            <a:ext cx="1817989" cy="409417"/>
            <a:chOff x="469958" y="1647414"/>
            <a:chExt cx="8205029" cy="1847802"/>
          </a:xfrm>
          <a:solidFill>
            <a:schemeClr val="bg1"/>
          </a:solidFill>
        </p:grpSpPr>
        <p:sp>
          <p:nvSpPr>
            <p:cNvPr id="7" name="Freeform 25">
              <a:extLst>
                <a:ext uri="{FF2B5EF4-FFF2-40B4-BE49-F238E27FC236}">
                  <a16:creationId xmlns:a16="http://schemas.microsoft.com/office/drawing/2014/main" id="{0DE2A214-8055-F089-C6C4-415D2FEE42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8" name="Freeform 31">
              <a:extLst>
                <a:ext uri="{FF2B5EF4-FFF2-40B4-BE49-F238E27FC236}">
                  <a16:creationId xmlns:a16="http://schemas.microsoft.com/office/drawing/2014/main" id="{E7E7B380-ABE2-70DF-A29A-E3B4A181FA12}"/>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9" name="Freeform 32">
              <a:extLst>
                <a:ext uri="{FF2B5EF4-FFF2-40B4-BE49-F238E27FC236}">
                  <a16:creationId xmlns:a16="http://schemas.microsoft.com/office/drawing/2014/main" id="{ED784E94-97A9-B627-1E07-7CAEF44EE8A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1" name="Freeform 33">
              <a:extLst>
                <a:ext uri="{FF2B5EF4-FFF2-40B4-BE49-F238E27FC236}">
                  <a16:creationId xmlns:a16="http://schemas.microsoft.com/office/drawing/2014/main" id="{31E44308-7765-3146-1869-04D3DA41235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4">
              <a:extLst>
                <a:ext uri="{FF2B5EF4-FFF2-40B4-BE49-F238E27FC236}">
                  <a16:creationId xmlns:a16="http://schemas.microsoft.com/office/drawing/2014/main" id="{5E9E56FD-C856-3054-AB6B-A80BA7D6C55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2" name="TextBox 1">
            <a:extLst>
              <a:ext uri="{FF2B5EF4-FFF2-40B4-BE49-F238E27FC236}">
                <a16:creationId xmlns:a16="http://schemas.microsoft.com/office/drawing/2014/main" id="{DF372165-1480-FF4B-FD8E-0169E8CD1957}"/>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885AEDB-ED41-584E-391C-1747DAD5043C}"/>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22423932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1_3 K Blue">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8FF1A58D-53A4-65F6-8F2B-645D65C533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5166BBE5-C86E-3E87-A7C5-F29BE64D716D}"/>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grpSp>
        <p:nvGrpSpPr>
          <p:cNvPr id="7" name="Graphic 3">
            <a:extLst>
              <a:ext uri="{FF2B5EF4-FFF2-40B4-BE49-F238E27FC236}">
                <a16:creationId xmlns:a16="http://schemas.microsoft.com/office/drawing/2014/main" id="{47BEB086-B161-40ED-B2E3-DDF397278FA8}"/>
              </a:ext>
            </a:extLst>
          </p:cNvPr>
          <p:cNvGrpSpPr/>
          <p:nvPr userDrawn="1"/>
        </p:nvGrpSpPr>
        <p:grpSpPr>
          <a:xfrm>
            <a:off x="9407772" y="3224293"/>
            <a:ext cx="1817989" cy="409417"/>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6" name="TextBox 5">
            <a:extLst>
              <a:ext uri="{FF2B5EF4-FFF2-40B4-BE49-F238E27FC236}">
                <a16:creationId xmlns:a16="http://schemas.microsoft.com/office/drawing/2014/main" id="{D8B4807D-C6CB-B42F-7CAC-4B1E0264A613}"/>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7A5600B8-EF33-4C46-87E9-1A51B9580A90}"/>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Title 4">
            <a:extLst>
              <a:ext uri="{FF2B5EF4-FFF2-40B4-BE49-F238E27FC236}">
                <a16:creationId xmlns:a16="http://schemas.microsoft.com/office/drawing/2014/main" id="{651B7E9D-D552-81A8-07CE-C85143F970BC}"/>
              </a:ext>
            </a:extLst>
          </p:cNvPr>
          <p:cNvSpPr>
            <a:spLocks noGrp="1"/>
          </p:cNvSpPr>
          <p:nvPr>
            <p:ph type="title" hasCustomPrompt="1"/>
          </p:nvPr>
        </p:nvSpPr>
        <p:spPr>
          <a:xfrm>
            <a:off x="556708" y="2179566"/>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6" name="Text Placeholder 3">
            <a:extLst>
              <a:ext uri="{FF2B5EF4-FFF2-40B4-BE49-F238E27FC236}">
                <a16:creationId xmlns:a16="http://schemas.microsoft.com/office/drawing/2014/main" id="{2BF972D4-3000-87A0-9E6C-C622A2B7C6C0}"/>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82287850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3 K Blu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3797EE9-5364-FAE7-B29C-8C7E9DCF2A68}"/>
              </a:ext>
            </a:extLst>
          </p:cNvPr>
          <p:cNvPicPr preferRelativeResize="0">
            <a:picLocks/>
          </p:cNvPicPr>
          <p:nvPr userDrawn="1"/>
        </p:nvPicPr>
        <p:blipFill>
          <a:blip r:embed="rId2">
            <a:extLst>
              <a:ext uri="{28A0092B-C50C-407E-A947-70E740481C1C}">
                <a14:useLocalDpi xmlns:a14="http://schemas.microsoft.com/office/drawing/2010/main" val="0"/>
              </a:ext>
            </a:extLst>
          </a:blip>
          <a:srcRect/>
          <a:stretch/>
        </p:blipFill>
        <p:spPr>
          <a:xfrm>
            <a:off x="0" y="1"/>
            <a:ext cx="12192000" cy="6858000"/>
          </a:xfrm>
          <a:prstGeom prst="rect">
            <a:avLst/>
          </a:prstGeom>
        </p:spPr>
      </p:pic>
      <p:grpSp>
        <p:nvGrpSpPr>
          <p:cNvPr id="7" name="Graphic 3">
            <a:extLst>
              <a:ext uri="{FF2B5EF4-FFF2-40B4-BE49-F238E27FC236}">
                <a16:creationId xmlns:a16="http://schemas.microsoft.com/office/drawing/2014/main" id="{47BEB086-B161-40ED-B2E3-DDF397278FA8}"/>
              </a:ext>
            </a:extLst>
          </p:cNvPr>
          <p:cNvGrpSpPr/>
          <p:nvPr userDrawn="1"/>
        </p:nvGrpSpPr>
        <p:grpSpPr>
          <a:xfrm>
            <a:off x="9407772" y="3224293"/>
            <a:ext cx="1817989" cy="409417"/>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15" name="Title 4">
            <a:extLst>
              <a:ext uri="{FF2B5EF4-FFF2-40B4-BE49-F238E27FC236}">
                <a16:creationId xmlns:a16="http://schemas.microsoft.com/office/drawing/2014/main" id="{651B7E9D-D552-81A8-07CE-C85143F970BC}"/>
              </a:ext>
            </a:extLst>
          </p:cNvPr>
          <p:cNvSpPr>
            <a:spLocks noGrp="1"/>
          </p:cNvSpPr>
          <p:nvPr>
            <p:ph type="title" hasCustomPrompt="1"/>
          </p:nvPr>
        </p:nvSpPr>
        <p:spPr>
          <a:xfrm>
            <a:off x="556708" y="674039"/>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Life in the fast lane</a:t>
            </a:r>
          </a:p>
        </p:txBody>
      </p:sp>
    </p:spTree>
    <p:extLst>
      <p:ext uri="{BB962C8B-B14F-4D97-AF65-F5344CB8AC3E}">
        <p14:creationId xmlns:p14="http://schemas.microsoft.com/office/powerpoint/2010/main" val="1833147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3 Title slide with media 3">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556801" y="527928"/>
            <a:ext cx="455402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556801" y="1019360"/>
            <a:ext cx="4554028"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556453" y="1680000"/>
            <a:ext cx="455402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E7BA896-DC3C-C861-6C89-0401950D7446}"/>
              </a:ext>
            </a:extLst>
          </p:cNvPr>
          <p:cNvSpPr>
            <a:spLocks noGrp="1"/>
          </p:cNvSpPr>
          <p:nvPr>
            <p:ph type="pic" sz="quarter" idx="15" hasCustomPrompt="1"/>
          </p:nvPr>
        </p:nvSpPr>
        <p:spPr>
          <a:xfrm>
            <a:off x="5486400" y="0"/>
            <a:ext cx="67056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4" name="TextBox 3">
            <a:extLst>
              <a:ext uri="{FF2B5EF4-FFF2-40B4-BE49-F238E27FC236}">
                <a16:creationId xmlns:a16="http://schemas.microsoft.com/office/drawing/2014/main" id="{DD05DD94-B1D7-AF62-87C9-7EF3B816BC50}"/>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4CA45A5E-8155-944F-17C0-E8C2DF0291BF}"/>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6660D9BC-D30D-1466-7616-8C7936E38CF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9FEC4AEB-8265-3816-B1A7-81B4297B51B5}"/>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8260714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7_3 K Pin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C0B63B-5EB2-C517-FFAF-0A5B2B5AB93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grpSp>
        <p:nvGrpSpPr>
          <p:cNvPr id="8" name="Graphic 3">
            <a:extLst>
              <a:ext uri="{FF2B5EF4-FFF2-40B4-BE49-F238E27FC236}">
                <a16:creationId xmlns:a16="http://schemas.microsoft.com/office/drawing/2014/main" id="{02491239-1144-EB94-E007-F05D770D71DA}"/>
              </a:ext>
            </a:extLst>
          </p:cNvPr>
          <p:cNvGrpSpPr/>
          <p:nvPr userDrawn="1"/>
        </p:nvGrpSpPr>
        <p:grpSpPr>
          <a:xfrm>
            <a:off x="9407772" y="3224293"/>
            <a:ext cx="1817989" cy="409417"/>
            <a:chOff x="469958" y="1647414"/>
            <a:chExt cx="8205029" cy="1847802"/>
          </a:xfrm>
          <a:solidFill>
            <a:schemeClr val="bg1"/>
          </a:solidFill>
        </p:grpSpPr>
        <p:sp>
          <p:nvSpPr>
            <p:cNvPr id="9" name="Freeform 25">
              <a:extLst>
                <a:ext uri="{FF2B5EF4-FFF2-40B4-BE49-F238E27FC236}">
                  <a16:creationId xmlns:a16="http://schemas.microsoft.com/office/drawing/2014/main" id="{2FDE4536-B74E-FB0B-5701-EE95568054D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10" name="Freeform 31">
              <a:extLst>
                <a:ext uri="{FF2B5EF4-FFF2-40B4-BE49-F238E27FC236}">
                  <a16:creationId xmlns:a16="http://schemas.microsoft.com/office/drawing/2014/main" id="{DC504B4C-4BF0-DF13-D647-0C718DF4AD9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1" name="Freeform 32">
              <a:extLst>
                <a:ext uri="{FF2B5EF4-FFF2-40B4-BE49-F238E27FC236}">
                  <a16:creationId xmlns:a16="http://schemas.microsoft.com/office/drawing/2014/main" id="{F3BB0087-C253-F0E4-3F52-1A53B4AFA97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3">
              <a:extLst>
                <a:ext uri="{FF2B5EF4-FFF2-40B4-BE49-F238E27FC236}">
                  <a16:creationId xmlns:a16="http://schemas.microsoft.com/office/drawing/2014/main" id="{3025D71C-0D10-5220-5980-B17FC068151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3" name="Freeform 34">
              <a:extLst>
                <a:ext uri="{FF2B5EF4-FFF2-40B4-BE49-F238E27FC236}">
                  <a16:creationId xmlns:a16="http://schemas.microsoft.com/office/drawing/2014/main" id="{64514CD7-9102-9552-6763-AB0337AAA7E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7" name="TextBox 6">
            <a:extLst>
              <a:ext uri="{FF2B5EF4-FFF2-40B4-BE49-F238E27FC236}">
                <a16:creationId xmlns:a16="http://schemas.microsoft.com/office/drawing/2014/main" id="{DB2D474A-4156-5445-2C99-EE4C77388F5D}"/>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DA5D471E-8C81-0943-5022-F263A707E608}"/>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6" name="Title 4">
            <a:extLst>
              <a:ext uri="{FF2B5EF4-FFF2-40B4-BE49-F238E27FC236}">
                <a16:creationId xmlns:a16="http://schemas.microsoft.com/office/drawing/2014/main" id="{024AFDB3-6F7B-B778-402E-9CCB281E4A36}"/>
              </a:ext>
            </a:extLst>
          </p:cNvPr>
          <p:cNvSpPr>
            <a:spLocks noGrp="1"/>
          </p:cNvSpPr>
          <p:nvPr>
            <p:ph type="title" hasCustomPrompt="1"/>
          </p:nvPr>
        </p:nvSpPr>
        <p:spPr>
          <a:xfrm>
            <a:off x="556708" y="2179566"/>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7" name="Text Placeholder 3">
            <a:extLst>
              <a:ext uri="{FF2B5EF4-FFF2-40B4-BE49-F238E27FC236}">
                <a16:creationId xmlns:a16="http://schemas.microsoft.com/office/drawing/2014/main" id="{673B31AA-DB5D-E4EE-AD2B-9C376313D508}"/>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131013241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7_3 K Whit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F4EAC9-01A1-ED6A-B271-D7FC17A6D29B}"/>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r="18798"/>
          <a:stretch/>
        </p:blipFill>
        <p:spPr>
          <a:xfrm>
            <a:off x="6622168" y="0"/>
            <a:ext cx="5569832" cy="6859200"/>
          </a:xfrm>
          <a:prstGeom prst="rect">
            <a:avLst/>
          </a:prstGeom>
        </p:spPr>
      </p:pic>
      <p:grpSp>
        <p:nvGrpSpPr>
          <p:cNvPr id="7" name="Graphic 3">
            <a:extLst>
              <a:ext uri="{FF2B5EF4-FFF2-40B4-BE49-F238E27FC236}">
                <a16:creationId xmlns:a16="http://schemas.microsoft.com/office/drawing/2014/main" id="{57ADD6F0-8A1D-2465-892B-42BFF999186F}"/>
              </a:ext>
            </a:extLst>
          </p:cNvPr>
          <p:cNvGrpSpPr/>
          <p:nvPr userDrawn="1"/>
        </p:nvGrpSpPr>
        <p:grpSpPr>
          <a:xfrm>
            <a:off x="9407772" y="3224293"/>
            <a:ext cx="1817989" cy="409417"/>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6" name="TextBox 5">
            <a:extLst>
              <a:ext uri="{FF2B5EF4-FFF2-40B4-BE49-F238E27FC236}">
                <a16:creationId xmlns:a16="http://schemas.microsoft.com/office/drawing/2014/main" id="{BA4D82E9-DEF8-D842-DDB5-563D618E794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EB92B7B9-0B45-FE4B-753A-4D8C0E23E619}"/>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Title 4">
            <a:extLst>
              <a:ext uri="{FF2B5EF4-FFF2-40B4-BE49-F238E27FC236}">
                <a16:creationId xmlns:a16="http://schemas.microsoft.com/office/drawing/2014/main" id="{838942B2-5BE5-A3D6-4570-6AF07089F22D}"/>
              </a:ext>
            </a:extLst>
          </p:cNvPr>
          <p:cNvSpPr>
            <a:spLocks noGrp="1"/>
          </p:cNvSpPr>
          <p:nvPr>
            <p:ph type="title" hasCustomPrompt="1"/>
          </p:nvPr>
        </p:nvSpPr>
        <p:spPr>
          <a:xfrm>
            <a:off x="556708" y="2179566"/>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16" name="Text Placeholder 3">
            <a:extLst>
              <a:ext uri="{FF2B5EF4-FFF2-40B4-BE49-F238E27FC236}">
                <a16:creationId xmlns:a16="http://schemas.microsoft.com/office/drawing/2014/main" id="{B51E6336-7A1E-2850-2562-4FDD760F459F}"/>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27955829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1_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34031B42-8ACF-0D61-11C0-959766C8BDD4}"/>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4" name="TextBox 3">
            <a:extLst>
              <a:ext uri="{FF2B5EF4-FFF2-40B4-BE49-F238E27FC236}">
                <a16:creationId xmlns:a16="http://schemas.microsoft.com/office/drawing/2014/main" id="{AB7B8C5E-2A02-500E-7B19-869B39D9A896}"/>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A844BE02-2625-0E61-D864-E5DDC07EC96E}"/>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2784AA3F-6A3E-5918-C536-2E26F4BF9C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1067757F-8A0C-FCEC-EB62-74E36F8E5E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411721124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8_2.2 Title dark">
    <p:bg>
      <p:bgPr>
        <a:gradFill>
          <a:gsLst>
            <a:gs pos="53100">
              <a:srgbClr val="003595"/>
            </a:gs>
            <a:gs pos="0">
              <a:schemeClr val="tx1">
                <a:lumMod val="96000"/>
              </a:schemeClr>
            </a:gs>
            <a:gs pos="100000">
              <a:schemeClr val="accent1">
                <a:lumMod val="30000"/>
              </a:schemeClr>
            </a:gs>
          </a:gsLst>
          <a:lin ang="12000000" scaled="0"/>
        </a:gra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B937390-63D5-3E5C-5017-6C0EFAC8BC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 Placeholder 42">
            <a:extLst>
              <a:ext uri="{FF2B5EF4-FFF2-40B4-BE49-F238E27FC236}">
                <a16:creationId xmlns:a16="http://schemas.microsoft.com/office/drawing/2014/main" id="{65BB4E9F-2E29-3042-C3C2-66B30120BBAE}"/>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Tree>
    <p:extLst>
      <p:ext uri="{BB962C8B-B14F-4D97-AF65-F5344CB8AC3E}">
        <p14:creationId xmlns:p14="http://schemas.microsoft.com/office/powerpoint/2010/main" val="34198137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1_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5F57FFFB-CCE3-C058-3729-4EDEEE5E646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0390628D-EDCB-823F-3281-E26163D5C4CD}"/>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6" name="TextBox 5">
            <a:extLst>
              <a:ext uri="{FF2B5EF4-FFF2-40B4-BE49-F238E27FC236}">
                <a16:creationId xmlns:a16="http://schemas.microsoft.com/office/drawing/2014/main" id="{6857A933-0F5D-EB6F-6781-ACE4F612BDFC}"/>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2A1F2F7-3255-A552-A703-7C9BCD3C4BA6}"/>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E85E7031-34AB-503C-140D-07A8A6D83D3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C4DEFCE-5A10-8D7A-C10A-5C24EDCFF87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3526275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8_4 Pink">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AB3FE475-1931-B109-EFE4-3720BF54E14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E64CD9D7-6169-977F-2770-ADEC0D6EE84D}"/>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FB666C31-62D7-CEFA-FFA5-6E39B2A9667C}"/>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17E83870-7680-0EC5-A60C-DDC82D20159B}"/>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B3FD35A0-F98B-4E10-5EEB-CC206A99D77A}"/>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26AEA66-94E0-CBBE-2810-477A8B621DF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69887663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4_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E8A36BB1-1CB4-70E4-B774-36E6FFADAD7B}"/>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5990E264-5D0F-60E1-079B-4D9441DFD2FA}"/>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1F513913-81F1-BE35-BEE1-E4F3B331C19E}"/>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5A2E6516-E21C-B9AB-D96C-01D89E1C188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FC57D9E6-836B-E344-7053-C5B54572FBF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402441561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7_2.3 Text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0" indent="0">
              <a:lnSpc>
                <a:spcPct val="100000"/>
              </a:lnSpc>
              <a:spcBef>
                <a:spcPts val="0"/>
              </a:spcBef>
              <a:spcAft>
                <a:spcPts val="800"/>
              </a:spcAft>
              <a:buSzPct val="70000"/>
              <a:buNone/>
              <a:defRPr sz="1600">
                <a:solidFill>
                  <a:schemeClr val="bg1"/>
                </a:solidFill>
              </a:defRPr>
            </a:lvl1pPr>
            <a:lvl2pPr marL="239994" indent="0">
              <a:lnSpc>
                <a:spcPct val="100000"/>
              </a:lnSpc>
              <a:spcBef>
                <a:spcPts val="0"/>
              </a:spcBef>
              <a:spcAft>
                <a:spcPts val="800"/>
              </a:spcAft>
              <a:buSzPct val="70000"/>
              <a:buNone/>
              <a:defRPr sz="1600">
                <a:solidFill>
                  <a:schemeClr val="bg1"/>
                </a:solidFill>
              </a:defRPr>
            </a:lvl2pPr>
            <a:lvl3pPr marL="479988" indent="0">
              <a:lnSpc>
                <a:spcPct val="100000"/>
              </a:lnSpc>
              <a:spcBef>
                <a:spcPts val="0"/>
              </a:spcBef>
              <a:spcAft>
                <a:spcPts val="800"/>
              </a:spcAft>
              <a:buSzPct val="70000"/>
              <a:buNone/>
              <a:defRPr sz="1600">
                <a:solidFill>
                  <a:schemeClr val="bg1"/>
                </a:solidFill>
              </a:defRPr>
            </a:lvl3pPr>
            <a:lvl4pPr marL="719982" indent="0">
              <a:lnSpc>
                <a:spcPct val="100000"/>
              </a:lnSpc>
              <a:spcBef>
                <a:spcPts val="0"/>
              </a:spcBef>
              <a:spcAft>
                <a:spcPts val="800"/>
              </a:spcAft>
              <a:buSzPct val="70000"/>
              <a:buNone/>
              <a:defRPr sz="1600">
                <a:solidFill>
                  <a:schemeClr val="bg1"/>
                </a:solidFill>
              </a:defRPr>
            </a:lvl4pPr>
            <a:lvl5pPr marL="959976" indent="0">
              <a:lnSpc>
                <a:spcPct val="100000"/>
              </a:lnSpc>
              <a:spcBef>
                <a:spcPts val="0"/>
              </a:spcBef>
              <a:spcAft>
                <a:spcPts val="800"/>
              </a:spcAft>
              <a:buSzPct val="70000"/>
              <a:buNone/>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06C6E69-321F-D4AD-8DE6-1E8BDA99907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EA8F815C-F7BD-B743-55F1-819C90566A64}"/>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CFE394A0-1BF5-A207-62B2-624B902703EF}"/>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BE42F71C-985A-E2BB-6FBF-54A07A91DCC3}"/>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362F7ED-C2A3-E1DD-8729-A9B3A26605A2}"/>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48721896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7_2.4 Bulletpoint text 1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D8AA8973-ED90-DA21-18C7-5D6E292CC82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3" name="TextBox 2">
            <a:extLst>
              <a:ext uri="{FF2B5EF4-FFF2-40B4-BE49-F238E27FC236}">
                <a16:creationId xmlns:a16="http://schemas.microsoft.com/office/drawing/2014/main" id="{9F4D957F-E5DE-27F8-AACE-C02FAE5A4250}"/>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CC281E37-10DE-9743-87A9-A079EEC7D36E}"/>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93380BE7-EF71-135D-FC9B-9D9C4CFD066E}"/>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50701039-6E84-E6CE-7E91-BAB5836AA8D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96452098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7_2.5 Bulletpoint text 2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5424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6211552" y="1680000"/>
            <a:ext cx="5424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0988706-2E03-4A9C-79F3-2E7AE15E66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BAB1039B-CAD1-E7A1-9A8E-421F00BB27A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DA31894B-2ADC-F353-515E-61B978FE204D}"/>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D5288A7-E819-08AD-0192-BAB1AB7959D8}"/>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5176F92-BBFE-DBC8-EAB4-685F805E3A22}"/>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42241935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4 Title slide with media 4">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556801" y="527928"/>
            <a:ext cx="329418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556801" y="1019360"/>
            <a:ext cx="3294188"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556453" y="1680000"/>
            <a:ext cx="329418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C663BDD0-396A-C130-FA04-231CB3C74388}"/>
              </a:ext>
            </a:extLst>
          </p:cNvPr>
          <p:cNvSpPr>
            <a:spLocks noGrp="1"/>
          </p:cNvSpPr>
          <p:nvPr>
            <p:ph type="pic" sz="quarter" idx="16" hasCustomPrompt="1"/>
          </p:nvPr>
        </p:nvSpPr>
        <p:spPr>
          <a:xfrm>
            <a:off x="4267200" y="0"/>
            <a:ext cx="79248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3" name="TextBox 2">
            <a:extLst>
              <a:ext uri="{FF2B5EF4-FFF2-40B4-BE49-F238E27FC236}">
                <a16:creationId xmlns:a16="http://schemas.microsoft.com/office/drawing/2014/main" id="{2069DAC9-98D0-DE29-0854-C322936DF8E9}"/>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E3B783F8-E852-2880-7AC7-93C221C8FF1B}"/>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C79725E7-2EC0-E3B5-3DB0-057A690FD95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5F00D657-7150-C4CD-A10F-64140FBB30BD}"/>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50491659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7_2.6 Bulletpoint text 3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360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4296000" y="1680000"/>
            <a:ext cx="360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8035550" y="1680000"/>
            <a:ext cx="3596877"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AB306A2-2949-7644-5CCE-6B01F360075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3" name="TextBox 2">
            <a:extLst>
              <a:ext uri="{FF2B5EF4-FFF2-40B4-BE49-F238E27FC236}">
                <a16:creationId xmlns:a16="http://schemas.microsoft.com/office/drawing/2014/main" id="{4FFAD2D5-5981-9B4A-69C8-3901DF8F846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2FBD0FB5-5841-7798-81F7-03203504ECC7}"/>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782EBFFC-4C2D-D007-FA55-966B10478527}"/>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9024A70A-45FE-D443-B1F3-C03BAFA27BD1}"/>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62959396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7_2.7 Bulletpoint text 4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368443"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180435"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8992427"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5E782D2-17EB-7305-867D-635CABCFC87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0" name="TextBox 9">
            <a:extLst>
              <a:ext uri="{FF2B5EF4-FFF2-40B4-BE49-F238E27FC236}">
                <a16:creationId xmlns:a16="http://schemas.microsoft.com/office/drawing/2014/main" id="{DCEB6067-6AAF-DE7E-E481-757CDC1CC59F}"/>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AC92C61F-FD93-073C-AFAA-3629762CCB45}"/>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7B3E1782-7EA3-5D5C-4FB2-290A89A7E3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422E3335-8FF0-0584-6655-EE052F07292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61954753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7_2.8 Numbered text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556800" y="1680000"/>
            <a:ext cx="11078400" cy="4158640"/>
          </a:xfrm>
          <a:prstGeom prst="rect">
            <a:avLst/>
          </a:prstGeom>
        </p:spPr>
        <p:txBody>
          <a:bodyPr lIns="0" tIns="0" rIns="0" bIns="0"/>
          <a:lstStyle>
            <a:lvl1pPr marL="304792" indent="-304792">
              <a:lnSpc>
                <a:spcPct val="100000"/>
              </a:lnSpc>
              <a:spcBef>
                <a:spcPts val="0"/>
              </a:spcBef>
              <a:spcAft>
                <a:spcPts val="800"/>
              </a:spcAft>
              <a:buFont typeface="+mj-lt"/>
              <a:buAutoNum type="arabicPeriod"/>
              <a:defRPr sz="1600">
                <a:solidFill>
                  <a:schemeClr val="bg1"/>
                </a:solidFill>
              </a:defRPr>
            </a:lvl1pPr>
            <a:lvl2pPr marL="544786" indent="-304792">
              <a:lnSpc>
                <a:spcPct val="100000"/>
              </a:lnSpc>
              <a:spcBef>
                <a:spcPts val="0"/>
              </a:spcBef>
              <a:spcAft>
                <a:spcPts val="800"/>
              </a:spcAft>
              <a:buFont typeface="+mj-lt"/>
              <a:buAutoNum type="arabicPeriod" startAt="2"/>
              <a:defRPr sz="1600">
                <a:solidFill>
                  <a:schemeClr val="bg1"/>
                </a:solidFill>
              </a:defRPr>
            </a:lvl2pPr>
            <a:lvl3pPr marL="784780" indent="-304792">
              <a:lnSpc>
                <a:spcPct val="100000"/>
              </a:lnSpc>
              <a:spcBef>
                <a:spcPts val="0"/>
              </a:spcBef>
              <a:spcAft>
                <a:spcPts val="800"/>
              </a:spcAft>
              <a:buFont typeface="+mj-lt"/>
              <a:buAutoNum type="arabicPeriod" startAt="3"/>
              <a:defRPr sz="1600">
                <a:solidFill>
                  <a:schemeClr val="bg1"/>
                </a:solidFill>
              </a:defRPr>
            </a:lvl3pPr>
            <a:lvl4pPr marL="1024774" indent="-304792">
              <a:lnSpc>
                <a:spcPct val="100000"/>
              </a:lnSpc>
              <a:spcBef>
                <a:spcPts val="0"/>
              </a:spcBef>
              <a:spcAft>
                <a:spcPts val="800"/>
              </a:spcAft>
              <a:buFont typeface="+mj-lt"/>
              <a:buAutoNum type="arabicPeriod" startAt="4"/>
              <a:defRPr sz="1600">
                <a:solidFill>
                  <a:schemeClr val="bg1"/>
                </a:solidFill>
              </a:defRPr>
            </a:lvl4pPr>
            <a:lvl5pPr marL="1276168" indent="-304792">
              <a:lnSpc>
                <a:spcPct val="100000"/>
              </a:lnSpc>
              <a:spcBef>
                <a:spcPts val="0"/>
              </a:spcBef>
              <a:spcAft>
                <a:spcPts val="800"/>
              </a:spcAft>
              <a:buFont typeface="+mj-lt"/>
              <a:buAutoNum type="arabicPeriod" startAt="5"/>
              <a:defRPr sz="1600">
                <a:solidFill>
                  <a:schemeClr val="bg1"/>
                </a:solidFill>
              </a:defRPr>
            </a:lvl5pPr>
          </a:lstStyle>
          <a:p>
            <a:pPr lvl="0"/>
            <a:r>
              <a:rPr lang="en-US"/>
              <a:t>Text here</a:t>
            </a:r>
          </a:p>
          <a:p>
            <a:pPr lvl="1"/>
            <a:r>
              <a:rPr lang="en-US"/>
              <a:t>Text here</a:t>
            </a:r>
          </a:p>
          <a:p>
            <a:pPr lvl="2"/>
            <a:r>
              <a:rPr lang="en-US"/>
              <a:t>Text here</a:t>
            </a:r>
          </a:p>
          <a:p>
            <a:pPr lvl="3"/>
            <a:r>
              <a:rPr lang="en-US"/>
              <a:t>Text here</a:t>
            </a:r>
          </a:p>
          <a:p>
            <a:pPr marL="1276168" marR="0" lvl="4" indent="-304792" algn="l" defTabSz="914377" rtl="0" eaLnBrk="1" fontAlgn="auto" latinLnBrk="0" hangingPunct="1">
              <a:lnSpc>
                <a:spcPct val="100000"/>
              </a:lnSpc>
              <a:spcBef>
                <a:spcPts val="0"/>
              </a:spcBef>
              <a:spcAft>
                <a:spcPts val="400"/>
              </a:spcAft>
              <a:buClrTx/>
              <a:buSzTx/>
              <a:tabLst/>
              <a:defRPr/>
            </a:pPr>
            <a:r>
              <a:rPr lang="en-US"/>
              <a:t>Text here</a:t>
            </a:r>
          </a:p>
        </p:txBody>
      </p:sp>
      <p:pic>
        <p:nvPicPr>
          <p:cNvPr id="2" name="Graphic 1">
            <a:extLst>
              <a:ext uri="{FF2B5EF4-FFF2-40B4-BE49-F238E27FC236}">
                <a16:creationId xmlns:a16="http://schemas.microsoft.com/office/drawing/2014/main" id="{B2827D84-480B-22A7-4B2A-BFD3AB9191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8A8B0B3F-161E-8508-3B23-007FE1624352}"/>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99F8CB66-4F0D-7F21-56F6-56AAA5C02227}"/>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8A760B86-74B6-48A3-CE6D-96096653BF7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DD20D035-9F8D-A232-B41B-0EC79F1159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89617942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_2.9 Title slide dark">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9E545D7-2373-D9BF-1A5C-DDEF3299CD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4" name="Text Placeholder 42">
            <a:extLst>
              <a:ext uri="{FF2B5EF4-FFF2-40B4-BE49-F238E27FC236}">
                <a16:creationId xmlns:a16="http://schemas.microsoft.com/office/drawing/2014/main" id="{1221AC1C-1EF4-5D9A-A440-017C6D790AAE}"/>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Click to edit headline</a:t>
            </a:r>
          </a:p>
        </p:txBody>
      </p:sp>
      <p:sp>
        <p:nvSpPr>
          <p:cNvPr id="4" name="TextBox 3">
            <a:extLst>
              <a:ext uri="{FF2B5EF4-FFF2-40B4-BE49-F238E27FC236}">
                <a16:creationId xmlns:a16="http://schemas.microsoft.com/office/drawing/2014/main" id="{3BAD1F5B-D865-3F9F-4D96-58C6DD62ECDF}"/>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A66624C8-71C7-7928-25B9-5352C8FD2EBB}"/>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DA75E4B3-EDD4-C5F1-7EF2-8B6126FAC2FC}"/>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34E36D38-263C-DBB6-A0D4-5E9785455C47}"/>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54252875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_2.10 Title slide with media 1 dark">
    <p:bg>
      <p:bgPr>
        <a:solidFill>
          <a:schemeClr val="tx1"/>
        </a:solidFill>
        <a:effectLst/>
      </p:bgPr>
    </p:bg>
    <p:spTree>
      <p:nvGrpSpPr>
        <p:cNvPr id="1" name=""/>
        <p:cNvGrpSpPr/>
        <p:nvPr/>
      </p:nvGrpSpPr>
      <p:grpSpPr>
        <a:xfrm>
          <a:off x="0" y="0"/>
          <a:ext cx="0" cy="0"/>
          <a:chOff x="0" y="0"/>
          <a:chExt cx="0" cy="0"/>
        </a:xfrm>
      </p:grpSpPr>
      <p:sp>
        <p:nvSpPr>
          <p:cNvPr id="3" name="Media Placeholder 6">
            <a:extLst>
              <a:ext uri="{FF2B5EF4-FFF2-40B4-BE49-F238E27FC236}">
                <a16:creationId xmlns:a16="http://schemas.microsoft.com/office/drawing/2014/main" id="{BB2531A6-B2AF-8CE3-D4E6-FFA2A6F43CBA}"/>
              </a:ext>
            </a:extLst>
          </p:cNvPr>
          <p:cNvSpPr>
            <a:spLocks noGrp="1"/>
          </p:cNvSpPr>
          <p:nvPr>
            <p:ph type="media" sz="quarter" idx="12"/>
          </p:nvPr>
        </p:nvSpPr>
        <p:spPr>
          <a:xfrm>
            <a:off x="0" y="0"/>
            <a:ext cx="12192000" cy="6858000"/>
          </a:xfrm>
          <a:prstGeom prst="rect">
            <a:avLst/>
          </a:prstGeom>
        </p:spPr>
        <p:txBody>
          <a:bodyPr/>
          <a:lstStyle>
            <a:lvl1pPr marL="0" indent="0">
              <a:buNone/>
              <a:defRPr>
                <a:solidFill>
                  <a:schemeClr val="bg1"/>
                </a:solidFill>
              </a:defRPr>
            </a:lvl1pPr>
          </a:lstStyle>
          <a:p>
            <a:r>
              <a:rPr lang="en-US"/>
              <a:t>Click icon to add media</a:t>
            </a:r>
          </a:p>
        </p:txBody>
      </p:sp>
      <p:pic>
        <p:nvPicPr>
          <p:cNvPr id="4" name="Graphic 3">
            <a:extLst>
              <a:ext uri="{FF2B5EF4-FFF2-40B4-BE49-F238E27FC236}">
                <a16:creationId xmlns:a16="http://schemas.microsoft.com/office/drawing/2014/main" id="{47292656-5749-2B4B-FA27-42765BDE338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5" name="Text Placeholder 42">
            <a:extLst>
              <a:ext uri="{FF2B5EF4-FFF2-40B4-BE49-F238E27FC236}">
                <a16:creationId xmlns:a16="http://schemas.microsoft.com/office/drawing/2014/main" id="{4F756C8B-0244-6A11-8EC3-4A1D203CDD66}"/>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Click to edit headline</a:t>
            </a:r>
          </a:p>
        </p:txBody>
      </p:sp>
      <p:sp>
        <p:nvSpPr>
          <p:cNvPr id="6" name="TextBox 5">
            <a:extLst>
              <a:ext uri="{FF2B5EF4-FFF2-40B4-BE49-F238E27FC236}">
                <a16:creationId xmlns:a16="http://schemas.microsoft.com/office/drawing/2014/main" id="{BD759CC4-69C8-613F-E557-4E2AEE7B75E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A40A76AB-576F-2C48-7ED4-0E98A54B99AD}"/>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717253AE-3DDB-8C8A-399D-C55C49CB0832}"/>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0DC17B7D-4E9B-5FAC-1228-C97FB1CFC5A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67451276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2.11 Title slide with media 2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sz="1600">
                <a:solidFill>
                  <a:schemeClr val="bg1"/>
                </a:solidFill>
              </a:defRPr>
            </a:lvl4pPr>
            <a:lvl5pPr marL="1199970" indent="-239994">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C341FE85-3CE7-12FA-3841-D7CC0ABB659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27418BB1-0E7E-AAD3-AD71-82204464918C}"/>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02B48A79-625E-B973-DCD8-533E86F25072}"/>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DB9A4E9B-BED0-504E-628D-EAD882C392A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742AC6DC-CFBE-F98E-4CC4-2390702BA655}"/>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08890981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7_2.12 Title slide with media 3 dark">
    <p:bg>
      <p:bgPr>
        <a:solidFill>
          <a:schemeClr val="tx1"/>
        </a:solidFill>
        <a:effectLst/>
      </p:bgPr>
    </p:bg>
    <p:spTree>
      <p:nvGrpSpPr>
        <p:cNvPr id="1" name=""/>
        <p:cNvGrpSpPr/>
        <p:nvPr/>
      </p:nvGrpSpPr>
      <p:grpSpPr>
        <a:xfrm>
          <a:off x="0" y="0"/>
          <a:ext cx="0" cy="0"/>
          <a:chOff x="0" y="0"/>
          <a:chExt cx="0" cy="0"/>
        </a:xfrm>
      </p:grpSpPr>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556801" y="527928"/>
            <a:ext cx="4554028"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556801" y="1019360"/>
            <a:ext cx="4554028"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556453" y="1680000"/>
            <a:ext cx="455402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sz="1600">
                <a:solidFill>
                  <a:schemeClr val="bg1"/>
                </a:solidFill>
              </a:defRPr>
            </a:lvl4pPr>
            <a:lvl5pPr marL="1199970" indent="-239994">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E7BA896-DC3C-C861-6C89-0401950D7446}"/>
              </a:ext>
            </a:extLst>
          </p:cNvPr>
          <p:cNvSpPr>
            <a:spLocks noGrp="1"/>
          </p:cNvSpPr>
          <p:nvPr>
            <p:ph type="pic" sz="quarter" idx="15" hasCustomPrompt="1"/>
          </p:nvPr>
        </p:nvSpPr>
        <p:spPr>
          <a:xfrm>
            <a:off x="5486400" y="0"/>
            <a:ext cx="67056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pic>
        <p:nvPicPr>
          <p:cNvPr id="4" name="Graphic 3">
            <a:extLst>
              <a:ext uri="{FF2B5EF4-FFF2-40B4-BE49-F238E27FC236}">
                <a16:creationId xmlns:a16="http://schemas.microsoft.com/office/drawing/2014/main" id="{2E1E3056-42DC-BA9B-F46D-475E5BE32B9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Box 4">
            <a:extLst>
              <a:ext uri="{FF2B5EF4-FFF2-40B4-BE49-F238E27FC236}">
                <a16:creationId xmlns:a16="http://schemas.microsoft.com/office/drawing/2014/main" id="{B6681D21-FC7E-7F82-9685-4F1EF53B236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41DBEFAD-5693-7A1A-A64F-C540D390A0B8}"/>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7840E574-42A1-50DE-BFA2-D52D3D35902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DDEF2D02-B6B9-E747-F0EA-9ED48DC28C93}"/>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84272162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0_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5F57FFFB-CCE3-C058-3729-4EDEEE5E646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0390628D-EDCB-823F-3281-E26163D5C4CD}"/>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6" name="TextBox 5">
            <a:extLst>
              <a:ext uri="{FF2B5EF4-FFF2-40B4-BE49-F238E27FC236}">
                <a16:creationId xmlns:a16="http://schemas.microsoft.com/office/drawing/2014/main" id="{6857A933-0F5D-EB6F-6781-ACE4F612BDF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2A1F2F7-3255-A552-A703-7C9BCD3C4BA6}"/>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E85E7031-34AB-503C-140D-07A8A6D83D3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C4DEFCE-5A10-8D7A-C10A-5C24EDCFF87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64614012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7_4 Pink">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AB3FE475-1931-B109-EFE4-3720BF54E14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E64CD9D7-6169-977F-2770-ADEC0D6EE84D}"/>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FB666C31-62D7-CEFA-FFA5-6E39B2A9667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17E83870-7680-0EC5-A60C-DDC82D20159B}"/>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B3FD35A0-F98B-4E10-5EEB-CC206A99D77A}"/>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26AEA66-94E0-CBBE-2810-477A8B621DF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419621849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3_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E8A36BB1-1CB4-70E4-B774-36E6FFADAD7B}"/>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5990E264-5D0F-60E1-079B-4D9441DFD2FA}"/>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1F513913-81F1-BE35-BEE1-E4F3B331C19E}"/>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5A2E6516-E21C-B9AB-D96C-01D89E1C188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FC57D9E6-836B-E344-7053-C5B54572FBF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3848156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1 Blank dark">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4" name="TextBox 3">
            <a:extLst>
              <a:ext uri="{FF2B5EF4-FFF2-40B4-BE49-F238E27FC236}">
                <a16:creationId xmlns:a16="http://schemas.microsoft.com/office/drawing/2014/main" id="{BB2D48F3-5FAB-7137-F8DD-66420388FACA}"/>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8A0EFD0E-73A9-D773-3F8A-B9B78A9503C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917EEC03-3391-E652-F649-78782CA24357}"/>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C021FBAF-6C06-6FF4-B424-967A0139D27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87015828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2.3 Text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0" indent="0">
              <a:lnSpc>
                <a:spcPct val="100000"/>
              </a:lnSpc>
              <a:spcBef>
                <a:spcPts val="0"/>
              </a:spcBef>
              <a:spcAft>
                <a:spcPts val="800"/>
              </a:spcAft>
              <a:buSzPct val="70000"/>
              <a:buNone/>
              <a:defRPr sz="1600">
                <a:solidFill>
                  <a:schemeClr val="bg1"/>
                </a:solidFill>
              </a:defRPr>
            </a:lvl1pPr>
            <a:lvl2pPr marL="239989" indent="0">
              <a:lnSpc>
                <a:spcPct val="100000"/>
              </a:lnSpc>
              <a:spcBef>
                <a:spcPts val="0"/>
              </a:spcBef>
              <a:spcAft>
                <a:spcPts val="800"/>
              </a:spcAft>
              <a:buSzPct val="70000"/>
              <a:buNone/>
              <a:defRPr sz="1600">
                <a:solidFill>
                  <a:schemeClr val="bg1"/>
                </a:solidFill>
              </a:defRPr>
            </a:lvl2pPr>
            <a:lvl3pPr marL="479976" indent="0">
              <a:lnSpc>
                <a:spcPct val="100000"/>
              </a:lnSpc>
              <a:spcBef>
                <a:spcPts val="0"/>
              </a:spcBef>
              <a:spcAft>
                <a:spcPts val="800"/>
              </a:spcAft>
              <a:buSzPct val="70000"/>
              <a:buNone/>
              <a:defRPr sz="1600">
                <a:solidFill>
                  <a:schemeClr val="bg1"/>
                </a:solidFill>
              </a:defRPr>
            </a:lvl3pPr>
            <a:lvl4pPr marL="719965" indent="0">
              <a:lnSpc>
                <a:spcPct val="100000"/>
              </a:lnSpc>
              <a:spcBef>
                <a:spcPts val="0"/>
              </a:spcBef>
              <a:spcAft>
                <a:spcPts val="800"/>
              </a:spcAft>
              <a:buSzPct val="70000"/>
              <a:buNone/>
              <a:defRPr sz="1600">
                <a:solidFill>
                  <a:schemeClr val="bg1"/>
                </a:solidFill>
              </a:defRPr>
            </a:lvl4pPr>
            <a:lvl5pPr marL="959952" indent="0">
              <a:lnSpc>
                <a:spcPct val="100000"/>
              </a:lnSpc>
              <a:spcBef>
                <a:spcPts val="0"/>
              </a:spcBef>
              <a:spcAft>
                <a:spcPts val="800"/>
              </a:spcAft>
              <a:buSzPct val="70000"/>
              <a:buNone/>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06C6E69-321F-D4AD-8DE6-1E8BDA99907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EA8F815C-F7BD-B743-55F1-819C90566A64}"/>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CFE394A0-1BF5-A207-62B2-624B902703EF}"/>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BE42F71C-985A-E2BB-6FBF-54A07A91DCC3}"/>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362F7ED-C2A3-E1DD-8729-A9B3A26605A2}"/>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34276039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2.4 Bulletpoint text 1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D8AA8973-ED90-DA21-18C7-5D6E292CC82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3" name="TextBox 2">
            <a:extLst>
              <a:ext uri="{FF2B5EF4-FFF2-40B4-BE49-F238E27FC236}">
                <a16:creationId xmlns:a16="http://schemas.microsoft.com/office/drawing/2014/main" id="{9F4D957F-E5DE-27F8-AACE-C02FAE5A4250}"/>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CC281E37-10DE-9743-87A9-A079EEC7D36E}"/>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93380BE7-EF71-135D-FC9B-9D9C4CFD066E}"/>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50701039-6E84-E6CE-7E91-BAB5836AA8D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86619208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2.5 Bulletpoint text 2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5424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6211552" y="1680000"/>
            <a:ext cx="5424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0988706-2E03-4A9C-79F3-2E7AE15E66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BAB1039B-CAD1-E7A1-9A8E-421F00BB27A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DA31894B-2ADC-F353-515E-61B978FE204D}"/>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D5288A7-E819-08AD-0192-BAB1AB7959D8}"/>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5176F92-BBFE-DBC8-EAB4-685F805E3A22}"/>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99194746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2.6 Bulletpoint text 3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360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4296000" y="1680000"/>
            <a:ext cx="360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8035551" y="1680000"/>
            <a:ext cx="3596877"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AB306A2-2949-7644-5CCE-6B01F360075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3" name="TextBox 2">
            <a:extLst>
              <a:ext uri="{FF2B5EF4-FFF2-40B4-BE49-F238E27FC236}">
                <a16:creationId xmlns:a16="http://schemas.microsoft.com/office/drawing/2014/main" id="{4FFAD2D5-5981-9B4A-69C8-3901DF8F846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2FBD0FB5-5841-7798-81F7-03203504ECC7}"/>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782EBFFC-4C2D-D007-FA55-966B10478527}"/>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9024A70A-45FE-D443-B1F3-C03BAFA27BD1}"/>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74310194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2.7 Bulletpoint text 4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368443"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180435"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8992427"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5E782D2-17EB-7305-867D-635CABCFC87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0" name="TextBox 9">
            <a:extLst>
              <a:ext uri="{FF2B5EF4-FFF2-40B4-BE49-F238E27FC236}">
                <a16:creationId xmlns:a16="http://schemas.microsoft.com/office/drawing/2014/main" id="{DCEB6067-6AAF-DE7E-E481-757CDC1CC59F}"/>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AC92C61F-FD93-073C-AFAA-3629762CCB45}"/>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7B3E1782-7EA3-5D5C-4FB2-290A89A7E3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422E3335-8FF0-0584-6655-EE052F07292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53895874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2.8 Numbered text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556800" y="1680000"/>
            <a:ext cx="11078400" cy="4158640"/>
          </a:xfrm>
          <a:prstGeom prst="rect">
            <a:avLst/>
          </a:prstGeom>
        </p:spPr>
        <p:txBody>
          <a:bodyPr lIns="0" tIns="0" rIns="0" bIns="0"/>
          <a:lstStyle>
            <a:lvl1pPr marL="304784" indent="-304784">
              <a:lnSpc>
                <a:spcPct val="100000"/>
              </a:lnSpc>
              <a:spcBef>
                <a:spcPts val="0"/>
              </a:spcBef>
              <a:spcAft>
                <a:spcPts val="800"/>
              </a:spcAft>
              <a:buFont typeface="+mj-lt"/>
              <a:buAutoNum type="arabicPeriod"/>
              <a:defRPr sz="1600">
                <a:solidFill>
                  <a:schemeClr val="bg1"/>
                </a:solidFill>
              </a:defRPr>
            </a:lvl1pPr>
            <a:lvl2pPr marL="544773" indent="-304784">
              <a:lnSpc>
                <a:spcPct val="100000"/>
              </a:lnSpc>
              <a:spcBef>
                <a:spcPts val="0"/>
              </a:spcBef>
              <a:spcAft>
                <a:spcPts val="800"/>
              </a:spcAft>
              <a:buFont typeface="+mj-lt"/>
              <a:buAutoNum type="arabicPeriod" startAt="2"/>
              <a:defRPr sz="1600">
                <a:solidFill>
                  <a:schemeClr val="bg1"/>
                </a:solidFill>
              </a:defRPr>
            </a:lvl2pPr>
            <a:lvl3pPr marL="784760" indent="-304784">
              <a:lnSpc>
                <a:spcPct val="100000"/>
              </a:lnSpc>
              <a:spcBef>
                <a:spcPts val="0"/>
              </a:spcBef>
              <a:spcAft>
                <a:spcPts val="800"/>
              </a:spcAft>
              <a:buFont typeface="+mj-lt"/>
              <a:buAutoNum type="arabicPeriod" startAt="3"/>
              <a:defRPr sz="1600">
                <a:solidFill>
                  <a:schemeClr val="bg1"/>
                </a:solidFill>
              </a:defRPr>
            </a:lvl3pPr>
            <a:lvl4pPr marL="1024749" indent="-304784">
              <a:lnSpc>
                <a:spcPct val="100000"/>
              </a:lnSpc>
              <a:spcBef>
                <a:spcPts val="0"/>
              </a:spcBef>
              <a:spcAft>
                <a:spcPts val="800"/>
              </a:spcAft>
              <a:buFont typeface="+mj-lt"/>
              <a:buAutoNum type="arabicPeriod" startAt="4"/>
              <a:defRPr sz="1600">
                <a:solidFill>
                  <a:schemeClr val="bg1"/>
                </a:solidFill>
              </a:defRPr>
            </a:lvl4pPr>
            <a:lvl5pPr marL="1276136" indent="-304784">
              <a:lnSpc>
                <a:spcPct val="100000"/>
              </a:lnSpc>
              <a:spcBef>
                <a:spcPts val="0"/>
              </a:spcBef>
              <a:spcAft>
                <a:spcPts val="800"/>
              </a:spcAft>
              <a:buFont typeface="+mj-lt"/>
              <a:buAutoNum type="arabicPeriod" startAt="5"/>
              <a:defRPr sz="1600">
                <a:solidFill>
                  <a:schemeClr val="bg1"/>
                </a:solidFill>
              </a:defRPr>
            </a:lvl5pPr>
          </a:lstStyle>
          <a:p>
            <a:pPr lvl="0"/>
            <a:r>
              <a:rPr lang="en-US"/>
              <a:t>Text here</a:t>
            </a:r>
          </a:p>
          <a:p>
            <a:pPr lvl="1"/>
            <a:r>
              <a:rPr lang="en-US"/>
              <a:t>Text here</a:t>
            </a:r>
          </a:p>
          <a:p>
            <a:pPr lvl="2"/>
            <a:r>
              <a:rPr lang="en-US"/>
              <a:t>Text here</a:t>
            </a:r>
          </a:p>
          <a:p>
            <a:pPr lvl="3"/>
            <a:r>
              <a:rPr lang="en-US"/>
              <a:t>Text here</a:t>
            </a:r>
          </a:p>
          <a:p>
            <a:pPr marL="1276136" marR="0" lvl="4" indent="-304784" algn="l" defTabSz="914354" rtl="0" eaLnBrk="1" fontAlgn="auto" latinLnBrk="0" hangingPunct="1">
              <a:lnSpc>
                <a:spcPct val="100000"/>
              </a:lnSpc>
              <a:spcBef>
                <a:spcPts val="0"/>
              </a:spcBef>
              <a:spcAft>
                <a:spcPts val="400"/>
              </a:spcAft>
              <a:buClrTx/>
              <a:buSzTx/>
              <a:tabLst/>
              <a:defRPr/>
            </a:pPr>
            <a:r>
              <a:rPr lang="en-US"/>
              <a:t>Text here</a:t>
            </a:r>
          </a:p>
        </p:txBody>
      </p:sp>
      <p:pic>
        <p:nvPicPr>
          <p:cNvPr id="2" name="Graphic 1">
            <a:extLst>
              <a:ext uri="{FF2B5EF4-FFF2-40B4-BE49-F238E27FC236}">
                <a16:creationId xmlns:a16="http://schemas.microsoft.com/office/drawing/2014/main" id="{B2827D84-480B-22A7-4B2A-BFD3AB9191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8A8B0B3F-161E-8508-3B23-007FE1624352}"/>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99F8CB66-4F0D-7F21-56F6-56AAA5C02227}"/>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8A760B86-74B6-48A3-CE6D-96096653BF7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DD20D035-9F8D-A232-B41B-0EC79F1159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1494683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2.9 Title slide dark">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9E545D7-2373-D9BF-1A5C-DDEF3299CD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4" name="Text Placeholder 42">
            <a:extLst>
              <a:ext uri="{FF2B5EF4-FFF2-40B4-BE49-F238E27FC236}">
                <a16:creationId xmlns:a16="http://schemas.microsoft.com/office/drawing/2014/main" id="{1221AC1C-1EF4-5D9A-A440-017C6D790AAE}"/>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Click to edit headline</a:t>
            </a:r>
          </a:p>
        </p:txBody>
      </p:sp>
      <p:sp>
        <p:nvSpPr>
          <p:cNvPr id="4" name="TextBox 3">
            <a:extLst>
              <a:ext uri="{FF2B5EF4-FFF2-40B4-BE49-F238E27FC236}">
                <a16:creationId xmlns:a16="http://schemas.microsoft.com/office/drawing/2014/main" id="{3BAD1F5B-D865-3F9F-4D96-58C6DD62ECDF}"/>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A66624C8-71C7-7928-25B9-5352C8FD2EBB}"/>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DA75E4B3-EDD4-C5F1-7EF2-8B6126FAC2FC}"/>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34E36D38-263C-DBB6-A0D4-5E9785455C47}"/>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66462690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2.10 Title slide with media 1 dark">
    <p:bg>
      <p:bgPr>
        <a:solidFill>
          <a:schemeClr val="tx1"/>
        </a:solidFill>
        <a:effectLst/>
      </p:bgPr>
    </p:bg>
    <p:spTree>
      <p:nvGrpSpPr>
        <p:cNvPr id="1" name=""/>
        <p:cNvGrpSpPr/>
        <p:nvPr/>
      </p:nvGrpSpPr>
      <p:grpSpPr>
        <a:xfrm>
          <a:off x="0" y="0"/>
          <a:ext cx="0" cy="0"/>
          <a:chOff x="0" y="0"/>
          <a:chExt cx="0" cy="0"/>
        </a:xfrm>
      </p:grpSpPr>
      <p:sp>
        <p:nvSpPr>
          <p:cNvPr id="3" name="Media Placeholder 6">
            <a:extLst>
              <a:ext uri="{FF2B5EF4-FFF2-40B4-BE49-F238E27FC236}">
                <a16:creationId xmlns:a16="http://schemas.microsoft.com/office/drawing/2014/main" id="{BB2531A6-B2AF-8CE3-D4E6-FFA2A6F43CBA}"/>
              </a:ext>
            </a:extLst>
          </p:cNvPr>
          <p:cNvSpPr>
            <a:spLocks noGrp="1"/>
          </p:cNvSpPr>
          <p:nvPr>
            <p:ph type="media" sz="quarter" idx="12"/>
          </p:nvPr>
        </p:nvSpPr>
        <p:spPr>
          <a:xfrm>
            <a:off x="0" y="0"/>
            <a:ext cx="12192000" cy="6858000"/>
          </a:xfrm>
          <a:prstGeom prst="rect">
            <a:avLst/>
          </a:prstGeom>
        </p:spPr>
        <p:txBody>
          <a:bodyPr/>
          <a:lstStyle>
            <a:lvl1pPr marL="0" indent="0">
              <a:buNone/>
              <a:defRPr>
                <a:solidFill>
                  <a:schemeClr val="bg1"/>
                </a:solidFill>
              </a:defRPr>
            </a:lvl1pPr>
          </a:lstStyle>
          <a:p>
            <a:r>
              <a:rPr lang="en-US"/>
              <a:t>Click icon to add media</a:t>
            </a:r>
          </a:p>
        </p:txBody>
      </p:sp>
      <p:pic>
        <p:nvPicPr>
          <p:cNvPr id="4" name="Graphic 3">
            <a:extLst>
              <a:ext uri="{FF2B5EF4-FFF2-40B4-BE49-F238E27FC236}">
                <a16:creationId xmlns:a16="http://schemas.microsoft.com/office/drawing/2014/main" id="{47292656-5749-2B4B-FA27-42765BDE338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5" name="Text Placeholder 42">
            <a:extLst>
              <a:ext uri="{FF2B5EF4-FFF2-40B4-BE49-F238E27FC236}">
                <a16:creationId xmlns:a16="http://schemas.microsoft.com/office/drawing/2014/main" id="{4F756C8B-0244-6A11-8EC3-4A1D203CDD66}"/>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Click to edit headline</a:t>
            </a:r>
          </a:p>
        </p:txBody>
      </p:sp>
      <p:sp>
        <p:nvSpPr>
          <p:cNvPr id="6" name="TextBox 5">
            <a:extLst>
              <a:ext uri="{FF2B5EF4-FFF2-40B4-BE49-F238E27FC236}">
                <a16:creationId xmlns:a16="http://schemas.microsoft.com/office/drawing/2014/main" id="{BD759CC4-69C8-613F-E557-4E2AEE7B75ED}"/>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A40A76AB-576F-2C48-7ED4-0E98A54B99AD}"/>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717253AE-3DDB-8C8A-399D-C55C49CB0832}"/>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0DC17B7D-4E9B-5FAC-1228-C97FB1CFC5A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68480633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2.11 Title slide with media 2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sz="1600">
                <a:solidFill>
                  <a:schemeClr val="bg1"/>
                </a:solidFill>
              </a:defRPr>
            </a:lvl4pPr>
            <a:lvl5pPr marL="1199941" indent="-239989">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C341FE85-3CE7-12FA-3841-D7CC0ABB659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27418BB1-0E7E-AAD3-AD71-82204464918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02B48A79-625E-B973-DCD8-533E86F25072}"/>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DB9A4E9B-BED0-504E-628D-EAD882C392A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742AC6DC-CFBE-F98E-4CC4-2390702BA655}"/>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43820533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2.12 Title slide with media 3 dark">
    <p:bg>
      <p:bgPr>
        <a:solidFill>
          <a:schemeClr val="tx1"/>
        </a:solidFill>
        <a:effectLst/>
      </p:bgPr>
    </p:bg>
    <p:spTree>
      <p:nvGrpSpPr>
        <p:cNvPr id="1" name=""/>
        <p:cNvGrpSpPr/>
        <p:nvPr/>
      </p:nvGrpSpPr>
      <p:grpSpPr>
        <a:xfrm>
          <a:off x="0" y="0"/>
          <a:ext cx="0" cy="0"/>
          <a:chOff x="0" y="0"/>
          <a:chExt cx="0" cy="0"/>
        </a:xfrm>
      </p:grpSpPr>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556802" y="527928"/>
            <a:ext cx="4554028"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556802" y="1019360"/>
            <a:ext cx="4554028"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556454" y="1680000"/>
            <a:ext cx="455402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sz="1600">
                <a:solidFill>
                  <a:schemeClr val="bg1"/>
                </a:solidFill>
              </a:defRPr>
            </a:lvl4pPr>
            <a:lvl5pPr marL="1199941" indent="-239989">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E7BA896-DC3C-C861-6C89-0401950D7446}"/>
              </a:ext>
            </a:extLst>
          </p:cNvPr>
          <p:cNvSpPr>
            <a:spLocks noGrp="1"/>
          </p:cNvSpPr>
          <p:nvPr>
            <p:ph type="pic" sz="quarter" idx="15" hasCustomPrompt="1"/>
          </p:nvPr>
        </p:nvSpPr>
        <p:spPr>
          <a:xfrm>
            <a:off x="5486400" y="0"/>
            <a:ext cx="67056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pic>
        <p:nvPicPr>
          <p:cNvPr id="4" name="Graphic 3">
            <a:extLst>
              <a:ext uri="{FF2B5EF4-FFF2-40B4-BE49-F238E27FC236}">
                <a16:creationId xmlns:a16="http://schemas.microsoft.com/office/drawing/2014/main" id="{2E1E3056-42DC-BA9B-F46D-475E5BE32B9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5" name="TextBox 4">
            <a:extLst>
              <a:ext uri="{FF2B5EF4-FFF2-40B4-BE49-F238E27FC236}">
                <a16:creationId xmlns:a16="http://schemas.microsoft.com/office/drawing/2014/main" id="{B6681D21-FC7E-7F82-9685-4F1EF53B236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41DBEFAD-5693-7A1A-A64F-C540D390A0B8}"/>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7840E574-42A1-50DE-BFA2-D52D3D35902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DDEF2D02-B6B9-E747-F0EA-9ED48DC28C93}"/>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1387497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2.2 Title dark">
    <p:bg>
      <p:bgPr>
        <a:gradFill>
          <a:gsLst>
            <a:gs pos="53100">
              <a:schemeClr val="accent1">
                <a:lumMod val="59000"/>
              </a:schemeClr>
            </a:gs>
            <a:gs pos="0">
              <a:schemeClr val="tx1">
                <a:lumMod val="96000"/>
              </a:schemeClr>
            </a:gs>
            <a:gs pos="100000">
              <a:schemeClr val="accent1">
                <a:lumMod val="30000"/>
              </a:schemeClr>
            </a:gs>
          </a:gsLst>
          <a:lin ang="12000000" scaled="0"/>
        </a:gra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pic>
        <p:nvPicPr>
          <p:cNvPr id="3" name="Graphic 2">
            <a:extLst>
              <a:ext uri="{FF2B5EF4-FFF2-40B4-BE49-F238E27FC236}">
                <a16:creationId xmlns:a16="http://schemas.microsoft.com/office/drawing/2014/main" id="{BB937390-63D5-3E5C-5017-6C0EFAC8BC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86357" y="6330072"/>
            <a:ext cx="1296000" cy="292019"/>
          </a:xfrm>
          <a:prstGeom prst="rect">
            <a:avLst/>
          </a:prstGeom>
        </p:spPr>
      </p:pic>
      <p:pic>
        <p:nvPicPr>
          <p:cNvPr id="2" name="Picture 2">
            <a:extLst>
              <a:ext uri="{FF2B5EF4-FFF2-40B4-BE49-F238E27FC236}">
                <a16:creationId xmlns:a16="http://schemas.microsoft.com/office/drawing/2014/main" id="{54766257-3EDE-0532-1C29-76FEF5AEC310}"/>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610340" y="6330072"/>
            <a:ext cx="2444097" cy="290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40382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2.2 Title dark">
    <p:bg>
      <p:bgPr>
        <a:gradFill>
          <a:gsLst>
            <a:gs pos="53100">
              <a:schemeClr val="accent1">
                <a:lumMod val="59000"/>
              </a:schemeClr>
            </a:gs>
            <a:gs pos="0">
              <a:schemeClr val="tx1">
                <a:lumMod val="96000"/>
              </a:schemeClr>
            </a:gs>
            <a:gs pos="100000">
              <a:schemeClr val="accent1">
                <a:lumMod val="30000"/>
              </a:schemeClr>
            </a:gs>
          </a:gsLst>
          <a:lin ang="12000000" scaled="0"/>
        </a:gra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pic>
        <p:nvPicPr>
          <p:cNvPr id="3" name="Graphic 2">
            <a:extLst>
              <a:ext uri="{FF2B5EF4-FFF2-40B4-BE49-F238E27FC236}">
                <a16:creationId xmlns:a16="http://schemas.microsoft.com/office/drawing/2014/main" id="{BB937390-63D5-3E5C-5017-6C0EFAC8BC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Tree>
    <p:extLst>
      <p:ext uri="{BB962C8B-B14F-4D97-AF65-F5344CB8AC3E}">
        <p14:creationId xmlns:p14="http://schemas.microsoft.com/office/powerpoint/2010/main" val="94098530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2.3 Text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0" indent="0">
              <a:lnSpc>
                <a:spcPct val="100000"/>
              </a:lnSpc>
              <a:spcBef>
                <a:spcPts val="0"/>
              </a:spcBef>
              <a:spcAft>
                <a:spcPts val="800"/>
              </a:spcAft>
              <a:buSzPct val="70000"/>
              <a:buNone/>
              <a:defRPr sz="1600">
                <a:solidFill>
                  <a:schemeClr val="bg1"/>
                </a:solidFill>
              </a:defRPr>
            </a:lvl1pPr>
            <a:lvl2pPr marL="239989" indent="0">
              <a:lnSpc>
                <a:spcPct val="100000"/>
              </a:lnSpc>
              <a:spcBef>
                <a:spcPts val="0"/>
              </a:spcBef>
              <a:spcAft>
                <a:spcPts val="800"/>
              </a:spcAft>
              <a:buSzPct val="70000"/>
              <a:buNone/>
              <a:defRPr sz="1600">
                <a:solidFill>
                  <a:schemeClr val="bg1"/>
                </a:solidFill>
              </a:defRPr>
            </a:lvl2pPr>
            <a:lvl3pPr marL="479976" indent="0">
              <a:lnSpc>
                <a:spcPct val="100000"/>
              </a:lnSpc>
              <a:spcBef>
                <a:spcPts val="0"/>
              </a:spcBef>
              <a:spcAft>
                <a:spcPts val="800"/>
              </a:spcAft>
              <a:buSzPct val="70000"/>
              <a:buNone/>
              <a:defRPr sz="1600">
                <a:solidFill>
                  <a:schemeClr val="bg1"/>
                </a:solidFill>
              </a:defRPr>
            </a:lvl3pPr>
            <a:lvl4pPr marL="719965" indent="0">
              <a:lnSpc>
                <a:spcPct val="100000"/>
              </a:lnSpc>
              <a:spcBef>
                <a:spcPts val="0"/>
              </a:spcBef>
              <a:spcAft>
                <a:spcPts val="800"/>
              </a:spcAft>
              <a:buSzPct val="70000"/>
              <a:buNone/>
              <a:defRPr sz="1600">
                <a:solidFill>
                  <a:schemeClr val="bg1"/>
                </a:solidFill>
              </a:defRPr>
            </a:lvl4pPr>
            <a:lvl5pPr marL="959952" indent="0">
              <a:lnSpc>
                <a:spcPct val="100000"/>
              </a:lnSpc>
              <a:spcBef>
                <a:spcPts val="0"/>
              </a:spcBef>
              <a:spcAft>
                <a:spcPts val="800"/>
              </a:spcAft>
              <a:buSzPct val="70000"/>
              <a:buNone/>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06C6E69-321F-D4AD-8DE6-1E8BDA99907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EA8F815C-F7BD-B743-55F1-819C90566A64}"/>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CFE394A0-1BF5-A207-62B2-624B902703EF}"/>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BE42F71C-985A-E2BB-6FBF-54A07A91DCC3}"/>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362F7ED-C2A3-E1DD-8729-A9B3A26605A2}"/>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19528809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_2.4 Bulletpoint text 1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D8AA8973-ED90-DA21-18C7-5D6E292CC82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3" name="TextBox 2">
            <a:extLst>
              <a:ext uri="{FF2B5EF4-FFF2-40B4-BE49-F238E27FC236}">
                <a16:creationId xmlns:a16="http://schemas.microsoft.com/office/drawing/2014/main" id="{9F4D957F-E5DE-27F8-AACE-C02FAE5A4250}"/>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CC281E37-10DE-9743-87A9-A079EEC7D36E}"/>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93380BE7-EF71-135D-FC9B-9D9C4CFD066E}"/>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50701039-6E84-E6CE-7E91-BAB5836AA8D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10969122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_2.5 Bulletpoint text 2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5424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6211552" y="1680000"/>
            <a:ext cx="5424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0988706-2E03-4A9C-79F3-2E7AE15E66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BAB1039B-CAD1-E7A1-9A8E-421F00BB27A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DA31894B-2ADC-F353-515E-61B978FE204D}"/>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D5288A7-E819-08AD-0192-BAB1AB7959D8}"/>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5176F92-BBFE-DBC8-EAB4-685F805E3A22}"/>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78132815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_2.6 Bulletpoint text 3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360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4296000" y="1680000"/>
            <a:ext cx="360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8035551" y="1680000"/>
            <a:ext cx="3596877"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AB306A2-2949-7644-5CCE-6B01F360075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3" name="TextBox 2">
            <a:extLst>
              <a:ext uri="{FF2B5EF4-FFF2-40B4-BE49-F238E27FC236}">
                <a16:creationId xmlns:a16="http://schemas.microsoft.com/office/drawing/2014/main" id="{4FFAD2D5-5981-9B4A-69C8-3901DF8F846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2FBD0FB5-5841-7798-81F7-03203504ECC7}"/>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782EBFFC-4C2D-D007-FA55-966B10478527}"/>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9024A70A-45FE-D443-B1F3-C03BAFA27BD1}"/>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61277469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2.7 Bulletpoint text 4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368443"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180435"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8992427"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5E782D2-17EB-7305-867D-635CABCFC87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0" name="TextBox 9">
            <a:extLst>
              <a:ext uri="{FF2B5EF4-FFF2-40B4-BE49-F238E27FC236}">
                <a16:creationId xmlns:a16="http://schemas.microsoft.com/office/drawing/2014/main" id="{DCEB6067-6AAF-DE7E-E481-757CDC1CC59F}"/>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AC92C61F-FD93-073C-AFAA-3629762CCB45}"/>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7B3E1782-7EA3-5D5C-4FB2-290A89A7E3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422E3335-8FF0-0584-6655-EE052F07292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35776253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_2.8 Numbered text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556800" y="1680000"/>
            <a:ext cx="11078400" cy="4158640"/>
          </a:xfrm>
          <a:prstGeom prst="rect">
            <a:avLst/>
          </a:prstGeom>
        </p:spPr>
        <p:txBody>
          <a:bodyPr lIns="0" tIns="0" rIns="0" bIns="0"/>
          <a:lstStyle>
            <a:lvl1pPr marL="304784" indent="-304784">
              <a:lnSpc>
                <a:spcPct val="100000"/>
              </a:lnSpc>
              <a:spcBef>
                <a:spcPts val="0"/>
              </a:spcBef>
              <a:spcAft>
                <a:spcPts val="800"/>
              </a:spcAft>
              <a:buFont typeface="+mj-lt"/>
              <a:buAutoNum type="arabicPeriod"/>
              <a:defRPr sz="1600">
                <a:solidFill>
                  <a:schemeClr val="bg1"/>
                </a:solidFill>
              </a:defRPr>
            </a:lvl1pPr>
            <a:lvl2pPr marL="544773" indent="-304784">
              <a:lnSpc>
                <a:spcPct val="100000"/>
              </a:lnSpc>
              <a:spcBef>
                <a:spcPts val="0"/>
              </a:spcBef>
              <a:spcAft>
                <a:spcPts val="800"/>
              </a:spcAft>
              <a:buFont typeface="+mj-lt"/>
              <a:buAutoNum type="arabicPeriod" startAt="2"/>
              <a:defRPr sz="1600">
                <a:solidFill>
                  <a:schemeClr val="bg1"/>
                </a:solidFill>
              </a:defRPr>
            </a:lvl2pPr>
            <a:lvl3pPr marL="784760" indent="-304784">
              <a:lnSpc>
                <a:spcPct val="100000"/>
              </a:lnSpc>
              <a:spcBef>
                <a:spcPts val="0"/>
              </a:spcBef>
              <a:spcAft>
                <a:spcPts val="800"/>
              </a:spcAft>
              <a:buFont typeface="+mj-lt"/>
              <a:buAutoNum type="arabicPeriod" startAt="3"/>
              <a:defRPr sz="1600">
                <a:solidFill>
                  <a:schemeClr val="bg1"/>
                </a:solidFill>
              </a:defRPr>
            </a:lvl3pPr>
            <a:lvl4pPr marL="1024749" indent="-304784">
              <a:lnSpc>
                <a:spcPct val="100000"/>
              </a:lnSpc>
              <a:spcBef>
                <a:spcPts val="0"/>
              </a:spcBef>
              <a:spcAft>
                <a:spcPts val="800"/>
              </a:spcAft>
              <a:buFont typeface="+mj-lt"/>
              <a:buAutoNum type="arabicPeriod" startAt="4"/>
              <a:defRPr sz="1600">
                <a:solidFill>
                  <a:schemeClr val="bg1"/>
                </a:solidFill>
              </a:defRPr>
            </a:lvl4pPr>
            <a:lvl5pPr marL="1276136" indent="-304784">
              <a:lnSpc>
                <a:spcPct val="100000"/>
              </a:lnSpc>
              <a:spcBef>
                <a:spcPts val="0"/>
              </a:spcBef>
              <a:spcAft>
                <a:spcPts val="800"/>
              </a:spcAft>
              <a:buFont typeface="+mj-lt"/>
              <a:buAutoNum type="arabicPeriod" startAt="5"/>
              <a:defRPr sz="1600">
                <a:solidFill>
                  <a:schemeClr val="bg1"/>
                </a:solidFill>
              </a:defRPr>
            </a:lvl5pPr>
          </a:lstStyle>
          <a:p>
            <a:pPr lvl="0"/>
            <a:r>
              <a:rPr lang="en-US"/>
              <a:t>Text here</a:t>
            </a:r>
          </a:p>
          <a:p>
            <a:pPr lvl="1"/>
            <a:r>
              <a:rPr lang="en-US"/>
              <a:t>Text here</a:t>
            </a:r>
          </a:p>
          <a:p>
            <a:pPr lvl="2"/>
            <a:r>
              <a:rPr lang="en-US"/>
              <a:t>Text here</a:t>
            </a:r>
          </a:p>
          <a:p>
            <a:pPr lvl="3"/>
            <a:r>
              <a:rPr lang="en-US"/>
              <a:t>Text here</a:t>
            </a:r>
          </a:p>
          <a:p>
            <a:pPr marL="1276136" marR="0" lvl="4" indent="-304784" algn="l" defTabSz="914354" rtl="0" eaLnBrk="1" fontAlgn="auto" latinLnBrk="0" hangingPunct="1">
              <a:lnSpc>
                <a:spcPct val="100000"/>
              </a:lnSpc>
              <a:spcBef>
                <a:spcPts val="0"/>
              </a:spcBef>
              <a:spcAft>
                <a:spcPts val="400"/>
              </a:spcAft>
              <a:buClrTx/>
              <a:buSzTx/>
              <a:tabLst/>
              <a:defRPr/>
            </a:pPr>
            <a:r>
              <a:rPr lang="en-US"/>
              <a:t>Text here</a:t>
            </a:r>
          </a:p>
        </p:txBody>
      </p:sp>
      <p:pic>
        <p:nvPicPr>
          <p:cNvPr id="2" name="Graphic 1">
            <a:extLst>
              <a:ext uri="{FF2B5EF4-FFF2-40B4-BE49-F238E27FC236}">
                <a16:creationId xmlns:a16="http://schemas.microsoft.com/office/drawing/2014/main" id="{B2827D84-480B-22A7-4B2A-BFD3AB9191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8A8B0B3F-161E-8508-3B23-007FE1624352}"/>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99F8CB66-4F0D-7F21-56F6-56AAA5C02227}"/>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8A760B86-74B6-48A3-CE6D-96096653BF7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DD20D035-9F8D-A232-B41B-0EC79F1159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794804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5.3 - Cover O BlueGreen3">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9308198" y="3224292"/>
            <a:ext cx="1817989" cy="409417"/>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6835701" y="-6395"/>
            <a:ext cx="5356300" cy="68592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556708" y="2179565"/>
            <a:ext cx="5213179"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20" name="TextBox 19">
            <a:extLst>
              <a:ext uri="{FF2B5EF4-FFF2-40B4-BE49-F238E27FC236}">
                <a16:creationId xmlns:a16="http://schemas.microsoft.com/office/drawing/2014/main" id="{720759C7-94BC-8FC1-9A43-A40A4BE7AC1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83D4680A-11B6-A841-EC68-FFF11409500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2" name="Footer Placeholder 2">
            <a:extLst>
              <a:ext uri="{FF2B5EF4-FFF2-40B4-BE49-F238E27FC236}">
                <a16:creationId xmlns:a16="http://schemas.microsoft.com/office/drawing/2014/main" id="{AE485A1C-8A6A-5C51-5E3F-5685AAA904F0}"/>
              </a:ext>
            </a:extLst>
          </p:cNvPr>
          <p:cNvSpPr>
            <a:spLocks noGrp="1"/>
          </p:cNvSpPr>
          <p:nvPr>
            <p:ph type="ftr" sz="quarter" idx="3"/>
          </p:nvPr>
        </p:nvSpPr>
        <p:spPr>
          <a:xfrm>
            <a:off x="2006147" y="6478073"/>
            <a:ext cx="3840000" cy="163200"/>
          </a:xfrm>
          <a:prstGeom prst="rect">
            <a:avLst/>
          </a:prstGeom>
        </p:spPr>
        <p:txBody>
          <a:bodyPr vert="horz" wrap="none" lIns="0" tIns="0" rIns="0" bIns="0" rtlCol="0" anchor="b" anchorCtr="0">
            <a:noAutofit/>
          </a:bodyPr>
          <a:lstStyle>
            <a:lvl1pPr marL="0" algn="l" defTabSz="609585" rtl="0" eaLnBrk="1" latinLnBrk="0" hangingPunct="1">
              <a:defRPr lang="en-GB" sz="1067"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confidential</a:t>
            </a:r>
          </a:p>
        </p:txBody>
      </p:sp>
      <p:cxnSp>
        <p:nvCxnSpPr>
          <p:cNvPr id="2" name="Straight Connector 1">
            <a:extLst>
              <a:ext uri="{FF2B5EF4-FFF2-40B4-BE49-F238E27FC236}">
                <a16:creationId xmlns:a16="http://schemas.microsoft.com/office/drawing/2014/main" id="{97FF23FE-4D10-4C29-7B09-1D707687BDB0}"/>
              </a:ext>
            </a:extLst>
          </p:cNvPr>
          <p:cNvCxnSpPr>
            <a:cxnSpLocks/>
          </p:cNvCxnSpPr>
          <p:nvPr userDrawn="1"/>
        </p:nvCxnSpPr>
        <p:spPr>
          <a:xfrm>
            <a:off x="1871480" y="6457200"/>
            <a:ext cx="0" cy="192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256286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7.2 - Divider BlueGreen3">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Text Placeholder 42">
            <a:extLst>
              <a:ext uri="{FF2B5EF4-FFF2-40B4-BE49-F238E27FC236}">
                <a16:creationId xmlns:a16="http://schemas.microsoft.com/office/drawing/2014/main" id="{BE7F6530-2B80-C2AA-C92D-861D7E8FD530}"/>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buNone/>
              <a:defRPr sz="5867"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3" name="TextBox 12">
            <a:extLst>
              <a:ext uri="{FF2B5EF4-FFF2-40B4-BE49-F238E27FC236}">
                <a16:creationId xmlns:a16="http://schemas.microsoft.com/office/drawing/2014/main" id="{4FBBDEB0-7315-4214-F9C8-48DBCC502C8E}"/>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3976F6A6-5835-91B8-5B94-A197DCCF65D7}"/>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2">
            <a:extLst>
              <a:ext uri="{FF2B5EF4-FFF2-40B4-BE49-F238E27FC236}">
                <a16:creationId xmlns:a16="http://schemas.microsoft.com/office/drawing/2014/main" id="{146445DD-AC0A-C4BA-03CB-A346CF3E9279}"/>
              </a:ext>
            </a:extLst>
          </p:cNvPr>
          <p:cNvSpPr>
            <a:spLocks noGrp="1"/>
          </p:cNvSpPr>
          <p:nvPr>
            <p:ph type="ftr" sz="quarter" idx="3"/>
          </p:nvPr>
        </p:nvSpPr>
        <p:spPr>
          <a:xfrm>
            <a:off x="2006147" y="6478073"/>
            <a:ext cx="3840000" cy="163200"/>
          </a:xfrm>
          <a:prstGeom prst="rect">
            <a:avLst/>
          </a:prstGeom>
        </p:spPr>
        <p:txBody>
          <a:bodyPr vert="horz" wrap="none" lIns="0" tIns="0" rIns="0" bIns="0" rtlCol="0" anchor="b" anchorCtr="0">
            <a:noAutofit/>
          </a:bodyPr>
          <a:lstStyle>
            <a:lvl1pPr marL="0" algn="l" defTabSz="609585" rtl="0" eaLnBrk="1" latinLnBrk="0" hangingPunct="1">
              <a:defRPr lang="en-GB" sz="1067"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p>
        </p:txBody>
      </p:sp>
      <p:sp>
        <p:nvSpPr>
          <p:cNvPr id="3" name="Text Placeholder 42">
            <a:extLst>
              <a:ext uri="{FF2B5EF4-FFF2-40B4-BE49-F238E27FC236}">
                <a16:creationId xmlns:a16="http://schemas.microsoft.com/office/drawing/2014/main" id="{5ED3C240-0F31-AD4B-E3D6-E9E2DFC4EB67}"/>
              </a:ext>
            </a:extLst>
          </p:cNvPr>
          <p:cNvSpPr>
            <a:spLocks noGrp="1"/>
          </p:cNvSpPr>
          <p:nvPr>
            <p:ph type="body" sz="quarter" idx="12"/>
          </p:nvPr>
        </p:nvSpPr>
        <p:spPr>
          <a:xfrm>
            <a:off x="556800" y="4215295"/>
            <a:ext cx="11078400" cy="1477960"/>
          </a:xfrm>
          <a:prstGeom prst="rect">
            <a:avLst/>
          </a:prstGeom>
        </p:spPr>
        <p:txBody>
          <a:bodyPr lIns="0" tIns="0" rIns="0" bIns="0"/>
          <a:lstStyle>
            <a:lvl1pPr marL="0" indent="0">
              <a:buNone/>
              <a:defRPr sz="2133"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cxnSp>
        <p:nvCxnSpPr>
          <p:cNvPr id="4" name="Straight Connector 3">
            <a:extLst>
              <a:ext uri="{FF2B5EF4-FFF2-40B4-BE49-F238E27FC236}">
                <a16:creationId xmlns:a16="http://schemas.microsoft.com/office/drawing/2014/main" id="{C935493C-0314-59F4-3E99-CA50A71C90CC}"/>
              </a:ext>
            </a:extLst>
          </p:cNvPr>
          <p:cNvCxnSpPr>
            <a:cxnSpLocks/>
          </p:cNvCxnSpPr>
          <p:nvPr userDrawn="1"/>
        </p:nvCxnSpPr>
        <p:spPr>
          <a:xfrm>
            <a:off x="1871480" y="6457200"/>
            <a:ext cx="0" cy="192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804009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2.11 Title slide with media 2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sz="1600">
                <a:solidFill>
                  <a:schemeClr val="bg1"/>
                </a:solidFill>
              </a:defRPr>
            </a:lvl4pPr>
            <a:lvl5pPr marL="1199941" indent="-239989">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C341FE85-3CE7-12FA-3841-D7CC0ABB659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27418BB1-0E7E-AAD3-AD71-82204464918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02B48A79-625E-B973-DCD8-533E86F25072}"/>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DB9A4E9B-BED0-504E-628D-EAD882C392A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742AC6DC-CFBE-F98E-4CC4-2390702BA655}"/>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79727861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_2.12 Title slide with media 3 dark">
    <p:bg>
      <p:bgPr>
        <a:solidFill>
          <a:schemeClr val="tx1"/>
        </a:solidFill>
        <a:effectLst/>
      </p:bgPr>
    </p:bg>
    <p:spTree>
      <p:nvGrpSpPr>
        <p:cNvPr id="1" name=""/>
        <p:cNvGrpSpPr/>
        <p:nvPr/>
      </p:nvGrpSpPr>
      <p:grpSpPr>
        <a:xfrm>
          <a:off x="0" y="0"/>
          <a:ext cx="0" cy="0"/>
          <a:chOff x="0" y="0"/>
          <a:chExt cx="0" cy="0"/>
        </a:xfrm>
      </p:grpSpPr>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556802" y="527928"/>
            <a:ext cx="4554028"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556802" y="1019360"/>
            <a:ext cx="4554028"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556454" y="1680000"/>
            <a:ext cx="455402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sz="1600">
                <a:solidFill>
                  <a:schemeClr val="bg1"/>
                </a:solidFill>
              </a:defRPr>
            </a:lvl4pPr>
            <a:lvl5pPr marL="1199941" indent="-239989">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E7BA896-DC3C-C861-6C89-0401950D7446}"/>
              </a:ext>
            </a:extLst>
          </p:cNvPr>
          <p:cNvSpPr>
            <a:spLocks noGrp="1"/>
          </p:cNvSpPr>
          <p:nvPr>
            <p:ph type="pic" sz="quarter" idx="15" hasCustomPrompt="1"/>
          </p:nvPr>
        </p:nvSpPr>
        <p:spPr>
          <a:xfrm>
            <a:off x="5486400" y="0"/>
            <a:ext cx="67056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pic>
        <p:nvPicPr>
          <p:cNvPr id="4" name="Graphic 3">
            <a:extLst>
              <a:ext uri="{FF2B5EF4-FFF2-40B4-BE49-F238E27FC236}">
                <a16:creationId xmlns:a16="http://schemas.microsoft.com/office/drawing/2014/main" id="{2E1E3056-42DC-BA9B-F46D-475E5BE32B9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5" name="TextBox 4">
            <a:extLst>
              <a:ext uri="{FF2B5EF4-FFF2-40B4-BE49-F238E27FC236}">
                <a16:creationId xmlns:a16="http://schemas.microsoft.com/office/drawing/2014/main" id="{B6681D21-FC7E-7F82-9685-4F1EF53B236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41DBEFAD-5693-7A1A-A64F-C540D390A0B8}"/>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7840E574-42A1-50DE-BFA2-D52D3D35902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DDEF2D02-B6B9-E747-F0EA-9ED48DC28C93}"/>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1980081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3 Text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0" indent="0">
              <a:lnSpc>
                <a:spcPct val="100000"/>
              </a:lnSpc>
              <a:spcBef>
                <a:spcPts val="0"/>
              </a:spcBef>
              <a:spcAft>
                <a:spcPts val="800"/>
              </a:spcAft>
              <a:buSzPct val="70000"/>
              <a:buNone/>
              <a:defRPr sz="1600">
                <a:solidFill>
                  <a:schemeClr val="bg1"/>
                </a:solidFill>
              </a:defRPr>
            </a:lvl1pPr>
            <a:lvl2pPr marL="239994" indent="0">
              <a:lnSpc>
                <a:spcPct val="100000"/>
              </a:lnSpc>
              <a:spcBef>
                <a:spcPts val="0"/>
              </a:spcBef>
              <a:spcAft>
                <a:spcPts val="800"/>
              </a:spcAft>
              <a:buSzPct val="70000"/>
              <a:buNone/>
              <a:defRPr sz="1600">
                <a:solidFill>
                  <a:schemeClr val="bg1"/>
                </a:solidFill>
              </a:defRPr>
            </a:lvl2pPr>
            <a:lvl3pPr marL="479988" indent="0">
              <a:lnSpc>
                <a:spcPct val="100000"/>
              </a:lnSpc>
              <a:spcBef>
                <a:spcPts val="0"/>
              </a:spcBef>
              <a:spcAft>
                <a:spcPts val="800"/>
              </a:spcAft>
              <a:buSzPct val="70000"/>
              <a:buNone/>
              <a:defRPr sz="1600">
                <a:solidFill>
                  <a:schemeClr val="bg1"/>
                </a:solidFill>
              </a:defRPr>
            </a:lvl3pPr>
            <a:lvl4pPr marL="719982" indent="0">
              <a:lnSpc>
                <a:spcPct val="100000"/>
              </a:lnSpc>
              <a:spcBef>
                <a:spcPts val="0"/>
              </a:spcBef>
              <a:spcAft>
                <a:spcPts val="800"/>
              </a:spcAft>
              <a:buSzPct val="70000"/>
              <a:buNone/>
              <a:defRPr sz="1600">
                <a:solidFill>
                  <a:schemeClr val="bg1"/>
                </a:solidFill>
              </a:defRPr>
            </a:lvl4pPr>
            <a:lvl5pPr marL="959976" indent="0">
              <a:lnSpc>
                <a:spcPct val="100000"/>
              </a:lnSpc>
              <a:spcBef>
                <a:spcPts val="0"/>
              </a:spcBef>
              <a:spcAft>
                <a:spcPts val="800"/>
              </a:spcAft>
              <a:buSzPct val="70000"/>
              <a:buNone/>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06C6E69-321F-D4AD-8DE6-1E8BDA99907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EA8F815C-F7BD-B743-55F1-819C90566A64}"/>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CFE394A0-1BF5-A207-62B2-624B902703EF}"/>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BE42F71C-985A-E2BB-6FBF-54A07A91DCC3}"/>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362F7ED-C2A3-E1DD-8729-A9B3A26605A2}"/>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57151716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6_2.13 Title slide with media 4 dark">
    <p:bg>
      <p:bgPr>
        <a:solidFill>
          <a:schemeClr val="tx1"/>
        </a:solidFill>
        <a:effectLst/>
      </p:bgPr>
    </p:bg>
    <p:spTree>
      <p:nvGrpSpPr>
        <p:cNvPr id="1" name=""/>
        <p:cNvGrpSpPr/>
        <p:nvPr/>
      </p:nvGrpSpPr>
      <p:grpSpPr>
        <a:xfrm>
          <a:off x="0" y="0"/>
          <a:ext cx="0" cy="0"/>
          <a:chOff x="0" y="0"/>
          <a:chExt cx="0" cy="0"/>
        </a:xfrm>
      </p:grpSpPr>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556802" y="527928"/>
            <a:ext cx="3294188"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556802" y="1019360"/>
            <a:ext cx="3294188"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556454" y="1680000"/>
            <a:ext cx="329418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sz="1600">
                <a:solidFill>
                  <a:schemeClr val="bg1"/>
                </a:solidFill>
              </a:defRPr>
            </a:lvl4pPr>
            <a:lvl5pPr marL="1199941" indent="-239989">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C663BDD0-396A-C130-FA04-231CB3C74388}"/>
              </a:ext>
            </a:extLst>
          </p:cNvPr>
          <p:cNvSpPr>
            <a:spLocks noGrp="1"/>
          </p:cNvSpPr>
          <p:nvPr>
            <p:ph type="pic" sz="quarter" idx="16" hasCustomPrompt="1"/>
          </p:nvPr>
        </p:nvSpPr>
        <p:spPr>
          <a:xfrm>
            <a:off x="4267200" y="0"/>
            <a:ext cx="79248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pic>
        <p:nvPicPr>
          <p:cNvPr id="3" name="Graphic 2">
            <a:extLst>
              <a:ext uri="{FF2B5EF4-FFF2-40B4-BE49-F238E27FC236}">
                <a16:creationId xmlns:a16="http://schemas.microsoft.com/office/drawing/2014/main" id="{E89A3CCB-3818-87A8-9032-448C77F620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6" name="TextBox 5">
            <a:extLst>
              <a:ext uri="{FF2B5EF4-FFF2-40B4-BE49-F238E27FC236}">
                <a16:creationId xmlns:a16="http://schemas.microsoft.com/office/drawing/2014/main" id="{2108539B-21D0-85E7-AB77-143ABD40EEB1}"/>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3F76E50B-EEF8-724F-1802-0488D70A46F4}"/>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7FC0E722-8D59-61D9-391E-65CCE154F81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0CF5A558-51C2-73A4-9D8C-5A3B7422BE46}"/>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426557505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3 N Blue green">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A97BECFD-8EA7-0689-338E-FF79734814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Graphic 5">
            <a:extLst>
              <a:ext uri="{FF2B5EF4-FFF2-40B4-BE49-F238E27FC236}">
                <a16:creationId xmlns:a16="http://schemas.microsoft.com/office/drawing/2014/main" id="{B8976C7B-2688-70F3-77A4-4D1113FB54E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6859200" cy="6859200"/>
          </a:xfrm>
          <a:prstGeom prst="rect">
            <a:avLst/>
          </a:prstGeom>
        </p:spPr>
      </p:pic>
      <p:grpSp>
        <p:nvGrpSpPr>
          <p:cNvPr id="10" name="Graphic 3">
            <a:extLst>
              <a:ext uri="{FF2B5EF4-FFF2-40B4-BE49-F238E27FC236}">
                <a16:creationId xmlns:a16="http://schemas.microsoft.com/office/drawing/2014/main" id="{49D9392C-9E29-427F-3C29-C64146E898C7}"/>
              </a:ext>
            </a:extLst>
          </p:cNvPr>
          <p:cNvGrpSpPr/>
          <p:nvPr userDrawn="1"/>
        </p:nvGrpSpPr>
        <p:grpSpPr>
          <a:xfrm>
            <a:off x="1649972" y="5976901"/>
            <a:ext cx="1817989" cy="409417"/>
            <a:chOff x="469958" y="1647414"/>
            <a:chExt cx="8205029" cy="1847802"/>
          </a:xfrm>
          <a:solidFill>
            <a:schemeClr val="bg1"/>
          </a:solidFill>
        </p:grpSpPr>
        <p:sp>
          <p:nvSpPr>
            <p:cNvPr id="11" name="Freeform 33">
              <a:extLst>
                <a:ext uri="{FF2B5EF4-FFF2-40B4-BE49-F238E27FC236}">
                  <a16:creationId xmlns:a16="http://schemas.microsoft.com/office/drawing/2014/main" id="{86483177-9ABF-3F5C-ED1D-16C01EEE37C3}"/>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97C96119-D9F7-8022-5694-A13E7950B52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3" name="Freeform 35">
              <a:extLst>
                <a:ext uri="{FF2B5EF4-FFF2-40B4-BE49-F238E27FC236}">
                  <a16:creationId xmlns:a16="http://schemas.microsoft.com/office/drawing/2014/main" id="{247CB589-C660-36A6-BF29-1327034A981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6">
              <a:extLst>
                <a:ext uri="{FF2B5EF4-FFF2-40B4-BE49-F238E27FC236}">
                  <a16:creationId xmlns:a16="http://schemas.microsoft.com/office/drawing/2014/main" id="{2B915696-0B26-9206-B2E7-93708805BDBC}"/>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7">
              <a:extLst>
                <a:ext uri="{FF2B5EF4-FFF2-40B4-BE49-F238E27FC236}">
                  <a16:creationId xmlns:a16="http://schemas.microsoft.com/office/drawing/2014/main" id="{AA3A0836-5277-7254-E598-6DE9FA1A526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5" name="Title 4">
            <a:extLst>
              <a:ext uri="{FF2B5EF4-FFF2-40B4-BE49-F238E27FC236}">
                <a16:creationId xmlns:a16="http://schemas.microsoft.com/office/drawing/2014/main" id="{1EF87F37-41EC-F109-B4C3-D44EE53A0A05}"/>
              </a:ext>
            </a:extLst>
          </p:cNvPr>
          <p:cNvSpPr>
            <a:spLocks noGrp="1"/>
          </p:cNvSpPr>
          <p:nvPr>
            <p:ph type="title" hasCustomPrompt="1"/>
          </p:nvPr>
        </p:nvSpPr>
        <p:spPr>
          <a:xfrm>
            <a:off x="5107197" y="959734"/>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7" name="Text Placeholder 3">
            <a:extLst>
              <a:ext uri="{FF2B5EF4-FFF2-40B4-BE49-F238E27FC236}">
                <a16:creationId xmlns:a16="http://schemas.microsoft.com/office/drawing/2014/main" id="{3D32AC0D-5511-1F2D-2A28-C259AC8BC58A}"/>
              </a:ext>
            </a:extLst>
          </p:cNvPr>
          <p:cNvSpPr>
            <a:spLocks noGrp="1"/>
          </p:cNvSpPr>
          <p:nvPr>
            <p:ph type="body" sz="quarter" idx="12" hasCustomPrompt="1"/>
          </p:nvPr>
        </p:nvSpPr>
        <p:spPr>
          <a:xfrm>
            <a:off x="5107199" y="2834800"/>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8" name="TextBox 17">
            <a:extLst>
              <a:ext uri="{FF2B5EF4-FFF2-40B4-BE49-F238E27FC236}">
                <a16:creationId xmlns:a16="http://schemas.microsoft.com/office/drawing/2014/main" id="{3CB10A0F-2286-895A-B579-CB5D4386A2B7}"/>
              </a:ext>
            </a:extLst>
          </p:cNvPr>
          <p:cNvSpPr txBox="1"/>
          <p:nvPr userDrawn="1"/>
        </p:nvSpPr>
        <p:spPr>
          <a:xfrm>
            <a:off x="10793089"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AAD2976-396D-426A-A7C0-2D53F71491E3}"/>
              </a:ext>
            </a:extLst>
          </p:cNvPr>
          <p:cNvSpPr txBox="1">
            <a:spLocks/>
          </p:cNvSpPr>
          <p:nvPr userDrawn="1"/>
        </p:nvSpPr>
        <p:spPr>
          <a:xfrm>
            <a:off x="10445185"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60399325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3 N Purple blue">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81E104F6-2E1E-CFDD-A69D-C115384F159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0E27FD93-255E-C585-12C2-E99681C9BE5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1201"/>
            <a:ext cx="6859200" cy="6859200"/>
          </a:xfrm>
          <a:prstGeom prst="rect">
            <a:avLst/>
          </a:prstGeom>
        </p:spPr>
      </p:pic>
      <p:grpSp>
        <p:nvGrpSpPr>
          <p:cNvPr id="7" name="Graphic 3">
            <a:extLst>
              <a:ext uri="{FF2B5EF4-FFF2-40B4-BE49-F238E27FC236}">
                <a16:creationId xmlns:a16="http://schemas.microsoft.com/office/drawing/2014/main" id="{AC803887-2AFC-DF73-DE60-1BE27DDE158C}"/>
              </a:ext>
            </a:extLst>
          </p:cNvPr>
          <p:cNvGrpSpPr/>
          <p:nvPr userDrawn="1"/>
        </p:nvGrpSpPr>
        <p:grpSpPr>
          <a:xfrm>
            <a:off x="1649972" y="5976901"/>
            <a:ext cx="1817989" cy="409417"/>
            <a:chOff x="469958" y="1647414"/>
            <a:chExt cx="8205029" cy="1847802"/>
          </a:xfrm>
          <a:solidFill>
            <a:schemeClr val="bg1"/>
          </a:solidFill>
        </p:grpSpPr>
        <p:sp>
          <p:nvSpPr>
            <p:cNvPr id="8" name="Freeform 33">
              <a:extLst>
                <a:ext uri="{FF2B5EF4-FFF2-40B4-BE49-F238E27FC236}">
                  <a16:creationId xmlns:a16="http://schemas.microsoft.com/office/drawing/2014/main" id="{FB007C44-CA5E-747F-537B-FA8B422F6EF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4">
              <a:extLst>
                <a:ext uri="{FF2B5EF4-FFF2-40B4-BE49-F238E27FC236}">
                  <a16:creationId xmlns:a16="http://schemas.microsoft.com/office/drawing/2014/main" id="{ACD5E94E-82F7-2222-8DA7-BF2F4217D47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3" name="Freeform 35">
              <a:extLst>
                <a:ext uri="{FF2B5EF4-FFF2-40B4-BE49-F238E27FC236}">
                  <a16:creationId xmlns:a16="http://schemas.microsoft.com/office/drawing/2014/main" id="{3422F086-3538-B59C-A13B-E07C6B18072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6">
              <a:extLst>
                <a:ext uri="{FF2B5EF4-FFF2-40B4-BE49-F238E27FC236}">
                  <a16:creationId xmlns:a16="http://schemas.microsoft.com/office/drawing/2014/main" id="{64270631-5CE7-99C0-6E82-FDECFC1D363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7">
              <a:extLst>
                <a:ext uri="{FF2B5EF4-FFF2-40B4-BE49-F238E27FC236}">
                  <a16:creationId xmlns:a16="http://schemas.microsoft.com/office/drawing/2014/main" id="{AEC4CD95-FA07-887B-3375-C4368A44AF15}"/>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6" name="TextBox 5">
            <a:extLst>
              <a:ext uri="{FF2B5EF4-FFF2-40B4-BE49-F238E27FC236}">
                <a16:creationId xmlns:a16="http://schemas.microsoft.com/office/drawing/2014/main" id="{1AA40532-F231-EBBB-A8D3-3657B33CB9DA}"/>
              </a:ext>
            </a:extLst>
          </p:cNvPr>
          <p:cNvSpPr txBox="1"/>
          <p:nvPr userDrawn="1"/>
        </p:nvSpPr>
        <p:spPr>
          <a:xfrm>
            <a:off x="10793089"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B509789C-1FE5-7B11-DD63-34E6F72F670E}"/>
              </a:ext>
            </a:extLst>
          </p:cNvPr>
          <p:cNvSpPr txBox="1">
            <a:spLocks/>
          </p:cNvSpPr>
          <p:nvPr userDrawn="1"/>
        </p:nvSpPr>
        <p:spPr>
          <a:xfrm>
            <a:off x="10445185"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7" name="Title 4">
            <a:extLst>
              <a:ext uri="{FF2B5EF4-FFF2-40B4-BE49-F238E27FC236}">
                <a16:creationId xmlns:a16="http://schemas.microsoft.com/office/drawing/2014/main" id="{A1D3EB5E-6B70-AA5A-4340-53F0E0A0646D}"/>
              </a:ext>
            </a:extLst>
          </p:cNvPr>
          <p:cNvSpPr>
            <a:spLocks noGrp="1"/>
          </p:cNvSpPr>
          <p:nvPr>
            <p:ph type="title" hasCustomPrompt="1"/>
          </p:nvPr>
        </p:nvSpPr>
        <p:spPr>
          <a:xfrm>
            <a:off x="5107197" y="959734"/>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8" name="Text Placeholder 3">
            <a:extLst>
              <a:ext uri="{FF2B5EF4-FFF2-40B4-BE49-F238E27FC236}">
                <a16:creationId xmlns:a16="http://schemas.microsoft.com/office/drawing/2014/main" id="{0AF9AF4C-BE87-2184-CAE5-F141A4F930B6}"/>
              </a:ext>
            </a:extLst>
          </p:cNvPr>
          <p:cNvSpPr>
            <a:spLocks noGrp="1"/>
          </p:cNvSpPr>
          <p:nvPr>
            <p:ph type="body" sz="quarter" idx="12" hasCustomPrompt="1"/>
          </p:nvPr>
        </p:nvSpPr>
        <p:spPr>
          <a:xfrm>
            <a:off x="5107199" y="2834800"/>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26857937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3 N Pink">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C7D16BB-9265-7D3A-E136-8F028A9F86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0" name="Graphic 19">
            <a:extLst>
              <a:ext uri="{FF2B5EF4-FFF2-40B4-BE49-F238E27FC236}">
                <a16:creationId xmlns:a16="http://schemas.microsoft.com/office/drawing/2014/main" id="{A7536232-7B28-DCFA-37A3-EEBA7365A53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6859200" cy="6859200"/>
          </a:xfrm>
          <a:prstGeom prst="rect">
            <a:avLst/>
          </a:prstGeom>
        </p:spPr>
      </p:pic>
      <p:grpSp>
        <p:nvGrpSpPr>
          <p:cNvPr id="12" name="Graphic 3">
            <a:extLst>
              <a:ext uri="{FF2B5EF4-FFF2-40B4-BE49-F238E27FC236}">
                <a16:creationId xmlns:a16="http://schemas.microsoft.com/office/drawing/2014/main" id="{BBCFFB55-AEE0-B60F-9245-9C27632712D3}"/>
              </a:ext>
            </a:extLst>
          </p:cNvPr>
          <p:cNvGrpSpPr/>
          <p:nvPr userDrawn="1"/>
        </p:nvGrpSpPr>
        <p:grpSpPr>
          <a:xfrm>
            <a:off x="1649972" y="5976901"/>
            <a:ext cx="1817989" cy="409417"/>
            <a:chOff x="469958" y="1647414"/>
            <a:chExt cx="8205029" cy="1847802"/>
          </a:xfrm>
          <a:solidFill>
            <a:schemeClr val="bg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18" name="TextBox 17">
            <a:extLst>
              <a:ext uri="{FF2B5EF4-FFF2-40B4-BE49-F238E27FC236}">
                <a16:creationId xmlns:a16="http://schemas.microsoft.com/office/drawing/2014/main" id="{B3045E81-706E-BB14-3DDB-AC56D9F33518}"/>
              </a:ext>
            </a:extLst>
          </p:cNvPr>
          <p:cNvSpPr txBox="1"/>
          <p:nvPr userDrawn="1"/>
        </p:nvSpPr>
        <p:spPr>
          <a:xfrm>
            <a:off x="10793089"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B1E5D1B-6D7F-C600-7828-022D4F5709B7}"/>
              </a:ext>
            </a:extLst>
          </p:cNvPr>
          <p:cNvSpPr txBox="1">
            <a:spLocks/>
          </p:cNvSpPr>
          <p:nvPr userDrawn="1"/>
        </p:nvSpPr>
        <p:spPr>
          <a:xfrm>
            <a:off x="10445185"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Title 4">
            <a:extLst>
              <a:ext uri="{FF2B5EF4-FFF2-40B4-BE49-F238E27FC236}">
                <a16:creationId xmlns:a16="http://schemas.microsoft.com/office/drawing/2014/main" id="{F0180981-7B7F-4D9A-87AD-960857227942}"/>
              </a:ext>
            </a:extLst>
          </p:cNvPr>
          <p:cNvSpPr>
            <a:spLocks noGrp="1"/>
          </p:cNvSpPr>
          <p:nvPr>
            <p:ph type="title" hasCustomPrompt="1"/>
          </p:nvPr>
        </p:nvSpPr>
        <p:spPr>
          <a:xfrm>
            <a:off x="5107197" y="959734"/>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22" name="Text Placeholder 3">
            <a:extLst>
              <a:ext uri="{FF2B5EF4-FFF2-40B4-BE49-F238E27FC236}">
                <a16:creationId xmlns:a16="http://schemas.microsoft.com/office/drawing/2014/main" id="{5C555545-3487-5A2F-B887-81AE17C8067F}"/>
              </a:ext>
            </a:extLst>
          </p:cNvPr>
          <p:cNvSpPr>
            <a:spLocks noGrp="1"/>
          </p:cNvSpPr>
          <p:nvPr>
            <p:ph type="body" sz="quarter" idx="12" hasCustomPrompt="1"/>
          </p:nvPr>
        </p:nvSpPr>
        <p:spPr>
          <a:xfrm>
            <a:off x="5107199" y="2834800"/>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99679825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3 K Pin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C0B63B-5EB2-C517-FFAF-0A5B2B5AB93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grpSp>
        <p:nvGrpSpPr>
          <p:cNvPr id="8" name="Graphic 3">
            <a:extLst>
              <a:ext uri="{FF2B5EF4-FFF2-40B4-BE49-F238E27FC236}">
                <a16:creationId xmlns:a16="http://schemas.microsoft.com/office/drawing/2014/main" id="{02491239-1144-EB94-E007-F05D770D71DA}"/>
              </a:ext>
            </a:extLst>
          </p:cNvPr>
          <p:cNvGrpSpPr/>
          <p:nvPr userDrawn="1"/>
        </p:nvGrpSpPr>
        <p:grpSpPr>
          <a:xfrm>
            <a:off x="9407772" y="3224293"/>
            <a:ext cx="1817989" cy="409417"/>
            <a:chOff x="469958" y="1647414"/>
            <a:chExt cx="8205029" cy="1847802"/>
          </a:xfrm>
          <a:solidFill>
            <a:schemeClr val="bg1"/>
          </a:solidFill>
        </p:grpSpPr>
        <p:sp>
          <p:nvSpPr>
            <p:cNvPr id="9" name="Freeform 25">
              <a:extLst>
                <a:ext uri="{FF2B5EF4-FFF2-40B4-BE49-F238E27FC236}">
                  <a16:creationId xmlns:a16="http://schemas.microsoft.com/office/drawing/2014/main" id="{2FDE4536-B74E-FB0B-5701-EE95568054D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10" name="Freeform 31">
              <a:extLst>
                <a:ext uri="{FF2B5EF4-FFF2-40B4-BE49-F238E27FC236}">
                  <a16:creationId xmlns:a16="http://schemas.microsoft.com/office/drawing/2014/main" id="{DC504B4C-4BF0-DF13-D647-0C718DF4AD9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1" name="Freeform 32">
              <a:extLst>
                <a:ext uri="{FF2B5EF4-FFF2-40B4-BE49-F238E27FC236}">
                  <a16:creationId xmlns:a16="http://schemas.microsoft.com/office/drawing/2014/main" id="{F3BB0087-C253-F0E4-3F52-1A53B4AFA97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3">
              <a:extLst>
                <a:ext uri="{FF2B5EF4-FFF2-40B4-BE49-F238E27FC236}">
                  <a16:creationId xmlns:a16="http://schemas.microsoft.com/office/drawing/2014/main" id="{3025D71C-0D10-5220-5980-B17FC068151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3" name="Freeform 34">
              <a:extLst>
                <a:ext uri="{FF2B5EF4-FFF2-40B4-BE49-F238E27FC236}">
                  <a16:creationId xmlns:a16="http://schemas.microsoft.com/office/drawing/2014/main" id="{64514CD7-9102-9552-6763-AB0337AAA7E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7" name="TextBox 6">
            <a:extLst>
              <a:ext uri="{FF2B5EF4-FFF2-40B4-BE49-F238E27FC236}">
                <a16:creationId xmlns:a16="http://schemas.microsoft.com/office/drawing/2014/main" id="{DB2D474A-4156-5445-2C99-EE4C77388F5D}"/>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DA5D471E-8C81-0943-5022-F263A707E608}"/>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6" name="Title 4">
            <a:extLst>
              <a:ext uri="{FF2B5EF4-FFF2-40B4-BE49-F238E27FC236}">
                <a16:creationId xmlns:a16="http://schemas.microsoft.com/office/drawing/2014/main" id="{024AFDB3-6F7B-B778-402E-9CCB281E4A36}"/>
              </a:ext>
            </a:extLst>
          </p:cNvPr>
          <p:cNvSpPr>
            <a:spLocks noGrp="1"/>
          </p:cNvSpPr>
          <p:nvPr>
            <p:ph type="title" hasCustomPrompt="1"/>
          </p:nvPr>
        </p:nvSpPr>
        <p:spPr>
          <a:xfrm>
            <a:off x="556708" y="2179566"/>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7" name="Text Placeholder 3">
            <a:extLst>
              <a:ext uri="{FF2B5EF4-FFF2-40B4-BE49-F238E27FC236}">
                <a16:creationId xmlns:a16="http://schemas.microsoft.com/office/drawing/2014/main" id="{673B31AA-DB5D-E4EE-AD2B-9C376313D508}"/>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34991123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3 K Whit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F4EAC9-01A1-ED6A-B271-D7FC17A6D29B}"/>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r="18798"/>
          <a:stretch/>
        </p:blipFill>
        <p:spPr>
          <a:xfrm>
            <a:off x="6622168" y="0"/>
            <a:ext cx="5569832" cy="6859200"/>
          </a:xfrm>
          <a:prstGeom prst="rect">
            <a:avLst/>
          </a:prstGeom>
        </p:spPr>
      </p:pic>
      <p:grpSp>
        <p:nvGrpSpPr>
          <p:cNvPr id="7" name="Graphic 3">
            <a:extLst>
              <a:ext uri="{FF2B5EF4-FFF2-40B4-BE49-F238E27FC236}">
                <a16:creationId xmlns:a16="http://schemas.microsoft.com/office/drawing/2014/main" id="{57ADD6F0-8A1D-2465-892B-42BFF999186F}"/>
              </a:ext>
            </a:extLst>
          </p:cNvPr>
          <p:cNvGrpSpPr/>
          <p:nvPr userDrawn="1"/>
        </p:nvGrpSpPr>
        <p:grpSpPr>
          <a:xfrm>
            <a:off x="9407772" y="3224293"/>
            <a:ext cx="1817989" cy="409417"/>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6" name="TextBox 5">
            <a:extLst>
              <a:ext uri="{FF2B5EF4-FFF2-40B4-BE49-F238E27FC236}">
                <a16:creationId xmlns:a16="http://schemas.microsoft.com/office/drawing/2014/main" id="{BA4D82E9-DEF8-D842-DDB5-563D618E794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EB92B7B9-0B45-FE4B-753A-4D8C0E23E619}"/>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Title 4">
            <a:extLst>
              <a:ext uri="{FF2B5EF4-FFF2-40B4-BE49-F238E27FC236}">
                <a16:creationId xmlns:a16="http://schemas.microsoft.com/office/drawing/2014/main" id="{838942B2-5BE5-A3D6-4570-6AF07089F22D}"/>
              </a:ext>
            </a:extLst>
          </p:cNvPr>
          <p:cNvSpPr>
            <a:spLocks noGrp="1"/>
          </p:cNvSpPr>
          <p:nvPr>
            <p:ph type="title" hasCustomPrompt="1"/>
          </p:nvPr>
        </p:nvSpPr>
        <p:spPr>
          <a:xfrm>
            <a:off x="556708" y="2179566"/>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16" name="Text Placeholder 3">
            <a:extLst>
              <a:ext uri="{FF2B5EF4-FFF2-40B4-BE49-F238E27FC236}">
                <a16:creationId xmlns:a16="http://schemas.microsoft.com/office/drawing/2014/main" id="{B51E6336-7A1E-2850-2562-4FDD760F459F}"/>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8136946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0_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34031B42-8ACF-0D61-11C0-959766C8BDD4}"/>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4" name="TextBox 3">
            <a:extLst>
              <a:ext uri="{FF2B5EF4-FFF2-40B4-BE49-F238E27FC236}">
                <a16:creationId xmlns:a16="http://schemas.microsoft.com/office/drawing/2014/main" id="{AB7B8C5E-2A02-500E-7B19-869B39D9A896}"/>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A844BE02-2625-0E61-D864-E5DDC07EC96E}"/>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2784AA3F-6A3E-5918-C536-2E26F4BF9C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1067757F-8A0C-FCEC-EB62-74E36F8E5E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23688955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9_2.2 Title dark">
    <p:bg>
      <p:bgPr>
        <a:gradFill>
          <a:gsLst>
            <a:gs pos="53100">
              <a:srgbClr val="003595"/>
            </a:gs>
            <a:gs pos="0">
              <a:schemeClr val="tx1">
                <a:lumMod val="96000"/>
              </a:schemeClr>
            </a:gs>
            <a:gs pos="100000">
              <a:schemeClr val="accent1">
                <a:lumMod val="30000"/>
              </a:schemeClr>
            </a:gs>
          </a:gsLst>
          <a:lin ang="12000000" scaled="0"/>
        </a:gra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B937390-63D5-3E5C-5017-6C0EFAC8BC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 Placeholder 42">
            <a:extLst>
              <a:ext uri="{FF2B5EF4-FFF2-40B4-BE49-F238E27FC236}">
                <a16:creationId xmlns:a16="http://schemas.microsoft.com/office/drawing/2014/main" id="{65BB4E9F-2E29-3042-C3C2-66B30120BBAE}"/>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Tree>
    <p:extLst>
      <p:ext uri="{BB962C8B-B14F-4D97-AF65-F5344CB8AC3E}">
        <p14:creationId xmlns:p14="http://schemas.microsoft.com/office/powerpoint/2010/main" val="331530723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_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5F57FFFB-CCE3-C058-3729-4EDEEE5E646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0390628D-EDCB-823F-3281-E26163D5C4CD}"/>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6" name="TextBox 5">
            <a:extLst>
              <a:ext uri="{FF2B5EF4-FFF2-40B4-BE49-F238E27FC236}">
                <a16:creationId xmlns:a16="http://schemas.microsoft.com/office/drawing/2014/main" id="{6857A933-0F5D-EB6F-6781-ACE4F612BDF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2A1F2F7-3255-A552-A703-7C9BCD3C4BA6}"/>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E85E7031-34AB-503C-140D-07A8A6D83D3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C4DEFCE-5A10-8D7A-C10A-5C24EDCFF87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93357527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4 Pink">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AB3FE475-1931-B109-EFE4-3720BF54E14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E64CD9D7-6169-977F-2770-ADEC0D6EE84D}"/>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FB666C31-62D7-CEFA-FFA5-6E39B2A9667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17E83870-7680-0EC5-A60C-DDC82D20159B}"/>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B3FD35A0-F98B-4E10-5EEB-CC206A99D77A}"/>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26AEA66-94E0-CBBE-2810-477A8B621DF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3425081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4 Bulletpoint text 1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D8AA8973-ED90-DA21-18C7-5D6E292CC82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3" name="TextBox 2">
            <a:extLst>
              <a:ext uri="{FF2B5EF4-FFF2-40B4-BE49-F238E27FC236}">
                <a16:creationId xmlns:a16="http://schemas.microsoft.com/office/drawing/2014/main" id="{9F4D957F-E5DE-27F8-AACE-C02FAE5A4250}"/>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CC281E37-10DE-9743-87A9-A079EEC7D36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93380BE7-EF71-135D-FC9B-9D9C4CFD066E}"/>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50701039-6E84-E6CE-7E91-BAB5836AA8D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06168778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2_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E8A36BB1-1CB4-70E4-B774-36E6FFADAD7B}"/>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5990E264-5D0F-60E1-079B-4D9441DFD2FA}"/>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1F513913-81F1-BE35-BEE1-E4F3B331C19E}"/>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5A2E6516-E21C-B9AB-D96C-01D89E1C188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FC57D9E6-836B-E344-7053-C5B54572FBF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28680642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4_2.3 Text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0" indent="0">
              <a:lnSpc>
                <a:spcPct val="100000"/>
              </a:lnSpc>
              <a:spcBef>
                <a:spcPts val="0"/>
              </a:spcBef>
              <a:spcAft>
                <a:spcPts val="800"/>
              </a:spcAft>
              <a:buSzPct val="70000"/>
              <a:buNone/>
              <a:defRPr sz="1600">
                <a:solidFill>
                  <a:schemeClr val="bg1"/>
                </a:solidFill>
              </a:defRPr>
            </a:lvl1pPr>
            <a:lvl2pPr marL="239989" indent="0">
              <a:lnSpc>
                <a:spcPct val="100000"/>
              </a:lnSpc>
              <a:spcBef>
                <a:spcPts val="0"/>
              </a:spcBef>
              <a:spcAft>
                <a:spcPts val="800"/>
              </a:spcAft>
              <a:buSzPct val="70000"/>
              <a:buNone/>
              <a:defRPr sz="1600">
                <a:solidFill>
                  <a:schemeClr val="bg1"/>
                </a:solidFill>
              </a:defRPr>
            </a:lvl2pPr>
            <a:lvl3pPr marL="479976" indent="0">
              <a:lnSpc>
                <a:spcPct val="100000"/>
              </a:lnSpc>
              <a:spcBef>
                <a:spcPts val="0"/>
              </a:spcBef>
              <a:spcAft>
                <a:spcPts val="800"/>
              </a:spcAft>
              <a:buSzPct val="70000"/>
              <a:buNone/>
              <a:defRPr sz="1600">
                <a:solidFill>
                  <a:schemeClr val="bg1"/>
                </a:solidFill>
              </a:defRPr>
            </a:lvl3pPr>
            <a:lvl4pPr marL="719965" indent="0">
              <a:lnSpc>
                <a:spcPct val="100000"/>
              </a:lnSpc>
              <a:spcBef>
                <a:spcPts val="0"/>
              </a:spcBef>
              <a:spcAft>
                <a:spcPts val="800"/>
              </a:spcAft>
              <a:buSzPct val="70000"/>
              <a:buNone/>
              <a:defRPr sz="1600">
                <a:solidFill>
                  <a:schemeClr val="bg1"/>
                </a:solidFill>
              </a:defRPr>
            </a:lvl4pPr>
            <a:lvl5pPr marL="959952" indent="0">
              <a:lnSpc>
                <a:spcPct val="100000"/>
              </a:lnSpc>
              <a:spcBef>
                <a:spcPts val="0"/>
              </a:spcBef>
              <a:spcAft>
                <a:spcPts val="800"/>
              </a:spcAft>
              <a:buSzPct val="70000"/>
              <a:buNone/>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06C6E69-321F-D4AD-8DE6-1E8BDA99907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EA8F815C-F7BD-B743-55F1-819C90566A64}"/>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CFE394A0-1BF5-A207-62B2-624B902703EF}"/>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BE42F71C-985A-E2BB-6FBF-54A07A91DCC3}"/>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362F7ED-C2A3-E1DD-8729-A9B3A26605A2}"/>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404793697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_2.4 Bulletpoint text 1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D8AA8973-ED90-DA21-18C7-5D6E292CC82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3" name="TextBox 2">
            <a:extLst>
              <a:ext uri="{FF2B5EF4-FFF2-40B4-BE49-F238E27FC236}">
                <a16:creationId xmlns:a16="http://schemas.microsoft.com/office/drawing/2014/main" id="{9F4D957F-E5DE-27F8-AACE-C02FAE5A4250}"/>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CC281E37-10DE-9743-87A9-A079EEC7D36E}"/>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93380BE7-EF71-135D-FC9B-9D9C4CFD066E}"/>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50701039-6E84-E6CE-7E91-BAB5836AA8D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62645812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4_2.5 Bulletpoint text 2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5424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6211552" y="1680000"/>
            <a:ext cx="5424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0988706-2E03-4A9C-79F3-2E7AE15E66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BAB1039B-CAD1-E7A1-9A8E-421F00BB27A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DA31894B-2ADC-F353-515E-61B978FE204D}"/>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D5288A7-E819-08AD-0192-BAB1AB7959D8}"/>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5176F92-BBFE-DBC8-EAB4-685F805E3A22}"/>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96646454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4_2.6 Bulletpoint text 3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360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4296000" y="1680000"/>
            <a:ext cx="360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8035551" y="1680000"/>
            <a:ext cx="3596877"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AB306A2-2949-7644-5CCE-6B01F360075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3" name="TextBox 2">
            <a:extLst>
              <a:ext uri="{FF2B5EF4-FFF2-40B4-BE49-F238E27FC236}">
                <a16:creationId xmlns:a16="http://schemas.microsoft.com/office/drawing/2014/main" id="{4FFAD2D5-5981-9B4A-69C8-3901DF8F846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2FBD0FB5-5841-7798-81F7-03203504ECC7}"/>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782EBFFC-4C2D-D007-FA55-966B10478527}"/>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9024A70A-45FE-D443-B1F3-C03BAFA27BD1}"/>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65399025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2.7 Bulletpoint text 4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368443"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180435"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8992427"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5E782D2-17EB-7305-867D-635CABCFC87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0" name="TextBox 9">
            <a:extLst>
              <a:ext uri="{FF2B5EF4-FFF2-40B4-BE49-F238E27FC236}">
                <a16:creationId xmlns:a16="http://schemas.microsoft.com/office/drawing/2014/main" id="{DCEB6067-6AAF-DE7E-E481-757CDC1CC59F}"/>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AC92C61F-FD93-073C-AFAA-3629762CCB45}"/>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7B3E1782-7EA3-5D5C-4FB2-290A89A7E3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422E3335-8FF0-0584-6655-EE052F07292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68024985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2.8 Numbered text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556800" y="1680000"/>
            <a:ext cx="11078400" cy="4158640"/>
          </a:xfrm>
          <a:prstGeom prst="rect">
            <a:avLst/>
          </a:prstGeom>
        </p:spPr>
        <p:txBody>
          <a:bodyPr lIns="0" tIns="0" rIns="0" bIns="0"/>
          <a:lstStyle>
            <a:lvl1pPr marL="304784" indent="-304784">
              <a:lnSpc>
                <a:spcPct val="100000"/>
              </a:lnSpc>
              <a:spcBef>
                <a:spcPts val="0"/>
              </a:spcBef>
              <a:spcAft>
                <a:spcPts val="800"/>
              </a:spcAft>
              <a:buFont typeface="+mj-lt"/>
              <a:buAutoNum type="arabicPeriod"/>
              <a:defRPr sz="1600">
                <a:solidFill>
                  <a:schemeClr val="bg1"/>
                </a:solidFill>
              </a:defRPr>
            </a:lvl1pPr>
            <a:lvl2pPr marL="544773" indent="-304784">
              <a:lnSpc>
                <a:spcPct val="100000"/>
              </a:lnSpc>
              <a:spcBef>
                <a:spcPts val="0"/>
              </a:spcBef>
              <a:spcAft>
                <a:spcPts val="800"/>
              </a:spcAft>
              <a:buFont typeface="+mj-lt"/>
              <a:buAutoNum type="arabicPeriod" startAt="2"/>
              <a:defRPr sz="1600">
                <a:solidFill>
                  <a:schemeClr val="bg1"/>
                </a:solidFill>
              </a:defRPr>
            </a:lvl2pPr>
            <a:lvl3pPr marL="784760" indent="-304784">
              <a:lnSpc>
                <a:spcPct val="100000"/>
              </a:lnSpc>
              <a:spcBef>
                <a:spcPts val="0"/>
              </a:spcBef>
              <a:spcAft>
                <a:spcPts val="800"/>
              </a:spcAft>
              <a:buFont typeface="+mj-lt"/>
              <a:buAutoNum type="arabicPeriod" startAt="3"/>
              <a:defRPr sz="1600">
                <a:solidFill>
                  <a:schemeClr val="bg1"/>
                </a:solidFill>
              </a:defRPr>
            </a:lvl3pPr>
            <a:lvl4pPr marL="1024749" indent="-304784">
              <a:lnSpc>
                <a:spcPct val="100000"/>
              </a:lnSpc>
              <a:spcBef>
                <a:spcPts val="0"/>
              </a:spcBef>
              <a:spcAft>
                <a:spcPts val="800"/>
              </a:spcAft>
              <a:buFont typeface="+mj-lt"/>
              <a:buAutoNum type="arabicPeriod" startAt="4"/>
              <a:defRPr sz="1600">
                <a:solidFill>
                  <a:schemeClr val="bg1"/>
                </a:solidFill>
              </a:defRPr>
            </a:lvl4pPr>
            <a:lvl5pPr marL="1276136" indent="-304784">
              <a:lnSpc>
                <a:spcPct val="100000"/>
              </a:lnSpc>
              <a:spcBef>
                <a:spcPts val="0"/>
              </a:spcBef>
              <a:spcAft>
                <a:spcPts val="800"/>
              </a:spcAft>
              <a:buFont typeface="+mj-lt"/>
              <a:buAutoNum type="arabicPeriod" startAt="5"/>
              <a:defRPr sz="1600">
                <a:solidFill>
                  <a:schemeClr val="bg1"/>
                </a:solidFill>
              </a:defRPr>
            </a:lvl5pPr>
          </a:lstStyle>
          <a:p>
            <a:pPr lvl="0"/>
            <a:r>
              <a:rPr lang="en-US"/>
              <a:t>Text here</a:t>
            </a:r>
          </a:p>
          <a:p>
            <a:pPr lvl="1"/>
            <a:r>
              <a:rPr lang="en-US"/>
              <a:t>Text here</a:t>
            </a:r>
          </a:p>
          <a:p>
            <a:pPr lvl="2"/>
            <a:r>
              <a:rPr lang="en-US"/>
              <a:t>Text here</a:t>
            </a:r>
          </a:p>
          <a:p>
            <a:pPr lvl="3"/>
            <a:r>
              <a:rPr lang="en-US"/>
              <a:t>Text here</a:t>
            </a:r>
          </a:p>
          <a:p>
            <a:pPr marL="1276136" marR="0" lvl="4" indent="-304784" algn="l" defTabSz="914354" rtl="0" eaLnBrk="1" fontAlgn="auto" latinLnBrk="0" hangingPunct="1">
              <a:lnSpc>
                <a:spcPct val="100000"/>
              </a:lnSpc>
              <a:spcBef>
                <a:spcPts val="0"/>
              </a:spcBef>
              <a:spcAft>
                <a:spcPts val="400"/>
              </a:spcAft>
              <a:buClrTx/>
              <a:buSzTx/>
              <a:tabLst/>
              <a:defRPr/>
            </a:pPr>
            <a:r>
              <a:rPr lang="en-US"/>
              <a:t>Text here</a:t>
            </a:r>
          </a:p>
        </p:txBody>
      </p:sp>
      <p:pic>
        <p:nvPicPr>
          <p:cNvPr id="2" name="Graphic 1">
            <a:extLst>
              <a:ext uri="{FF2B5EF4-FFF2-40B4-BE49-F238E27FC236}">
                <a16:creationId xmlns:a16="http://schemas.microsoft.com/office/drawing/2014/main" id="{B2827D84-480B-22A7-4B2A-BFD3AB9191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8A8B0B3F-161E-8508-3B23-007FE1624352}"/>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99F8CB66-4F0D-7F21-56F6-56AAA5C02227}"/>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8A760B86-74B6-48A3-CE6D-96096653BF7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DD20D035-9F8D-A232-B41B-0EC79F1159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48549968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2.9 Title slide dark">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9E545D7-2373-D9BF-1A5C-DDEF3299CD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4" name="Text Placeholder 42">
            <a:extLst>
              <a:ext uri="{FF2B5EF4-FFF2-40B4-BE49-F238E27FC236}">
                <a16:creationId xmlns:a16="http://schemas.microsoft.com/office/drawing/2014/main" id="{1221AC1C-1EF4-5D9A-A440-017C6D790AAE}"/>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Click to edit headline</a:t>
            </a:r>
          </a:p>
        </p:txBody>
      </p:sp>
      <p:sp>
        <p:nvSpPr>
          <p:cNvPr id="4" name="TextBox 3">
            <a:extLst>
              <a:ext uri="{FF2B5EF4-FFF2-40B4-BE49-F238E27FC236}">
                <a16:creationId xmlns:a16="http://schemas.microsoft.com/office/drawing/2014/main" id="{3BAD1F5B-D865-3F9F-4D96-58C6DD62ECDF}"/>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A66624C8-71C7-7928-25B9-5352C8FD2EBB}"/>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DA75E4B3-EDD4-C5F1-7EF2-8B6126FAC2FC}"/>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34E36D38-263C-DBB6-A0D4-5E9785455C47}"/>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49759709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_2.10 Title slide with media 1 dark">
    <p:bg>
      <p:bgPr>
        <a:solidFill>
          <a:schemeClr val="tx1"/>
        </a:solidFill>
        <a:effectLst/>
      </p:bgPr>
    </p:bg>
    <p:spTree>
      <p:nvGrpSpPr>
        <p:cNvPr id="1" name=""/>
        <p:cNvGrpSpPr/>
        <p:nvPr/>
      </p:nvGrpSpPr>
      <p:grpSpPr>
        <a:xfrm>
          <a:off x="0" y="0"/>
          <a:ext cx="0" cy="0"/>
          <a:chOff x="0" y="0"/>
          <a:chExt cx="0" cy="0"/>
        </a:xfrm>
      </p:grpSpPr>
      <p:sp>
        <p:nvSpPr>
          <p:cNvPr id="3" name="Media Placeholder 6">
            <a:extLst>
              <a:ext uri="{FF2B5EF4-FFF2-40B4-BE49-F238E27FC236}">
                <a16:creationId xmlns:a16="http://schemas.microsoft.com/office/drawing/2014/main" id="{BB2531A6-B2AF-8CE3-D4E6-FFA2A6F43CBA}"/>
              </a:ext>
            </a:extLst>
          </p:cNvPr>
          <p:cNvSpPr>
            <a:spLocks noGrp="1"/>
          </p:cNvSpPr>
          <p:nvPr>
            <p:ph type="media" sz="quarter" idx="12"/>
          </p:nvPr>
        </p:nvSpPr>
        <p:spPr>
          <a:xfrm>
            <a:off x="0" y="0"/>
            <a:ext cx="12192000" cy="6858000"/>
          </a:xfrm>
          <a:prstGeom prst="rect">
            <a:avLst/>
          </a:prstGeom>
        </p:spPr>
        <p:txBody>
          <a:bodyPr/>
          <a:lstStyle>
            <a:lvl1pPr marL="0" indent="0">
              <a:buNone/>
              <a:defRPr>
                <a:solidFill>
                  <a:schemeClr val="bg1"/>
                </a:solidFill>
              </a:defRPr>
            </a:lvl1pPr>
          </a:lstStyle>
          <a:p>
            <a:r>
              <a:rPr lang="en-US"/>
              <a:t>Click icon to add media</a:t>
            </a:r>
          </a:p>
        </p:txBody>
      </p:sp>
      <p:pic>
        <p:nvPicPr>
          <p:cNvPr id="4" name="Graphic 3">
            <a:extLst>
              <a:ext uri="{FF2B5EF4-FFF2-40B4-BE49-F238E27FC236}">
                <a16:creationId xmlns:a16="http://schemas.microsoft.com/office/drawing/2014/main" id="{47292656-5749-2B4B-FA27-42765BDE338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5" name="Text Placeholder 42">
            <a:extLst>
              <a:ext uri="{FF2B5EF4-FFF2-40B4-BE49-F238E27FC236}">
                <a16:creationId xmlns:a16="http://schemas.microsoft.com/office/drawing/2014/main" id="{4F756C8B-0244-6A11-8EC3-4A1D203CDD66}"/>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Click to edit headline</a:t>
            </a:r>
          </a:p>
        </p:txBody>
      </p:sp>
      <p:sp>
        <p:nvSpPr>
          <p:cNvPr id="6" name="TextBox 5">
            <a:extLst>
              <a:ext uri="{FF2B5EF4-FFF2-40B4-BE49-F238E27FC236}">
                <a16:creationId xmlns:a16="http://schemas.microsoft.com/office/drawing/2014/main" id="{BD759CC4-69C8-613F-E557-4E2AEE7B75ED}"/>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A40A76AB-576F-2C48-7ED4-0E98A54B99AD}"/>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717253AE-3DDB-8C8A-399D-C55C49CB0832}"/>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0DC17B7D-4E9B-5FAC-1228-C97FB1CFC5A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414197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_2.11 Title slide with media 2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sz="1600">
                <a:solidFill>
                  <a:schemeClr val="bg1"/>
                </a:solidFill>
              </a:defRPr>
            </a:lvl4pPr>
            <a:lvl5pPr marL="1199941" indent="-239989">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C341FE85-3CE7-12FA-3841-D7CC0ABB659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27418BB1-0E7E-AAD3-AD71-82204464918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02B48A79-625E-B973-DCD8-533E86F25072}"/>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DB9A4E9B-BED0-504E-628D-EAD882C392A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742AC6DC-CFBE-F98E-4CC4-2390702BA655}"/>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722617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5 Bulletpoint text 2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5424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6211552" y="1680000"/>
            <a:ext cx="5424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0988706-2E03-4A9C-79F3-2E7AE15E66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BAB1039B-CAD1-E7A1-9A8E-421F00BB27A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DA31894B-2ADC-F353-515E-61B978FE204D}"/>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D5288A7-E819-08AD-0192-BAB1AB7959D8}"/>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5176F92-BBFE-DBC8-EAB4-685F805E3A22}"/>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206226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4_2.12 Title slide with media 3 dark">
    <p:bg>
      <p:bgPr>
        <a:solidFill>
          <a:schemeClr val="tx1"/>
        </a:solidFill>
        <a:effectLst/>
      </p:bgPr>
    </p:bg>
    <p:spTree>
      <p:nvGrpSpPr>
        <p:cNvPr id="1" name=""/>
        <p:cNvGrpSpPr/>
        <p:nvPr/>
      </p:nvGrpSpPr>
      <p:grpSpPr>
        <a:xfrm>
          <a:off x="0" y="0"/>
          <a:ext cx="0" cy="0"/>
          <a:chOff x="0" y="0"/>
          <a:chExt cx="0" cy="0"/>
        </a:xfrm>
      </p:grpSpPr>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556802" y="527928"/>
            <a:ext cx="4554028"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556802" y="1019360"/>
            <a:ext cx="4554028"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556454" y="1680000"/>
            <a:ext cx="455402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sz="1600">
                <a:solidFill>
                  <a:schemeClr val="bg1"/>
                </a:solidFill>
              </a:defRPr>
            </a:lvl4pPr>
            <a:lvl5pPr marL="1199941" indent="-239989">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E7BA896-DC3C-C861-6C89-0401950D7446}"/>
              </a:ext>
            </a:extLst>
          </p:cNvPr>
          <p:cNvSpPr>
            <a:spLocks noGrp="1"/>
          </p:cNvSpPr>
          <p:nvPr>
            <p:ph type="pic" sz="quarter" idx="15" hasCustomPrompt="1"/>
          </p:nvPr>
        </p:nvSpPr>
        <p:spPr>
          <a:xfrm>
            <a:off x="5486400" y="0"/>
            <a:ext cx="67056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pic>
        <p:nvPicPr>
          <p:cNvPr id="4" name="Graphic 3">
            <a:extLst>
              <a:ext uri="{FF2B5EF4-FFF2-40B4-BE49-F238E27FC236}">
                <a16:creationId xmlns:a16="http://schemas.microsoft.com/office/drawing/2014/main" id="{2E1E3056-42DC-BA9B-F46D-475E5BE32B9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5" name="TextBox 4">
            <a:extLst>
              <a:ext uri="{FF2B5EF4-FFF2-40B4-BE49-F238E27FC236}">
                <a16:creationId xmlns:a16="http://schemas.microsoft.com/office/drawing/2014/main" id="{B6681D21-FC7E-7F82-9685-4F1EF53B236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41DBEFAD-5693-7A1A-A64F-C540D390A0B8}"/>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7840E574-42A1-50DE-BFA2-D52D3D35902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DDEF2D02-B6B9-E747-F0EA-9ED48DC28C93}"/>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65856858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_2.3 Text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0" indent="0">
              <a:lnSpc>
                <a:spcPct val="100000"/>
              </a:lnSpc>
              <a:spcBef>
                <a:spcPts val="0"/>
              </a:spcBef>
              <a:spcAft>
                <a:spcPts val="800"/>
              </a:spcAft>
              <a:buSzPct val="70000"/>
              <a:buNone/>
              <a:defRPr sz="1600">
                <a:solidFill>
                  <a:schemeClr val="bg1"/>
                </a:solidFill>
              </a:defRPr>
            </a:lvl1pPr>
            <a:lvl2pPr marL="239989" indent="0">
              <a:lnSpc>
                <a:spcPct val="100000"/>
              </a:lnSpc>
              <a:spcBef>
                <a:spcPts val="0"/>
              </a:spcBef>
              <a:spcAft>
                <a:spcPts val="800"/>
              </a:spcAft>
              <a:buSzPct val="70000"/>
              <a:buNone/>
              <a:defRPr sz="1600">
                <a:solidFill>
                  <a:schemeClr val="bg1"/>
                </a:solidFill>
              </a:defRPr>
            </a:lvl2pPr>
            <a:lvl3pPr marL="479976" indent="0">
              <a:lnSpc>
                <a:spcPct val="100000"/>
              </a:lnSpc>
              <a:spcBef>
                <a:spcPts val="0"/>
              </a:spcBef>
              <a:spcAft>
                <a:spcPts val="800"/>
              </a:spcAft>
              <a:buSzPct val="70000"/>
              <a:buNone/>
              <a:defRPr sz="1600">
                <a:solidFill>
                  <a:schemeClr val="bg1"/>
                </a:solidFill>
              </a:defRPr>
            </a:lvl3pPr>
            <a:lvl4pPr marL="719965" indent="0">
              <a:lnSpc>
                <a:spcPct val="100000"/>
              </a:lnSpc>
              <a:spcBef>
                <a:spcPts val="0"/>
              </a:spcBef>
              <a:spcAft>
                <a:spcPts val="800"/>
              </a:spcAft>
              <a:buSzPct val="70000"/>
              <a:buNone/>
              <a:defRPr sz="1600">
                <a:solidFill>
                  <a:schemeClr val="bg1"/>
                </a:solidFill>
              </a:defRPr>
            </a:lvl4pPr>
            <a:lvl5pPr marL="959952" indent="0">
              <a:lnSpc>
                <a:spcPct val="100000"/>
              </a:lnSpc>
              <a:spcBef>
                <a:spcPts val="0"/>
              </a:spcBef>
              <a:spcAft>
                <a:spcPts val="800"/>
              </a:spcAft>
              <a:buSzPct val="70000"/>
              <a:buNone/>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06C6E69-321F-D4AD-8DE6-1E8BDA99907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EA8F815C-F7BD-B743-55F1-819C90566A64}"/>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CFE394A0-1BF5-A207-62B2-624B902703EF}"/>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BE42F71C-985A-E2BB-6FBF-54A07A91DCC3}"/>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362F7ED-C2A3-E1DD-8729-A9B3A26605A2}"/>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08867505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5_2.4 Bulletpoint text 1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D8AA8973-ED90-DA21-18C7-5D6E292CC82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3" name="TextBox 2">
            <a:extLst>
              <a:ext uri="{FF2B5EF4-FFF2-40B4-BE49-F238E27FC236}">
                <a16:creationId xmlns:a16="http://schemas.microsoft.com/office/drawing/2014/main" id="{9F4D957F-E5DE-27F8-AACE-C02FAE5A4250}"/>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CC281E37-10DE-9743-87A9-A079EEC7D36E}"/>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93380BE7-EF71-135D-FC9B-9D9C4CFD066E}"/>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50701039-6E84-E6CE-7E91-BAB5836AA8D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90207877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5_2.5 Bulletpoint text 2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5424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6211552" y="1680000"/>
            <a:ext cx="5424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0988706-2E03-4A9C-79F3-2E7AE15E66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BAB1039B-CAD1-E7A1-9A8E-421F00BB27A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DA31894B-2ADC-F353-515E-61B978FE204D}"/>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D5288A7-E819-08AD-0192-BAB1AB7959D8}"/>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5176F92-BBFE-DBC8-EAB4-685F805E3A22}"/>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45699082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5_2.6 Bulletpoint text 3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360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4296000" y="1680000"/>
            <a:ext cx="360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8035551" y="1680000"/>
            <a:ext cx="3596877"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AB306A2-2949-7644-5CCE-6B01F360075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3" name="TextBox 2">
            <a:extLst>
              <a:ext uri="{FF2B5EF4-FFF2-40B4-BE49-F238E27FC236}">
                <a16:creationId xmlns:a16="http://schemas.microsoft.com/office/drawing/2014/main" id="{4FFAD2D5-5981-9B4A-69C8-3901DF8F846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2FBD0FB5-5841-7798-81F7-03203504ECC7}"/>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782EBFFC-4C2D-D007-FA55-966B10478527}"/>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9024A70A-45FE-D443-B1F3-C03BAFA27BD1}"/>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82836680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5_2.7 Bulletpoint text 4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368443"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180435"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8992427"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41" indent="-239989">
              <a:lnSpc>
                <a:spcPct val="100000"/>
              </a:lnSpc>
              <a:spcBef>
                <a:spcPts val="0"/>
              </a:spcBef>
              <a:spcAft>
                <a:spcPts val="800"/>
              </a:spcAft>
              <a:buSzPct val="70000"/>
              <a:defRPr sz="1600">
                <a:solidFill>
                  <a:schemeClr val="bg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5E782D2-17EB-7305-867D-635CABCFC87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0" name="TextBox 9">
            <a:extLst>
              <a:ext uri="{FF2B5EF4-FFF2-40B4-BE49-F238E27FC236}">
                <a16:creationId xmlns:a16="http://schemas.microsoft.com/office/drawing/2014/main" id="{DCEB6067-6AAF-DE7E-E481-757CDC1CC59F}"/>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AC92C61F-FD93-073C-AFAA-3629762CCB45}"/>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7B3E1782-7EA3-5D5C-4FB2-290A89A7E3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422E3335-8FF0-0584-6655-EE052F07292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65312193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5_2.8 Numbered text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556800" y="1680000"/>
            <a:ext cx="11078400" cy="4158640"/>
          </a:xfrm>
          <a:prstGeom prst="rect">
            <a:avLst/>
          </a:prstGeom>
        </p:spPr>
        <p:txBody>
          <a:bodyPr lIns="0" tIns="0" rIns="0" bIns="0"/>
          <a:lstStyle>
            <a:lvl1pPr marL="304784" indent="-304784">
              <a:lnSpc>
                <a:spcPct val="100000"/>
              </a:lnSpc>
              <a:spcBef>
                <a:spcPts val="0"/>
              </a:spcBef>
              <a:spcAft>
                <a:spcPts val="800"/>
              </a:spcAft>
              <a:buFont typeface="+mj-lt"/>
              <a:buAutoNum type="arabicPeriod"/>
              <a:defRPr sz="1600">
                <a:solidFill>
                  <a:schemeClr val="bg1"/>
                </a:solidFill>
              </a:defRPr>
            </a:lvl1pPr>
            <a:lvl2pPr marL="544773" indent="-304784">
              <a:lnSpc>
                <a:spcPct val="100000"/>
              </a:lnSpc>
              <a:spcBef>
                <a:spcPts val="0"/>
              </a:spcBef>
              <a:spcAft>
                <a:spcPts val="800"/>
              </a:spcAft>
              <a:buFont typeface="+mj-lt"/>
              <a:buAutoNum type="arabicPeriod" startAt="2"/>
              <a:defRPr sz="1600">
                <a:solidFill>
                  <a:schemeClr val="bg1"/>
                </a:solidFill>
              </a:defRPr>
            </a:lvl2pPr>
            <a:lvl3pPr marL="784760" indent="-304784">
              <a:lnSpc>
                <a:spcPct val="100000"/>
              </a:lnSpc>
              <a:spcBef>
                <a:spcPts val="0"/>
              </a:spcBef>
              <a:spcAft>
                <a:spcPts val="800"/>
              </a:spcAft>
              <a:buFont typeface="+mj-lt"/>
              <a:buAutoNum type="arabicPeriod" startAt="3"/>
              <a:defRPr sz="1600">
                <a:solidFill>
                  <a:schemeClr val="bg1"/>
                </a:solidFill>
              </a:defRPr>
            </a:lvl3pPr>
            <a:lvl4pPr marL="1024749" indent="-304784">
              <a:lnSpc>
                <a:spcPct val="100000"/>
              </a:lnSpc>
              <a:spcBef>
                <a:spcPts val="0"/>
              </a:spcBef>
              <a:spcAft>
                <a:spcPts val="800"/>
              </a:spcAft>
              <a:buFont typeface="+mj-lt"/>
              <a:buAutoNum type="arabicPeriod" startAt="4"/>
              <a:defRPr sz="1600">
                <a:solidFill>
                  <a:schemeClr val="bg1"/>
                </a:solidFill>
              </a:defRPr>
            </a:lvl4pPr>
            <a:lvl5pPr marL="1276136" indent="-304784">
              <a:lnSpc>
                <a:spcPct val="100000"/>
              </a:lnSpc>
              <a:spcBef>
                <a:spcPts val="0"/>
              </a:spcBef>
              <a:spcAft>
                <a:spcPts val="800"/>
              </a:spcAft>
              <a:buFont typeface="+mj-lt"/>
              <a:buAutoNum type="arabicPeriod" startAt="5"/>
              <a:defRPr sz="1600">
                <a:solidFill>
                  <a:schemeClr val="bg1"/>
                </a:solidFill>
              </a:defRPr>
            </a:lvl5pPr>
          </a:lstStyle>
          <a:p>
            <a:pPr lvl="0"/>
            <a:r>
              <a:rPr lang="en-US"/>
              <a:t>Text here</a:t>
            </a:r>
          </a:p>
          <a:p>
            <a:pPr lvl="1"/>
            <a:r>
              <a:rPr lang="en-US"/>
              <a:t>Text here</a:t>
            </a:r>
          </a:p>
          <a:p>
            <a:pPr lvl="2"/>
            <a:r>
              <a:rPr lang="en-US"/>
              <a:t>Text here</a:t>
            </a:r>
          </a:p>
          <a:p>
            <a:pPr lvl="3"/>
            <a:r>
              <a:rPr lang="en-US"/>
              <a:t>Text here</a:t>
            </a:r>
          </a:p>
          <a:p>
            <a:pPr marL="1276136" marR="0" lvl="4" indent="-304784" algn="l" defTabSz="914354" rtl="0" eaLnBrk="1" fontAlgn="auto" latinLnBrk="0" hangingPunct="1">
              <a:lnSpc>
                <a:spcPct val="100000"/>
              </a:lnSpc>
              <a:spcBef>
                <a:spcPts val="0"/>
              </a:spcBef>
              <a:spcAft>
                <a:spcPts val="400"/>
              </a:spcAft>
              <a:buClrTx/>
              <a:buSzTx/>
              <a:tabLst/>
              <a:defRPr/>
            </a:pPr>
            <a:r>
              <a:rPr lang="en-US"/>
              <a:t>Text here</a:t>
            </a:r>
          </a:p>
        </p:txBody>
      </p:sp>
      <p:pic>
        <p:nvPicPr>
          <p:cNvPr id="2" name="Graphic 1">
            <a:extLst>
              <a:ext uri="{FF2B5EF4-FFF2-40B4-BE49-F238E27FC236}">
                <a16:creationId xmlns:a16="http://schemas.microsoft.com/office/drawing/2014/main" id="{B2827D84-480B-22A7-4B2A-BFD3AB9191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8A8B0B3F-161E-8508-3B23-007FE1624352}"/>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99F8CB66-4F0D-7F21-56F6-56AAA5C02227}"/>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8A760B86-74B6-48A3-CE6D-96096653BF7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DD20D035-9F8D-A232-B41B-0EC79F1159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53981542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6_2.3 Text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0" indent="0">
              <a:lnSpc>
                <a:spcPct val="100000"/>
              </a:lnSpc>
              <a:spcBef>
                <a:spcPts val="0"/>
              </a:spcBef>
              <a:spcAft>
                <a:spcPts val="800"/>
              </a:spcAft>
              <a:buSzPct val="70000"/>
              <a:buNone/>
              <a:defRPr sz="1600">
                <a:solidFill>
                  <a:schemeClr val="bg1"/>
                </a:solidFill>
              </a:defRPr>
            </a:lvl1pPr>
            <a:lvl2pPr marL="239994" indent="0">
              <a:lnSpc>
                <a:spcPct val="100000"/>
              </a:lnSpc>
              <a:spcBef>
                <a:spcPts val="0"/>
              </a:spcBef>
              <a:spcAft>
                <a:spcPts val="800"/>
              </a:spcAft>
              <a:buSzPct val="70000"/>
              <a:buNone/>
              <a:defRPr sz="1600">
                <a:solidFill>
                  <a:schemeClr val="bg1"/>
                </a:solidFill>
              </a:defRPr>
            </a:lvl2pPr>
            <a:lvl3pPr marL="479988" indent="0">
              <a:lnSpc>
                <a:spcPct val="100000"/>
              </a:lnSpc>
              <a:spcBef>
                <a:spcPts val="0"/>
              </a:spcBef>
              <a:spcAft>
                <a:spcPts val="800"/>
              </a:spcAft>
              <a:buSzPct val="70000"/>
              <a:buNone/>
              <a:defRPr sz="1600">
                <a:solidFill>
                  <a:schemeClr val="bg1"/>
                </a:solidFill>
              </a:defRPr>
            </a:lvl3pPr>
            <a:lvl4pPr marL="719982" indent="0">
              <a:lnSpc>
                <a:spcPct val="100000"/>
              </a:lnSpc>
              <a:spcBef>
                <a:spcPts val="0"/>
              </a:spcBef>
              <a:spcAft>
                <a:spcPts val="800"/>
              </a:spcAft>
              <a:buSzPct val="70000"/>
              <a:buNone/>
              <a:defRPr sz="1600">
                <a:solidFill>
                  <a:schemeClr val="bg1"/>
                </a:solidFill>
              </a:defRPr>
            </a:lvl4pPr>
            <a:lvl5pPr marL="959976" indent="0">
              <a:lnSpc>
                <a:spcPct val="100000"/>
              </a:lnSpc>
              <a:spcBef>
                <a:spcPts val="0"/>
              </a:spcBef>
              <a:spcAft>
                <a:spcPts val="800"/>
              </a:spcAft>
              <a:buSzPct val="70000"/>
              <a:buNone/>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06C6E69-321F-D4AD-8DE6-1E8BDA99907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EA8F815C-F7BD-B743-55F1-819C90566A64}"/>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CFE394A0-1BF5-A207-62B2-624B902703EF}"/>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BE42F71C-985A-E2BB-6FBF-54A07A91DCC3}"/>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362F7ED-C2A3-E1DD-8729-A9B3A26605A2}"/>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70998256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6_2.4 Bulletpoint text 1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D8AA8973-ED90-DA21-18C7-5D6E292CC82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3" name="TextBox 2">
            <a:extLst>
              <a:ext uri="{FF2B5EF4-FFF2-40B4-BE49-F238E27FC236}">
                <a16:creationId xmlns:a16="http://schemas.microsoft.com/office/drawing/2014/main" id="{9F4D957F-E5DE-27F8-AACE-C02FAE5A4250}"/>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CC281E37-10DE-9743-87A9-A079EEC7D36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93380BE7-EF71-135D-FC9B-9D9C4CFD066E}"/>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50701039-6E84-E6CE-7E91-BAB5836AA8D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81869745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6_2.5 Bulletpoint text 2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5424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6211552" y="1680000"/>
            <a:ext cx="5424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0988706-2E03-4A9C-79F3-2E7AE15E66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BAB1039B-CAD1-E7A1-9A8E-421F00BB27A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DA31894B-2ADC-F353-515E-61B978FE204D}"/>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D5288A7-E819-08AD-0192-BAB1AB7959D8}"/>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5176F92-BBFE-DBC8-EAB4-685F805E3A22}"/>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1491821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6 Bulletpoint text 3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360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4296000" y="1680000"/>
            <a:ext cx="360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8035550" y="1680000"/>
            <a:ext cx="3596877"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AB306A2-2949-7644-5CCE-6B01F360075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3" name="TextBox 2">
            <a:extLst>
              <a:ext uri="{FF2B5EF4-FFF2-40B4-BE49-F238E27FC236}">
                <a16:creationId xmlns:a16="http://schemas.microsoft.com/office/drawing/2014/main" id="{4FFAD2D5-5981-9B4A-69C8-3901DF8F846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2FBD0FB5-5841-7798-81F7-03203504ECC7}"/>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782EBFFC-4C2D-D007-FA55-966B10478527}"/>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9024A70A-45FE-D443-B1F3-C03BAFA27BD1}"/>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60323268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6_2.6 Bulletpoint text 3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360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4296000" y="1680000"/>
            <a:ext cx="360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8035550" y="1680000"/>
            <a:ext cx="3596877"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AB306A2-2949-7644-5CCE-6B01F360075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3" name="TextBox 2">
            <a:extLst>
              <a:ext uri="{FF2B5EF4-FFF2-40B4-BE49-F238E27FC236}">
                <a16:creationId xmlns:a16="http://schemas.microsoft.com/office/drawing/2014/main" id="{4FFAD2D5-5981-9B4A-69C8-3901DF8F846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2FBD0FB5-5841-7798-81F7-03203504ECC7}"/>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782EBFFC-4C2D-D007-FA55-966B10478527}"/>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9024A70A-45FE-D443-B1F3-C03BAFA27BD1}"/>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40219354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6_2.7 Bulletpoint text 4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368443"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180435"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8992427"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5E782D2-17EB-7305-867D-635CABCFC87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0" name="TextBox 9">
            <a:extLst>
              <a:ext uri="{FF2B5EF4-FFF2-40B4-BE49-F238E27FC236}">
                <a16:creationId xmlns:a16="http://schemas.microsoft.com/office/drawing/2014/main" id="{DCEB6067-6AAF-DE7E-E481-757CDC1CC59F}"/>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AC92C61F-FD93-073C-AFAA-3629762CCB45}"/>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7B3E1782-7EA3-5D5C-4FB2-290A89A7E3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422E3335-8FF0-0584-6655-EE052F07292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63623074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6_2.8 Numbered text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556800" y="1680000"/>
            <a:ext cx="11078400" cy="4158640"/>
          </a:xfrm>
          <a:prstGeom prst="rect">
            <a:avLst/>
          </a:prstGeom>
        </p:spPr>
        <p:txBody>
          <a:bodyPr lIns="0" tIns="0" rIns="0" bIns="0"/>
          <a:lstStyle>
            <a:lvl1pPr marL="304792" indent="-304792">
              <a:lnSpc>
                <a:spcPct val="100000"/>
              </a:lnSpc>
              <a:spcBef>
                <a:spcPts val="0"/>
              </a:spcBef>
              <a:spcAft>
                <a:spcPts val="800"/>
              </a:spcAft>
              <a:buFont typeface="+mj-lt"/>
              <a:buAutoNum type="arabicPeriod"/>
              <a:defRPr sz="1600">
                <a:solidFill>
                  <a:schemeClr val="bg1"/>
                </a:solidFill>
              </a:defRPr>
            </a:lvl1pPr>
            <a:lvl2pPr marL="544786" indent="-304792">
              <a:lnSpc>
                <a:spcPct val="100000"/>
              </a:lnSpc>
              <a:spcBef>
                <a:spcPts val="0"/>
              </a:spcBef>
              <a:spcAft>
                <a:spcPts val="800"/>
              </a:spcAft>
              <a:buFont typeface="+mj-lt"/>
              <a:buAutoNum type="arabicPeriod" startAt="2"/>
              <a:defRPr sz="1600">
                <a:solidFill>
                  <a:schemeClr val="bg1"/>
                </a:solidFill>
              </a:defRPr>
            </a:lvl2pPr>
            <a:lvl3pPr marL="784780" indent="-304792">
              <a:lnSpc>
                <a:spcPct val="100000"/>
              </a:lnSpc>
              <a:spcBef>
                <a:spcPts val="0"/>
              </a:spcBef>
              <a:spcAft>
                <a:spcPts val="800"/>
              </a:spcAft>
              <a:buFont typeface="+mj-lt"/>
              <a:buAutoNum type="arabicPeriod" startAt="3"/>
              <a:defRPr sz="1600">
                <a:solidFill>
                  <a:schemeClr val="bg1"/>
                </a:solidFill>
              </a:defRPr>
            </a:lvl3pPr>
            <a:lvl4pPr marL="1024774" indent="-304792">
              <a:lnSpc>
                <a:spcPct val="100000"/>
              </a:lnSpc>
              <a:spcBef>
                <a:spcPts val="0"/>
              </a:spcBef>
              <a:spcAft>
                <a:spcPts val="800"/>
              </a:spcAft>
              <a:buFont typeface="+mj-lt"/>
              <a:buAutoNum type="arabicPeriod" startAt="4"/>
              <a:defRPr sz="1600">
                <a:solidFill>
                  <a:schemeClr val="bg1"/>
                </a:solidFill>
              </a:defRPr>
            </a:lvl4pPr>
            <a:lvl5pPr marL="1276168" indent="-304792">
              <a:lnSpc>
                <a:spcPct val="100000"/>
              </a:lnSpc>
              <a:spcBef>
                <a:spcPts val="0"/>
              </a:spcBef>
              <a:spcAft>
                <a:spcPts val="800"/>
              </a:spcAft>
              <a:buFont typeface="+mj-lt"/>
              <a:buAutoNum type="arabicPeriod" startAt="5"/>
              <a:defRPr sz="1600">
                <a:solidFill>
                  <a:schemeClr val="bg1"/>
                </a:solidFill>
              </a:defRPr>
            </a:lvl5pPr>
          </a:lstStyle>
          <a:p>
            <a:pPr lvl="0"/>
            <a:r>
              <a:rPr lang="en-US"/>
              <a:t>Text here</a:t>
            </a:r>
          </a:p>
          <a:p>
            <a:pPr lvl="1"/>
            <a:r>
              <a:rPr lang="en-US"/>
              <a:t>Text here</a:t>
            </a:r>
          </a:p>
          <a:p>
            <a:pPr lvl="2"/>
            <a:r>
              <a:rPr lang="en-US"/>
              <a:t>Text here</a:t>
            </a:r>
          </a:p>
          <a:p>
            <a:pPr lvl="3"/>
            <a:r>
              <a:rPr lang="en-US"/>
              <a:t>Text here</a:t>
            </a:r>
          </a:p>
          <a:p>
            <a:pPr marL="1276168" marR="0" lvl="4" indent="-304792" algn="l" defTabSz="914377" rtl="0" eaLnBrk="1" fontAlgn="auto" latinLnBrk="0" hangingPunct="1">
              <a:lnSpc>
                <a:spcPct val="100000"/>
              </a:lnSpc>
              <a:spcBef>
                <a:spcPts val="0"/>
              </a:spcBef>
              <a:spcAft>
                <a:spcPts val="400"/>
              </a:spcAft>
              <a:buClrTx/>
              <a:buSzTx/>
              <a:tabLst/>
              <a:defRPr/>
            </a:pPr>
            <a:r>
              <a:rPr lang="en-US"/>
              <a:t>Text here</a:t>
            </a:r>
          </a:p>
        </p:txBody>
      </p:sp>
      <p:pic>
        <p:nvPicPr>
          <p:cNvPr id="2" name="Graphic 1">
            <a:extLst>
              <a:ext uri="{FF2B5EF4-FFF2-40B4-BE49-F238E27FC236}">
                <a16:creationId xmlns:a16="http://schemas.microsoft.com/office/drawing/2014/main" id="{B2827D84-480B-22A7-4B2A-BFD3AB9191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8A8B0B3F-161E-8508-3B23-007FE1624352}"/>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99F8CB66-4F0D-7F21-56F6-56AAA5C02227}"/>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8A760B86-74B6-48A3-CE6D-96096653BF7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DD20D035-9F8D-A232-B41B-0EC79F1159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49813288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4_2.9 Title slide dark">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9E545D7-2373-D9BF-1A5C-DDEF3299CD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4" name="Text Placeholder 42">
            <a:extLst>
              <a:ext uri="{FF2B5EF4-FFF2-40B4-BE49-F238E27FC236}">
                <a16:creationId xmlns:a16="http://schemas.microsoft.com/office/drawing/2014/main" id="{1221AC1C-1EF4-5D9A-A440-017C6D790AAE}"/>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Click to edit headline</a:t>
            </a:r>
          </a:p>
        </p:txBody>
      </p:sp>
      <p:sp>
        <p:nvSpPr>
          <p:cNvPr id="4" name="TextBox 3">
            <a:extLst>
              <a:ext uri="{FF2B5EF4-FFF2-40B4-BE49-F238E27FC236}">
                <a16:creationId xmlns:a16="http://schemas.microsoft.com/office/drawing/2014/main" id="{3BAD1F5B-D865-3F9F-4D96-58C6DD62ECDF}"/>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A66624C8-71C7-7928-25B9-5352C8FD2EBB}"/>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DA75E4B3-EDD4-C5F1-7EF2-8B6126FAC2FC}"/>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34E36D38-263C-DBB6-A0D4-5E9785455C47}"/>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20795070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_1.5.3 - Cover O BlueGreen3">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9308198" y="3224292"/>
            <a:ext cx="1817989" cy="409417"/>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6835701" y="-6395"/>
            <a:ext cx="5356300" cy="68592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556708" y="2179565"/>
            <a:ext cx="5213179"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20" name="TextBox 19">
            <a:extLst>
              <a:ext uri="{FF2B5EF4-FFF2-40B4-BE49-F238E27FC236}">
                <a16:creationId xmlns:a16="http://schemas.microsoft.com/office/drawing/2014/main" id="{720759C7-94BC-8FC1-9A43-A40A4BE7AC1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83D4680A-11B6-A841-EC68-FFF11409500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2" name="Footer Placeholder 2">
            <a:extLst>
              <a:ext uri="{FF2B5EF4-FFF2-40B4-BE49-F238E27FC236}">
                <a16:creationId xmlns:a16="http://schemas.microsoft.com/office/drawing/2014/main" id="{AE485A1C-8A6A-5C51-5E3F-5685AAA904F0}"/>
              </a:ext>
            </a:extLst>
          </p:cNvPr>
          <p:cNvSpPr>
            <a:spLocks noGrp="1"/>
          </p:cNvSpPr>
          <p:nvPr>
            <p:ph type="ftr" sz="quarter" idx="3"/>
          </p:nvPr>
        </p:nvSpPr>
        <p:spPr>
          <a:xfrm>
            <a:off x="2006147" y="6478073"/>
            <a:ext cx="3840000" cy="163200"/>
          </a:xfrm>
          <a:prstGeom prst="rect">
            <a:avLst/>
          </a:prstGeom>
        </p:spPr>
        <p:txBody>
          <a:bodyPr vert="horz" wrap="none" lIns="0" tIns="0" rIns="0" bIns="0" rtlCol="0" anchor="b" anchorCtr="0">
            <a:noAutofit/>
          </a:bodyPr>
          <a:lstStyle>
            <a:lvl1pPr marL="0" algn="l" defTabSz="609585" rtl="0" eaLnBrk="1" latinLnBrk="0" hangingPunct="1">
              <a:defRPr lang="en-GB" sz="1067"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confidential</a:t>
            </a:r>
          </a:p>
        </p:txBody>
      </p:sp>
      <p:cxnSp>
        <p:nvCxnSpPr>
          <p:cNvPr id="2" name="Straight Connector 1">
            <a:extLst>
              <a:ext uri="{FF2B5EF4-FFF2-40B4-BE49-F238E27FC236}">
                <a16:creationId xmlns:a16="http://schemas.microsoft.com/office/drawing/2014/main" id="{97FF23FE-4D10-4C29-7B09-1D707687BDB0}"/>
              </a:ext>
            </a:extLst>
          </p:cNvPr>
          <p:cNvCxnSpPr>
            <a:cxnSpLocks/>
          </p:cNvCxnSpPr>
          <p:nvPr userDrawn="1"/>
        </p:nvCxnSpPr>
        <p:spPr>
          <a:xfrm>
            <a:off x="1871480" y="6457200"/>
            <a:ext cx="0" cy="192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063086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1.7.2 - Divider BlueGreen3">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Text Placeholder 42">
            <a:extLst>
              <a:ext uri="{FF2B5EF4-FFF2-40B4-BE49-F238E27FC236}">
                <a16:creationId xmlns:a16="http://schemas.microsoft.com/office/drawing/2014/main" id="{BE7F6530-2B80-C2AA-C92D-861D7E8FD530}"/>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buNone/>
              <a:defRPr sz="5867"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3" name="TextBox 12">
            <a:extLst>
              <a:ext uri="{FF2B5EF4-FFF2-40B4-BE49-F238E27FC236}">
                <a16:creationId xmlns:a16="http://schemas.microsoft.com/office/drawing/2014/main" id="{4FBBDEB0-7315-4214-F9C8-48DBCC502C8E}"/>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3976F6A6-5835-91B8-5B94-A197DCCF65D7}"/>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2">
            <a:extLst>
              <a:ext uri="{FF2B5EF4-FFF2-40B4-BE49-F238E27FC236}">
                <a16:creationId xmlns:a16="http://schemas.microsoft.com/office/drawing/2014/main" id="{146445DD-AC0A-C4BA-03CB-A346CF3E9279}"/>
              </a:ext>
            </a:extLst>
          </p:cNvPr>
          <p:cNvSpPr>
            <a:spLocks noGrp="1"/>
          </p:cNvSpPr>
          <p:nvPr>
            <p:ph type="ftr" sz="quarter" idx="3"/>
          </p:nvPr>
        </p:nvSpPr>
        <p:spPr>
          <a:xfrm>
            <a:off x="2006147" y="6478073"/>
            <a:ext cx="3840000" cy="163200"/>
          </a:xfrm>
          <a:prstGeom prst="rect">
            <a:avLst/>
          </a:prstGeom>
        </p:spPr>
        <p:txBody>
          <a:bodyPr vert="horz" wrap="none" lIns="0" tIns="0" rIns="0" bIns="0" rtlCol="0" anchor="b" anchorCtr="0">
            <a:noAutofit/>
          </a:bodyPr>
          <a:lstStyle>
            <a:lvl1pPr marL="0" algn="l" defTabSz="609585" rtl="0" eaLnBrk="1" latinLnBrk="0" hangingPunct="1">
              <a:defRPr lang="en-GB" sz="1067"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p>
        </p:txBody>
      </p:sp>
      <p:sp>
        <p:nvSpPr>
          <p:cNvPr id="3" name="Text Placeholder 42">
            <a:extLst>
              <a:ext uri="{FF2B5EF4-FFF2-40B4-BE49-F238E27FC236}">
                <a16:creationId xmlns:a16="http://schemas.microsoft.com/office/drawing/2014/main" id="{5ED3C240-0F31-AD4B-E3D6-E9E2DFC4EB67}"/>
              </a:ext>
            </a:extLst>
          </p:cNvPr>
          <p:cNvSpPr>
            <a:spLocks noGrp="1"/>
          </p:cNvSpPr>
          <p:nvPr>
            <p:ph type="body" sz="quarter" idx="12"/>
          </p:nvPr>
        </p:nvSpPr>
        <p:spPr>
          <a:xfrm>
            <a:off x="556800" y="4215295"/>
            <a:ext cx="11078400" cy="1477960"/>
          </a:xfrm>
          <a:prstGeom prst="rect">
            <a:avLst/>
          </a:prstGeom>
        </p:spPr>
        <p:txBody>
          <a:bodyPr lIns="0" tIns="0" rIns="0" bIns="0"/>
          <a:lstStyle>
            <a:lvl1pPr marL="0" indent="0">
              <a:buNone/>
              <a:defRPr sz="2133"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cxnSp>
        <p:nvCxnSpPr>
          <p:cNvPr id="4" name="Straight Connector 3">
            <a:extLst>
              <a:ext uri="{FF2B5EF4-FFF2-40B4-BE49-F238E27FC236}">
                <a16:creationId xmlns:a16="http://schemas.microsoft.com/office/drawing/2014/main" id="{C935493C-0314-59F4-3E99-CA50A71C90CC}"/>
              </a:ext>
            </a:extLst>
          </p:cNvPr>
          <p:cNvCxnSpPr>
            <a:cxnSpLocks/>
          </p:cNvCxnSpPr>
          <p:nvPr userDrawn="1"/>
        </p:nvCxnSpPr>
        <p:spPr>
          <a:xfrm>
            <a:off x="1871480" y="6457200"/>
            <a:ext cx="0" cy="192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660571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_2.10 Title slide with media 1 dark">
    <p:bg>
      <p:bgPr>
        <a:solidFill>
          <a:schemeClr val="tx1"/>
        </a:solidFill>
        <a:effectLst/>
      </p:bgPr>
    </p:bg>
    <p:spTree>
      <p:nvGrpSpPr>
        <p:cNvPr id="1" name=""/>
        <p:cNvGrpSpPr/>
        <p:nvPr/>
      </p:nvGrpSpPr>
      <p:grpSpPr>
        <a:xfrm>
          <a:off x="0" y="0"/>
          <a:ext cx="0" cy="0"/>
          <a:chOff x="0" y="0"/>
          <a:chExt cx="0" cy="0"/>
        </a:xfrm>
      </p:grpSpPr>
      <p:sp>
        <p:nvSpPr>
          <p:cNvPr id="3" name="Media Placeholder 6">
            <a:extLst>
              <a:ext uri="{FF2B5EF4-FFF2-40B4-BE49-F238E27FC236}">
                <a16:creationId xmlns:a16="http://schemas.microsoft.com/office/drawing/2014/main" id="{BB2531A6-B2AF-8CE3-D4E6-FFA2A6F43CBA}"/>
              </a:ext>
            </a:extLst>
          </p:cNvPr>
          <p:cNvSpPr>
            <a:spLocks noGrp="1"/>
          </p:cNvSpPr>
          <p:nvPr>
            <p:ph type="media" sz="quarter" idx="12"/>
          </p:nvPr>
        </p:nvSpPr>
        <p:spPr>
          <a:xfrm>
            <a:off x="0" y="0"/>
            <a:ext cx="12192000" cy="6858000"/>
          </a:xfrm>
          <a:prstGeom prst="rect">
            <a:avLst/>
          </a:prstGeom>
        </p:spPr>
        <p:txBody>
          <a:bodyPr/>
          <a:lstStyle>
            <a:lvl1pPr marL="0" indent="0">
              <a:buNone/>
              <a:defRPr>
                <a:solidFill>
                  <a:schemeClr val="bg1"/>
                </a:solidFill>
              </a:defRPr>
            </a:lvl1pPr>
          </a:lstStyle>
          <a:p>
            <a:r>
              <a:rPr lang="en-US"/>
              <a:t>Click icon to add media</a:t>
            </a:r>
          </a:p>
        </p:txBody>
      </p:sp>
      <p:pic>
        <p:nvPicPr>
          <p:cNvPr id="4" name="Graphic 3">
            <a:extLst>
              <a:ext uri="{FF2B5EF4-FFF2-40B4-BE49-F238E27FC236}">
                <a16:creationId xmlns:a16="http://schemas.microsoft.com/office/drawing/2014/main" id="{47292656-5749-2B4B-FA27-42765BDE338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5" name="Text Placeholder 42">
            <a:extLst>
              <a:ext uri="{FF2B5EF4-FFF2-40B4-BE49-F238E27FC236}">
                <a16:creationId xmlns:a16="http://schemas.microsoft.com/office/drawing/2014/main" id="{4F756C8B-0244-6A11-8EC3-4A1D203CDD66}"/>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Click to edit headline</a:t>
            </a:r>
          </a:p>
        </p:txBody>
      </p:sp>
      <p:sp>
        <p:nvSpPr>
          <p:cNvPr id="6" name="TextBox 5">
            <a:extLst>
              <a:ext uri="{FF2B5EF4-FFF2-40B4-BE49-F238E27FC236}">
                <a16:creationId xmlns:a16="http://schemas.microsoft.com/office/drawing/2014/main" id="{BD759CC4-69C8-613F-E557-4E2AEE7B75E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A40A76AB-576F-2C48-7ED4-0E98A54B99AD}"/>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717253AE-3DDB-8C8A-399D-C55C49CB0832}"/>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0DC17B7D-4E9B-5FAC-1228-C97FB1CFC5A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65398600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5_2.11 Title slide with media 2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sz="1600">
                <a:solidFill>
                  <a:schemeClr val="bg1"/>
                </a:solidFill>
              </a:defRPr>
            </a:lvl4pPr>
            <a:lvl5pPr marL="1199970" indent="-239994">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C341FE85-3CE7-12FA-3841-D7CC0ABB659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27418BB1-0E7E-AAD3-AD71-82204464918C}"/>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02B48A79-625E-B973-DCD8-533E86F25072}"/>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DB9A4E9B-BED0-504E-628D-EAD882C392A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742AC6DC-CFBE-F98E-4CC4-2390702BA655}"/>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94780925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5_2.12 Title slide with media 3 dark">
    <p:bg>
      <p:bgPr>
        <a:solidFill>
          <a:schemeClr val="tx1"/>
        </a:solidFill>
        <a:effectLst/>
      </p:bgPr>
    </p:bg>
    <p:spTree>
      <p:nvGrpSpPr>
        <p:cNvPr id="1" name=""/>
        <p:cNvGrpSpPr/>
        <p:nvPr/>
      </p:nvGrpSpPr>
      <p:grpSpPr>
        <a:xfrm>
          <a:off x="0" y="0"/>
          <a:ext cx="0" cy="0"/>
          <a:chOff x="0" y="0"/>
          <a:chExt cx="0" cy="0"/>
        </a:xfrm>
      </p:grpSpPr>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556801" y="527928"/>
            <a:ext cx="4554028"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556801" y="1019360"/>
            <a:ext cx="4554028"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556453" y="1680000"/>
            <a:ext cx="455402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sz="1600">
                <a:solidFill>
                  <a:schemeClr val="bg1"/>
                </a:solidFill>
              </a:defRPr>
            </a:lvl4pPr>
            <a:lvl5pPr marL="1199970" indent="-239994">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E7BA896-DC3C-C861-6C89-0401950D7446}"/>
              </a:ext>
            </a:extLst>
          </p:cNvPr>
          <p:cNvSpPr>
            <a:spLocks noGrp="1"/>
          </p:cNvSpPr>
          <p:nvPr>
            <p:ph type="pic" sz="quarter" idx="15" hasCustomPrompt="1"/>
          </p:nvPr>
        </p:nvSpPr>
        <p:spPr>
          <a:xfrm>
            <a:off x="5486400" y="0"/>
            <a:ext cx="67056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pic>
        <p:nvPicPr>
          <p:cNvPr id="4" name="Graphic 3">
            <a:extLst>
              <a:ext uri="{FF2B5EF4-FFF2-40B4-BE49-F238E27FC236}">
                <a16:creationId xmlns:a16="http://schemas.microsoft.com/office/drawing/2014/main" id="{2E1E3056-42DC-BA9B-F46D-475E5BE32B9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Box 4">
            <a:extLst>
              <a:ext uri="{FF2B5EF4-FFF2-40B4-BE49-F238E27FC236}">
                <a16:creationId xmlns:a16="http://schemas.microsoft.com/office/drawing/2014/main" id="{B6681D21-FC7E-7F82-9685-4F1EF53B236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41DBEFAD-5693-7A1A-A64F-C540D390A0B8}"/>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7840E574-42A1-50DE-BFA2-D52D3D35902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DDEF2D02-B6B9-E747-F0EA-9ED48DC28C93}"/>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69038605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2.13 Title slide with media 4 dark">
    <p:bg>
      <p:bgPr>
        <a:solidFill>
          <a:schemeClr val="tx1"/>
        </a:solidFill>
        <a:effectLst/>
      </p:bgPr>
    </p:bg>
    <p:spTree>
      <p:nvGrpSpPr>
        <p:cNvPr id="1" name=""/>
        <p:cNvGrpSpPr/>
        <p:nvPr/>
      </p:nvGrpSpPr>
      <p:grpSpPr>
        <a:xfrm>
          <a:off x="0" y="0"/>
          <a:ext cx="0" cy="0"/>
          <a:chOff x="0" y="0"/>
          <a:chExt cx="0" cy="0"/>
        </a:xfrm>
      </p:grpSpPr>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556801" y="527928"/>
            <a:ext cx="3294188"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556801" y="1019360"/>
            <a:ext cx="3294188"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556453" y="1680000"/>
            <a:ext cx="329418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sz="1600">
                <a:solidFill>
                  <a:schemeClr val="bg1"/>
                </a:solidFill>
              </a:defRPr>
            </a:lvl4pPr>
            <a:lvl5pPr marL="1199970" indent="-239994">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C663BDD0-396A-C130-FA04-231CB3C74388}"/>
              </a:ext>
            </a:extLst>
          </p:cNvPr>
          <p:cNvSpPr>
            <a:spLocks noGrp="1"/>
          </p:cNvSpPr>
          <p:nvPr>
            <p:ph type="pic" sz="quarter" idx="16" hasCustomPrompt="1"/>
          </p:nvPr>
        </p:nvSpPr>
        <p:spPr>
          <a:xfrm>
            <a:off x="4267200" y="0"/>
            <a:ext cx="79248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pic>
        <p:nvPicPr>
          <p:cNvPr id="3" name="Graphic 2">
            <a:extLst>
              <a:ext uri="{FF2B5EF4-FFF2-40B4-BE49-F238E27FC236}">
                <a16:creationId xmlns:a16="http://schemas.microsoft.com/office/drawing/2014/main" id="{E89A3CCB-3818-87A8-9032-448C77F620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6" name="TextBox 5">
            <a:extLst>
              <a:ext uri="{FF2B5EF4-FFF2-40B4-BE49-F238E27FC236}">
                <a16:creationId xmlns:a16="http://schemas.microsoft.com/office/drawing/2014/main" id="{2108539B-21D0-85E7-AB77-143ABD40EEB1}"/>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3F76E50B-EEF8-724F-1802-0488D70A46F4}"/>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7FC0E722-8D59-61D9-391E-65CCE154F81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0CF5A558-51C2-73A4-9D8C-5A3B7422BE46}"/>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4004360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7 Bulletpoint text 4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368443"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180435"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8992427"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5E782D2-17EB-7305-867D-635CABCFC87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0" name="TextBox 9">
            <a:extLst>
              <a:ext uri="{FF2B5EF4-FFF2-40B4-BE49-F238E27FC236}">
                <a16:creationId xmlns:a16="http://schemas.microsoft.com/office/drawing/2014/main" id="{DCEB6067-6AAF-DE7E-E481-757CDC1CC59F}"/>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AC92C61F-FD93-073C-AFAA-3629762CCB45}"/>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7B3E1782-7EA3-5D5C-4FB2-290A89A7E3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422E3335-8FF0-0584-6655-EE052F07292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50712234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3 N Blue green">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A97BECFD-8EA7-0689-338E-FF79734814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Graphic 5">
            <a:extLst>
              <a:ext uri="{FF2B5EF4-FFF2-40B4-BE49-F238E27FC236}">
                <a16:creationId xmlns:a16="http://schemas.microsoft.com/office/drawing/2014/main" id="{B8976C7B-2688-70F3-77A4-4D1113FB54E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6859200" cy="6859200"/>
          </a:xfrm>
          <a:prstGeom prst="rect">
            <a:avLst/>
          </a:prstGeom>
        </p:spPr>
      </p:pic>
      <p:grpSp>
        <p:nvGrpSpPr>
          <p:cNvPr id="10" name="Graphic 3">
            <a:extLst>
              <a:ext uri="{FF2B5EF4-FFF2-40B4-BE49-F238E27FC236}">
                <a16:creationId xmlns:a16="http://schemas.microsoft.com/office/drawing/2014/main" id="{49D9392C-9E29-427F-3C29-C64146E898C7}"/>
              </a:ext>
            </a:extLst>
          </p:cNvPr>
          <p:cNvGrpSpPr/>
          <p:nvPr userDrawn="1"/>
        </p:nvGrpSpPr>
        <p:grpSpPr>
          <a:xfrm>
            <a:off x="1649971" y="5976900"/>
            <a:ext cx="1817989" cy="409417"/>
            <a:chOff x="469958" y="1647414"/>
            <a:chExt cx="8205029" cy="1847802"/>
          </a:xfrm>
          <a:solidFill>
            <a:schemeClr val="bg1"/>
          </a:solidFill>
        </p:grpSpPr>
        <p:sp>
          <p:nvSpPr>
            <p:cNvPr id="11" name="Freeform 33">
              <a:extLst>
                <a:ext uri="{FF2B5EF4-FFF2-40B4-BE49-F238E27FC236}">
                  <a16:creationId xmlns:a16="http://schemas.microsoft.com/office/drawing/2014/main" id="{86483177-9ABF-3F5C-ED1D-16C01EEE37C3}"/>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97C96119-D9F7-8022-5694-A13E7950B52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3" name="Freeform 35">
              <a:extLst>
                <a:ext uri="{FF2B5EF4-FFF2-40B4-BE49-F238E27FC236}">
                  <a16:creationId xmlns:a16="http://schemas.microsoft.com/office/drawing/2014/main" id="{247CB589-C660-36A6-BF29-1327034A981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6">
              <a:extLst>
                <a:ext uri="{FF2B5EF4-FFF2-40B4-BE49-F238E27FC236}">
                  <a16:creationId xmlns:a16="http://schemas.microsoft.com/office/drawing/2014/main" id="{2B915696-0B26-9206-B2E7-93708805BDBC}"/>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7">
              <a:extLst>
                <a:ext uri="{FF2B5EF4-FFF2-40B4-BE49-F238E27FC236}">
                  <a16:creationId xmlns:a16="http://schemas.microsoft.com/office/drawing/2014/main" id="{AA3A0836-5277-7254-E598-6DE9FA1A526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5" name="Title 4">
            <a:extLst>
              <a:ext uri="{FF2B5EF4-FFF2-40B4-BE49-F238E27FC236}">
                <a16:creationId xmlns:a16="http://schemas.microsoft.com/office/drawing/2014/main" id="{1EF87F37-41EC-F109-B4C3-D44EE53A0A05}"/>
              </a:ext>
            </a:extLst>
          </p:cNvPr>
          <p:cNvSpPr>
            <a:spLocks noGrp="1"/>
          </p:cNvSpPr>
          <p:nvPr>
            <p:ph type="title" hasCustomPrompt="1"/>
          </p:nvPr>
        </p:nvSpPr>
        <p:spPr>
          <a:xfrm>
            <a:off x="5107197" y="959733"/>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7" name="Text Placeholder 3">
            <a:extLst>
              <a:ext uri="{FF2B5EF4-FFF2-40B4-BE49-F238E27FC236}">
                <a16:creationId xmlns:a16="http://schemas.microsoft.com/office/drawing/2014/main" id="{3D32AC0D-5511-1F2D-2A28-C259AC8BC58A}"/>
              </a:ext>
            </a:extLst>
          </p:cNvPr>
          <p:cNvSpPr>
            <a:spLocks noGrp="1"/>
          </p:cNvSpPr>
          <p:nvPr>
            <p:ph type="body" sz="quarter" idx="12" hasCustomPrompt="1"/>
          </p:nvPr>
        </p:nvSpPr>
        <p:spPr>
          <a:xfrm>
            <a:off x="5107199" y="2834798"/>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8" name="TextBox 17">
            <a:extLst>
              <a:ext uri="{FF2B5EF4-FFF2-40B4-BE49-F238E27FC236}">
                <a16:creationId xmlns:a16="http://schemas.microsoft.com/office/drawing/2014/main" id="{3CB10A0F-2286-895A-B579-CB5D4386A2B7}"/>
              </a:ext>
            </a:extLst>
          </p:cNvPr>
          <p:cNvSpPr txBox="1"/>
          <p:nvPr userDrawn="1"/>
        </p:nvSpPr>
        <p:spPr>
          <a:xfrm>
            <a:off x="10793087"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AAD2976-396D-426A-A7C0-2D53F71491E3}"/>
              </a:ext>
            </a:extLst>
          </p:cNvPr>
          <p:cNvSpPr txBox="1">
            <a:spLocks/>
          </p:cNvSpPr>
          <p:nvPr userDrawn="1"/>
        </p:nvSpPr>
        <p:spPr>
          <a:xfrm>
            <a:off x="10445185"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02044470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3 N Purple blue">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81E104F6-2E1E-CFDD-A69D-C115384F159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0E27FD93-255E-C585-12C2-E99681C9BE5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1201"/>
            <a:ext cx="6859200" cy="6859200"/>
          </a:xfrm>
          <a:prstGeom prst="rect">
            <a:avLst/>
          </a:prstGeom>
        </p:spPr>
      </p:pic>
      <p:grpSp>
        <p:nvGrpSpPr>
          <p:cNvPr id="7" name="Graphic 3">
            <a:extLst>
              <a:ext uri="{FF2B5EF4-FFF2-40B4-BE49-F238E27FC236}">
                <a16:creationId xmlns:a16="http://schemas.microsoft.com/office/drawing/2014/main" id="{AC803887-2AFC-DF73-DE60-1BE27DDE158C}"/>
              </a:ext>
            </a:extLst>
          </p:cNvPr>
          <p:cNvGrpSpPr/>
          <p:nvPr userDrawn="1"/>
        </p:nvGrpSpPr>
        <p:grpSpPr>
          <a:xfrm>
            <a:off x="1649971" y="5976900"/>
            <a:ext cx="1817989" cy="409417"/>
            <a:chOff x="469958" y="1647414"/>
            <a:chExt cx="8205029" cy="1847802"/>
          </a:xfrm>
          <a:solidFill>
            <a:schemeClr val="bg1"/>
          </a:solidFill>
        </p:grpSpPr>
        <p:sp>
          <p:nvSpPr>
            <p:cNvPr id="8" name="Freeform 33">
              <a:extLst>
                <a:ext uri="{FF2B5EF4-FFF2-40B4-BE49-F238E27FC236}">
                  <a16:creationId xmlns:a16="http://schemas.microsoft.com/office/drawing/2014/main" id="{FB007C44-CA5E-747F-537B-FA8B422F6EF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4">
              <a:extLst>
                <a:ext uri="{FF2B5EF4-FFF2-40B4-BE49-F238E27FC236}">
                  <a16:creationId xmlns:a16="http://schemas.microsoft.com/office/drawing/2014/main" id="{ACD5E94E-82F7-2222-8DA7-BF2F4217D47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3" name="Freeform 35">
              <a:extLst>
                <a:ext uri="{FF2B5EF4-FFF2-40B4-BE49-F238E27FC236}">
                  <a16:creationId xmlns:a16="http://schemas.microsoft.com/office/drawing/2014/main" id="{3422F086-3538-B59C-A13B-E07C6B18072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6">
              <a:extLst>
                <a:ext uri="{FF2B5EF4-FFF2-40B4-BE49-F238E27FC236}">
                  <a16:creationId xmlns:a16="http://schemas.microsoft.com/office/drawing/2014/main" id="{64270631-5CE7-99C0-6E82-FDECFC1D363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7">
              <a:extLst>
                <a:ext uri="{FF2B5EF4-FFF2-40B4-BE49-F238E27FC236}">
                  <a16:creationId xmlns:a16="http://schemas.microsoft.com/office/drawing/2014/main" id="{AEC4CD95-FA07-887B-3375-C4368A44AF15}"/>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6" name="TextBox 5">
            <a:extLst>
              <a:ext uri="{FF2B5EF4-FFF2-40B4-BE49-F238E27FC236}">
                <a16:creationId xmlns:a16="http://schemas.microsoft.com/office/drawing/2014/main" id="{1AA40532-F231-EBBB-A8D3-3657B33CB9DA}"/>
              </a:ext>
            </a:extLst>
          </p:cNvPr>
          <p:cNvSpPr txBox="1"/>
          <p:nvPr userDrawn="1"/>
        </p:nvSpPr>
        <p:spPr>
          <a:xfrm>
            <a:off x="10793087"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B509789C-1FE5-7B11-DD63-34E6F72F670E}"/>
              </a:ext>
            </a:extLst>
          </p:cNvPr>
          <p:cNvSpPr txBox="1">
            <a:spLocks/>
          </p:cNvSpPr>
          <p:nvPr userDrawn="1"/>
        </p:nvSpPr>
        <p:spPr>
          <a:xfrm>
            <a:off x="10445185"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7" name="Title 4">
            <a:extLst>
              <a:ext uri="{FF2B5EF4-FFF2-40B4-BE49-F238E27FC236}">
                <a16:creationId xmlns:a16="http://schemas.microsoft.com/office/drawing/2014/main" id="{A1D3EB5E-6B70-AA5A-4340-53F0E0A0646D}"/>
              </a:ext>
            </a:extLst>
          </p:cNvPr>
          <p:cNvSpPr>
            <a:spLocks noGrp="1"/>
          </p:cNvSpPr>
          <p:nvPr>
            <p:ph type="title" hasCustomPrompt="1"/>
          </p:nvPr>
        </p:nvSpPr>
        <p:spPr>
          <a:xfrm>
            <a:off x="5107197" y="959733"/>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8" name="Text Placeholder 3">
            <a:extLst>
              <a:ext uri="{FF2B5EF4-FFF2-40B4-BE49-F238E27FC236}">
                <a16:creationId xmlns:a16="http://schemas.microsoft.com/office/drawing/2014/main" id="{0AF9AF4C-BE87-2184-CAE5-F141A4F930B6}"/>
              </a:ext>
            </a:extLst>
          </p:cNvPr>
          <p:cNvSpPr>
            <a:spLocks noGrp="1"/>
          </p:cNvSpPr>
          <p:nvPr>
            <p:ph type="body" sz="quarter" idx="12" hasCustomPrompt="1"/>
          </p:nvPr>
        </p:nvSpPr>
        <p:spPr>
          <a:xfrm>
            <a:off x="5107199" y="2834798"/>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125926936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3 N Pink">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C7D16BB-9265-7D3A-E136-8F028A9F86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0" name="Graphic 19">
            <a:extLst>
              <a:ext uri="{FF2B5EF4-FFF2-40B4-BE49-F238E27FC236}">
                <a16:creationId xmlns:a16="http://schemas.microsoft.com/office/drawing/2014/main" id="{A7536232-7B28-DCFA-37A3-EEBA7365A53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6859200" cy="6859200"/>
          </a:xfrm>
          <a:prstGeom prst="rect">
            <a:avLst/>
          </a:prstGeom>
        </p:spPr>
      </p:pic>
      <p:grpSp>
        <p:nvGrpSpPr>
          <p:cNvPr id="12" name="Graphic 3">
            <a:extLst>
              <a:ext uri="{FF2B5EF4-FFF2-40B4-BE49-F238E27FC236}">
                <a16:creationId xmlns:a16="http://schemas.microsoft.com/office/drawing/2014/main" id="{BBCFFB55-AEE0-B60F-9245-9C27632712D3}"/>
              </a:ext>
            </a:extLst>
          </p:cNvPr>
          <p:cNvGrpSpPr/>
          <p:nvPr userDrawn="1"/>
        </p:nvGrpSpPr>
        <p:grpSpPr>
          <a:xfrm>
            <a:off x="1649971" y="5976900"/>
            <a:ext cx="1817989" cy="409417"/>
            <a:chOff x="469958" y="1647414"/>
            <a:chExt cx="8205029" cy="1847802"/>
          </a:xfrm>
          <a:solidFill>
            <a:schemeClr val="bg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18" name="TextBox 17">
            <a:extLst>
              <a:ext uri="{FF2B5EF4-FFF2-40B4-BE49-F238E27FC236}">
                <a16:creationId xmlns:a16="http://schemas.microsoft.com/office/drawing/2014/main" id="{B3045E81-706E-BB14-3DDB-AC56D9F33518}"/>
              </a:ext>
            </a:extLst>
          </p:cNvPr>
          <p:cNvSpPr txBox="1"/>
          <p:nvPr userDrawn="1"/>
        </p:nvSpPr>
        <p:spPr>
          <a:xfrm>
            <a:off x="10793087"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B1E5D1B-6D7F-C600-7828-022D4F5709B7}"/>
              </a:ext>
            </a:extLst>
          </p:cNvPr>
          <p:cNvSpPr txBox="1">
            <a:spLocks/>
          </p:cNvSpPr>
          <p:nvPr userDrawn="1"/>
        </p:nvSpPr>
        <p:spPr>
          <a:xfrm>
            <a:off x="10445185"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Title 4">
            <a:extLst>
              <a:ext uri="{FF2B5EF4-FFF2-40B4-BE49-F238E27FC236}">
                <a16:creationId xmlns:a16="http://schemas.microsoft.com/office/drawing/2014/main" id="{F0180981-7B7F-4D9A-87AD-960857227942}"/>
              </a:ext>
            </a:extLst>
          </p:cNvPr>
          <p:cNvSpPr>
            <a:spLocks noGrp="1"/>
          </p:cNvSpPr>
          <p:nvPr>
            <p:ph type="title" hasCustomPrompt="1"/>
          </p:nvPr>
        </p:nvSpPr>
        <p:spPr>
          <a:xfrm>
            <a:off x="5107197" y="959733"/>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22" name="Text Placeholder 3">
            <a:extLst>
              <a:ext uri="{FF2B5EF4-FFF2-40B4-BE49-F238E27FC236}">
                <a16:creationId xmlns:a16="http://schemas.microsoft.com/office/drawing/2014/main" id="{5C555545-3487-5A2F-B887-81AE17C8067F}"/>
              </a:ext>
            </a:extLst>
          </p:cNvPr>
          <p:cNvSpPr>
            <a:spLocks noGrp="1"/>
          </p:cNvSpPr>
          <p:nvPr>
            <p:ph type="body" sz="quarter" idx="12" hasCustomPrompt="1"/>
          </p:nvPr>
        </p:nvSpPr>
        <p:spPr>
          <a:xfrm>
            <a:off x="5107199" y="2834798"/>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27201880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6_2.11 Title slide with media 2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sz="1600">
                <a:solidFill>
                  <a:schemeClr val="bg1"/>
                </a:solidFill>
              </a:defRPr>
            </a:lvl4pPr>
            <a:lvl5pPr marL="1199941" indent="-239989">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C341FE85-3CE7-12FA-3841-D7CC0ABB659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27418BB1-0E7E-AAD3-AD71-82204464918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02B48A79-625E-B973-DCD8-533E86F25072}"/>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DB9A4E9B-BED0-504E-628D-EAD882C392A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742AC6DC-CFBE-F98E-4CC4-2390702BA655}"/>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62339725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6_2.12 Title slide with media 3 dark">
    <p:bg>
      <p:bgPr>
        <a:solidFill>
          <a:schemeClr val="tx1"/>
        </a:solidFill>
        <a:effectLst/>
      </p:bgPr>
    </p:bg>
    <p:spTree>
      <p:nvGrpSpPr>
        <p:cNvPr id="1" name=""/>
        <p:cNvGrpSpPr/>
        <p:nvPr/>
      </p:nvGrpSpPr>
      <p:grpSpPr>
        <a:xfrm>
          <a:off x="0" y="0"/>
          <a:ext cx="0" cy="0"/>
          <a:chOff x="0" y="0"/>
          <a:chExt cx="0" cy="0"/>
        </a:xfrm>
      </p:grpSpPr>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556802" y="527928"/>
            <a:ext cx="4554028"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556802" y="1019360"/>
            <a:ext cx="4554028"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556454" y="1680000"/>
            <a:ext cx="455402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sz="1600">
                <a:solidFill>
                  <a:schemeClr val="bg1"/>
                </a:solidFill>
              </a:defRPr>
            </a:lvl4pPr>
            <a:lvl5pPr marL="1199941" indent="-239989">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E7BA896-DC3C-C861-6C89-0401950D7446}"/>
              </a:ext>
            </a:extLst>
          </p:cNvPr>
          <p:cNvSpPr>
            <a:spLocks noGrp="1"/>
          </p:cNvSpPr>
          <p:nvPr>
            <p:ph type="pic" sz="quarter" idx="15" hasCustomPrompt="1"/>
          </p:nvPr>
        </p:nvSpPr>
        <p:spPr>
          <a:xfrm>
            <a:off x="5486400" y="0"/>
            <a:ext cx="67056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pic>
        <p:nvPicPr>
          <p:cNvPr id="4" name="Graphic 3">
            <a:extLst>
              <a:ext uri="{FF2B5EF4-FFF2-40B4-BE49-F238E27FC236}">
                <a16:creationId xmlns:a16="http://schemas.microsoft.com/office/drawing/2014/main" id="{2E1E3056-42DC-BA9B-F46D-475E5BE32B9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5" name="TextBox 4">
            <a:extLst>
              <a:ext uri="{FF2B5EF4-FFF2-40B4-BE49-F238E27FC236}">
                <a16:creationId xmlns:a16="http://schemas.microsoft.com/office/drawing/2014/main" id="{B6681D21-FC7E-7F82-9685-4F1EF53B236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41DBEFAD-5693-7A1A-A64F-C540D390A0B8}"/>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7840E574-42A1-50DE-BFA2-D52D3D35902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DDEF2D02-B6B9-E747-F0EA-9ED48DC28C93}"/>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7682013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3_2.13 Title slide with media 4 dark">
    <p:bg>
      <p:bgPr>
        <a:solidFill>
          <a:schemeClr val="tx1"/>
        </a:solidFill>
        <a:effectLst/>
      </p:bgPr>
    </p:bg>
    <p:spTree>
      <p:nvGrpSpPr>
        <p:cNvPr id="1" name=""/>
        <p:cNvGrpSpPr/>
        <p:nvPr/>
      </p:nvGrpSpPr>
      <p:grpSpPr>
        <a:xfrm>
          <a:off x="0" y="0"/>
          <a:ext cx="0" cy="0"/>
          <a:chOff x="0" y="0"/>
          <a:chExt cx="0" cy="0"/>
        </a:xfrm>
      </p:grpSpPr>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556802" y="527928"/>
            <a:ext cx="3294188"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556802" y="1019360"/>
            <a:ext cx="3294188"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556454" y="1680000"/>
            <a:ext cx="329418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bg1"/>
                </a:solidFill>
              </a:defRPr>
            </a:lvl1pPr>
            <a:lvl2pPr marL="479976" indent="-239989">
              <a:lnSpc>
                <a:spcPct val="100000"/>
              </a:lnSpc>
              <a:spcBef>
                <a:spcPts val="0"/>
              </a:spcBef>
              <a:spcAft>
                <a:spcPts val="800"/>
              </a:spcAft>
              <a:buSzPct val="70000"/>
              <a:defRPr sz="1600">
                <a:solidFill>
                  <a:schemeClr val="bg1"/>
                </a:solidFill>
              </a:defRPr>
            </a:lvl2pPr>
            <a:lvl3pPr marL="719965" indent="-239989">
              <a:lnSpc>
                <a:spcPct val="100000"/>
              </a:lnSpc>
              <a:spcBef>
                <a:spcPts val="0"/>
              </a:spcBef>
              <a:spcAft>
                <a:spcPts val="800"/>
              </a:spcAft>
              <a:buSzPct val="70000"/>
              <a:defRPr sz="1600">
                <a:solidFill>
                  <a:schemeClr val="bg1"/>
                </a:solidFill>
              </a:defRPr>
            </a:lvl3pPr>
            <a:lvl4pPr marL="959952" indent="-239989">
              <a:lnSpc>
                <a:spcPct val="100000"/>
              </a:lnSpc>
              <a:spcBef>
                <a:spcPts val="0"/>
              </a:spcBef>
              <a:spcAft>
                <a:spcPts val="800"/>
              </a:spcAft>
              <a:buSzPct val="70000"/>
              <a:defRPr sz="1600">
                <a:solidFill>
                  <a:schemeClr val="bg1"/>
                </a:solidFill>
              </a:defRPr>
            </a:lvl4pPr>
            <a:lvl5pPr marL="1199941" indent="-239989">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C663BDD0-396A-C130-FA04-231CB3C74388}"/>
              </a:ext>
            </a:extLst>
          </p:cNvPr>
          <p:cNvSpPr>
            <a:spLocks noGrp="1"/>
          </p:cNvSpPr>
          <p:nvPr>
            <p:ph type="pic" sz="quarter" idx="16" hasCustomPrompt="1"/>
          </p:nvPr>
        </p:nvSpPr>
        <p:spPr>
          <a:xfrm>
            <a:off x="4267200" y="0"/>
            <a:ext cx="79248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pic>
        <p:nvPicPr>
          <p:cNvPr id="3" name="Graphic 2">
            <a:extLst>
              <a:ext uri="{FF2B5EF4-FFF2-40B4-BE49-F238E27FC236}">
                <a16:creationId xmlns:a16="http://schemas.microsoft.com/office/drawing/2014/main" id="{E89A3CCB-3818-87A8-9032-448C77F620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6" name="TextBox 5">
            <a:extLst>
              <a:ext uri="{FF2B5EF4-FFF2-40B4-BE49-F238E27FC236}">
                <a16:creationId xmlns:a16="http://schemas.microsoft.com/office/drawing/2014/main" id="{2108539B-21D0-85E7-AB77-143ABD40EEB1}"/>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3F76E50B-EEF8-724F-1802-0488D70A46F4}"/>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7FC0E722-8D59-61D9-391E-65CCE154F81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0CF5A558-51C2-73A4-9D8C-5A3B7422BE46}"/>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00432893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3_3 N Blue green">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A97BECFD-8EA7-0689-338E-FF79734814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Graphic 5">
            <a:extLst>
              <a:ext uri="{FF2B5EF4-FFF2-40B4-BE49-F238E27FC236}">
                <a16:creationId xmlns:a16="http://schemas.microsoft.com/office/drawing/2014/main" id="{B8976C7B-2688-70F3-77A4-4D1113FB54E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6859200" cy="6859200"/>
          </a:xfrm>
          <a:prstGeom prst="rect">
            <a:avLst/>
          </a:prstGeom>
        </p:spPr>
      </p:pic>
      <p:grpSp>
        <p:nvGrpSpPr>
          <p:cNvPr id="10" name="Graphic 3">
            <a:extLst>
              <a:ext uri="{FF2B5EF4-FFF2-40B4-BE49-F238E27FC236}">
                <a16:creationId xmlns:a16="http://schemas.microsoft.com/office/drawing/2014/main" id="{49D9392C-9E29-427F-3C29-C64146E898C7}"/>
              </a:ext>
            </a:extLst>
          </p:cNvPr>
          <p:cNvGrpSpPr/>
          <p:nvPr userDrawn="1"/>
        </p:nvGrpSpPr>
        <p:grpSpPr>
          <a:xfrm>
            <a:off x="1649972" y="5976901"/>
            <a:ext cx="1817989" cy="409417"/>
            <a:chOff x="469958" y="1647414"/>
            <a:chExt cx="8205029" cy="1847802"/>
          </a:xfrm>
          <a:solidFill>
            <a:schemeClr val="bg1"/>
          </a:solidFill>
        </p:grpSpPr>
        <p:sp>
          <p:nvSpPr>
            <p:cNvPr id="11" name="Freeform 33">
              <a:extLst>
                <a:ext uri="{FF2B5EF4-FFF2-40B4-BE49-F238E27FC236}">
                  <a16:creationId xmlns:a16="http://schemas.microsoft.com/office/drawing/2014/main" id="{86483177-9ABF-3F5C-ED1D-16C01EEE37C3}"/>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97C96119-D9F7-8022-5694-A13E7950B52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3" name="Freeform 35">
              <a:extLst>
                <a:ext uri="{FF2B5EF4-FFF2-40B4-BE49-F238E27FC236}">
                  <a16:creationId xmlns:a16="http://schemas.microsoft.com/office/drawing/2014/main" id="{247CB589-C660-36A6-BF29-1327034A981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6">
              <a:extLst>
                <a:ext uri="{FF2B5EF4-FFF2-40B4-BE49-F238E27FC236}">
                  <a16:creationId xmlns:a16="http://schemas.microsoft.com/office/drawing/2014/main" id="{2B915696-0B26-9206-B2E7-93708805BDBC}"/>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7">
              <a:extLst>
                <a:ext uri="{FF2B5EF4-FFF2-40B4-BE49-F238E27FC236}">
                  <a16:creationId xmlns:a16="http://schemas.microsoft.com/office/drawing/2014/main" id="{AA3A0836-5277-7254-E598-6DE9FA1A526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5" name="Title 4">
            <a:extLst>
              <a:ext uri="{FF2B5EF4-FFF2-40B4-BE49-F238E27FC236}">
                <a16:creationId xmlns:a16="http://schemas.microsoft.com/office/drawing/2014/main" id="{1EF87F37-41EC-F109-B4C3-D44EE53A0A05}"/>
              </a:ext>
            </a:extLst>
          </p:cNvPr>
          <p:cNvSpPr>
            <a:spLocks noGrp="1"/>
          </p:cNvSpPr>
          <p:nvPr>
            <p:ph type="title" hasCustomPrompt="1"/>
          </p:nvPr>
        </p:nvSpPr>
        <p:spPr>
          <a:xfrm>
            <a:off x="5107197" y="959734"/>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7" name="Text Placeholder 3">
            <a:extLst>
              <a:ext uri="{FF2B5EF4-FFF2-40B4-BE49-F238E27FC236}">
                <a16:creationId xmlns:a16="http://schemas.microsoft.com/office/drawing/2014/main" id="{3D32AC0D-5511-1F2D-2A28-C259AC8BC58A}"/>
              </a:ext>
            </a:extLst>
          </p:cNvPr>
          <p:cNvSpPr>
            <a:spLocks noGrp="1"/>
          </p:cNvSpPr>
          <p:nvPr>
            <p:ph type="body" sz="quarter" idx="12" hasCustomPrompt="1"/>
          </p:nvPr>
        </p:nvSpPr>
        <p:spPr>
          <a:xfrm>
            <a:off x="5107199" y="2834800"/>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8" name="TextBox 17">
            <a:extLst>
              <a:ext uri="{FF2B5EF4-FFF2-40B4-BE49-F238E27FC236}">
                <a16:creationId xmlns:a16="http://schemas.microsoft.com/office/drawing/2014/main" id="{3CB10A0F-2286-895A-B579-CB5D4386A2B7}"/>
              </a:ext>
            </a:extLst>
          </p:cNvPr>
          <p:cNvSpPr txBox="1"/>
          <p:nvPr userDrawn="1"/>
        </p:nvSpPr>
        <p:spPr>
          <a:xfrm>
            <a:off x="10793089"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AAD2976-396D-426A-A7C0-2D53F71491E3}"/>
              </a:ext>
            </a:extLst>
          </p:cNvPr>
          <p:cNvSpPr txBox="1">
            <a:spLocks/>
          </p:cNvSpPr>
          <p:nvPr userDrawn="1"/>
        </p:nvSpPr>
        <p:spPr>
          <a:xfrm>
            <a:off x="10445185"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278142648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3_3 N Purple blue">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81E104F6-2E1E-CFDD-A69D-C115384F159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0E27FD93-255E-C585-12C2-E99681C9BE5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1201"/>
            <a:ext cx="6859200" cy="6859200"/>
          </a:xfrm>
          <a:prstGeom prst="rect">
            <a:avLst/>
          </a:prstGeom>
        </p:spPr>
      </p:pic>
      <p:grpSp>
        <p:nvGrpSpPr>
          <p:cNvPr id="7" name="Graphic 3">
            <a:extLst>
              <a:ext uri="{FF2B5EF4-FFF2-40B4-BE49-F238E27FC236}">
                <a16:creationId xmlns:a16="http://schemas.microsoft.com/office/drawing/2014/main" id="{AC803887-2AFC-DF73-DE60-1BE27DDE158C}"/>
              </a:ext>
            </a:extLst>
          </p:cNvPr>
          <p:cNvGrpSpPr/>
          <p:nvPr userDrawn="1"/>
        </p:nvGrpSpPr>
        <p:grpSpPr>
          <a:xfrm>
            <a:off x="1649972" y="5976901"/>
            <a:ext cx="1817989" cy="409417"/>
            <a:chOff x="469958" y="1647414"/>
            <a:chExt cx="8205029" cy="1847802"/>
          </a:xfrm>
          <a:solidFill>
            <a:schemeClr val="bg1"/>
          </a:solidFill>
        </p:grpSpPr>
        <p:sp>
          <p:nvSpPr>
            <p:cNvPr id="8" name="Freeform 33">
              <a:extLst>
                <a:ext uri="{FF2B5EF4-FFF2-40B4-BE49-F238E27FC236}">
                  <a16:creationId xmlns:a16="http://schemas.microsoft.com/office/drawing/2014/main" id="{FB007C44-CA5E-747F-537B-FA8B422F6EF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4">
              <a:extLst>
                <a:ext uri="{FF2B5EF4-FFF2-40B4-BE49-F238E27FC236}">
                  <a16:creationId xmlns:a16="http://schemas.microsoft.com/office/drawing/2014/main" id="{ACD5E94E-82F7-2222-8DA7-BF2F4217D47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3" name="Freeform 35">
              <a:extLst>
                <a:ext uri="{FF2B5EF4-FFF2-40B4-BE49-F238E27FC236}">
                  <a16:creationId xmlns:a16="http://schemas.microsoft.com/office/drawing/2014/main" id="{3422F086-3538-B59C-A13B-E07C6B18072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6">
              <a:extLst>
                <a:ext uri="{FF2B5EF4-FFF2-40B4-BE49-F238E27FC236}">
                  <a16:creationId xmlns:a16="http://schemas.microsoft.com/office/drawing/2014/main" id="{64270631-5CE7-99C0-6E82-FDECFC1D363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7">
              <a:extLst>
                <a:ext uri="{FF2B5EF4-FFF2-40B4-BE49-F238E27FC236}">
                  <a16:creationId xmlns:a16="http://schemas.microsoft.com/office/drawing/2014/main" id="{AEC4CD95-FA07-887B-3375-C4368A44AF15}"/>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6" name="TextBox 5">
            <a:extLst>
              <a:ext uri="{FF2B5EF4-FFF2-40B4-BE49-F238E27FC236}">
                <a16:creationId xmlns:a16="http://schemas.microsoft.com/office/drawing/2014/main" id="{1AA40532-F231-EBBB-A8D3-3657B33CB9DA}"/>
              </a:ext>
            </a:extLst>
          </p:cNvPr>
          <p:cNvSpPr txBox="1"/>
          <p:nvPr userDrawn="1"/>
        </p:nvSpPr>
        <p:spPr>
          <a:xfrm>
            <a:off x="10793089"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B509789C-1FE5-7B11-DD63-34E6F72F670E}"/>
              </a:ext>
            </a:extLst>
          </p:cNvPr>
          <p:cNvSpPr txBox="1">
            <a:spLocks/>
          </p:cNvSpPr>
          <p:nvPr userDrawn="1"/>
        </p:nvSpPr>
        <p:spPr>
          <a:xfrm>
            <a:off x="10445185"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7" name="Title 4">
            <a:extLst>
              <a:ext uri="{FF2B5EF4-FFF2-40B4-BE49-F238E27FC236}">
                <a16:creationId xmlns:a16="http://schemas.microsoft.com/office/drawing/2014/main" id="{A1D3EB5E-6B70-AA5A-4340-53F0E0A0646D}"/>
              </a:ext>
            </a:extLst>
          </p:cNvPr>
          <p:cNvSpPr>
            <a:spLocks noGrp="1"/>
          </p:cNvSpPr>
          <p:nvPr>
            <p:ph type="title" hasCustomPrompt="1"/>
          </p:nvPr>
        </p:nvSpPr>
        <p:spPr>
          <a:xfrm>
            <a:off x="5107197" y="959734"/>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8" name="Text Placeholder 3">
            <a:extLst>
              <a:ext uri="{FF2B5EF4-FFF2-40B4-BE49-F238E27FC236}">
                <a16:creationId xmlns:a16="http://schemas.microsoft.com/office/drawing/2014/main" id="{0AF9AF4C-BE87-2184-CAE5-F141A4F930B6}"/>
              </a:ext>
            </a:extLst>
          </p:cNvPr>
          <p:cNvSpPr>
            <a:spLocks noGrp="1"/>
          </p:cNvSpPr>
          <p:nvPr>
            <p:ph type="body" sz="quarter" idx="12" hasCustomPrompt="1"/>
          </p:nvPr>
        </p:nvSpPr>
        <p:spPr>
          <a:xfrm>
            <a:off x="5107199" y="2834800"/>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128991333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3_3 N Pink">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C7D16BB-9265-7D3A-E136-8F028A9F86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0" name="Graphic 19">
            <a:extLst>
              <a:ext uri="{FF2B5EF4-FFF2-40B4-BE49-F238E27FC236}">
                <a16:creationId xmlns:a16="http://schemas.microsoft.com/office/drawing/2014/main" id="{A7536232-7B28-DCFA-37A3-EEBA7365A53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6859200" cy="6859200"/>
          </a:xfrm>
          <a:prstGeom prst="rect">
            <a:avLst/>
          </a:prstGeom>
        </p:spPr>
      </p:pic>
      <p:grpSp>
        <p:nvGrpSpPr>
          <p:cNvPr id="12" name="Graphic 3">
            <a:extLst>
              <a:ext uri="{FF2B5EF4-FFF2-40B4-BE49-F238E27FC236}">
                <a16:creationId xmlns:a16="http://schemas.microsoft.com/office/drawing/2014/main" id="{BBCFFB55-AEE0-B60F-9245-9C27632712D3}"/>
              </a:ext>
            </a:extLst>
          </p:cNvPr>
          <p:cNvGrpSpPr/>
          <p:nvPr userDrawn="1"/>
        </p:nvGrpSpPr>
        <p:grpSpPr>
          <a:xfrm>
            <a:off x="1649972" y="5976901"/>
            <a:ext cx="1817989" cy="409417"/>
            <a:chOff x="469958" y="1647414"/>
            <a:chExt cx="8205029" cy="1847802"/>
          </a:xfrm>
          <a:solidFill>
            <a:schemeClr val="bg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18" name="TextBox 17">
            <a:extLst>
              <a:ext uri="{FF2B5EF4-FFF2-40B4-BE49-F238E27FC236}">
                <a16:creationId xmlns:a16="http://schemas.microsoft.com/office/drawing/2014/main" id="{B3045E81-706E-BB14-3DDB-AC56D9F33518}"/>
              </a:ext>
            </a:extLst>
          </p:cNvPr>
          <p:cNvSpPr txBox="1"/>
          <p:nvPr userDrawn="1"/>
        </p:nvSpPr>
        <p:spPr>
          <a:xfrm>
            <a:off x="10793089"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B1E5D1B-6D7F-C600-7828-022D4F5709B7}"/>
              </a:ext>
            </a:extLst>
          </p:cNvPr>
          <p:cNvSpPr txBox="1">
            <a:spLocks/>
          </p:cNvSpPr>
          <p:nvPr userDrawn="1"/>
        </p:nvSpPr>
        <p:spPr>
          <a:xfrm>
            <a:off x="10445185"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Title 4">
            <a:extLst>
              <a:ext uri="{FF2B5EF4-FFF2-40B4-BE49-F238E27FC236}">
                <a16:creationId xmlns:a16="http://schemas.microsoft.com/office/drawing/2014/main" id="{F0180981-7B7F-4D9A-87AD-960857227942}"/>
              </a:ext>
            </a:extLst>
          </p:cNvPr>
          <p:cNvSpPr>
            <a:spLocks noGrp="1"/>
          </p:cNvSpPr>
          <p:nvPr>
            <p:ph type="title" hasCustomPrompt="1"/>
          </p:nvPr>
        </p:nvSpPr>
        <p:spPr>
          <a:xfrm>
            <a:off x="5107197" y="959734"/>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22" name="Text Placeholder 3">
            <a:extLst>
              <a:ext uri="{FF2B5EF4-FFF2-40B4-BE49-F238E27FC236}">
                <a16:creationId xmlns:a16="http://schemas.microsoft.com/office/drawing/2014/main" id="{5C555545-3487-5A2F-B887-81AE17C8067F}"/>
              </a:ext>
            </a:extLst>
          </p:cNvPr>
          <p:cNvSpPr>
            <a:spLocks noGrp="1"/>
          </p:cNvSpPr>
          <p:nvPr>
            <p:ph type="body" sz="quarter" idx="12" hasCustomPrompt="1"/>
          </p:nvPr>
        </p:nvSpPr>
        <p:spPr>
          <a:xfrm>
            <a:off x="5107199" y="2834800"/>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42852615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3 N White">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674FB718-4590-313D-1532-FE817A22ACB4}"/>
              </a:ext>
            </a:extLst>
          </p:cNvPr>
          <p:cNvSpPr/>
          <p:nvPr/>
        </p:nvSpPr>
        <p:spPr>
          <a:xfrm>
            <a:off x="0" y="0"/>
            <a:ext cx="6859200" cy="6859200"/>
          </a:xfrm>
          <a:custGeom>
            <a:avLst/>
            <a:gdLst>
              <a:gd name="connsiteX0" fmla="*/ 0 w 5144400"/>
              <a:gd name="connsiteY0" fmla="*/ 0 h 5144400"/>
              <a:gd name="connsiteX1" fmla="*/ 5144400 w 5144400"/>
              <a:gd name="connsiteY1" fmla="*/ 0 h 5144400"/>
              <a:gd name="connsiteX2" fmla="*/ 5144400 w 5144400"/>
              <a:gd name="connsiteY2" fmla="*/ 5144400 h 5144400"/>
              <a:gd name="connsiteX3" fmla="*/ 0 w 5144400"/>
              <a:gd name="connsiteY3" fmla="*/ 5144400 h 5144400"/>
            </a:gdLst>
            <a:ahLst/>
            <a:cxnLst>
              <a:cxn ang="0">
                <a:pos x="connsiteX0" y="connsiteY0"/>
              </a:cxn>
              <a:cxn ang="0">
                <a:pos x="connsiteX1" y="connsiteY1"/>
              </a:cxn>
              <a:cxn ang="0">
                <a:pos x="connsiteX2" y="connsiteY2"/>
              </a:cxn>
              <a:cxn ang="0">
                <a:pos x="connsiteX3" y="connsiteY3"/>
              </a:cxn>
            </a:cxnLst>
            <a:rect l="l" t="t" r="r" b="b"/>
            <a:pathLst>
              <a:path w="5144400" h="5144400">
                <a:moveTo>
                  <a:pt x="0" y="0"/>
                </a:moveTo>
                <a:lnTo>
                  <a:pt x="5144400" y="0"/>
                </a:lnTo>
                <a:lnTo>
                  <a:pt x="5144400" y="5144400"/>
                </a:lnTo>
                <a:lnTo>
                  <a:pt x="0" y="5144400"/>
                </a:lnTo>
                <a:close/>
              </a:path>
            </a:pathLst>
          </a:custGeom>
          <a:noFill/>
          <a:ln w="26789" cap="flat">
            <a:noFill/>
            <a:prstDash val="solid"/>
            <a:miter/>
          </a:ln>
        </p:spPr>
        <p:txBody>
          <a:bodyPr rtlCol="0" anchor="ctr"/>
          <a:lstStyle/>
          <a:p>
            <a:endParaRPr lang="en-US" sz="2400"/>
          </a:p>
        </p:txBody>
      </p:sp>
      <p:sp>
        <p:nvSpPr>
          <p:cNvPr id="5" name="Freeform: Shape 4">
            <a:extLst>
              <a:ext uri="{FF2B5EF4-FFF2-40B4-BE49-F238E27FC236}">
                <a16:creationId xmlns:a16="http://schemas.microsoft.com/office/drawing/2014/main" id="{6585F427-7AA2-BA79-9FAB-3B20B348D66A}"/>
              </a:ext>
            </a:extLst>
          </p:cNvPr>
          <p:cNvSpPr/>
          <p:nvPr/>
        </p:nvSpPr>
        <p:spPr>
          <a:xfrm>
            <a:off x="0" y="-1200"/>
            <a:ext cx="6859200" cy="6859200"/>
          </a:xfrm>
          <a:custGeom>
            <a:avLst/>
            <a:gdLst>
              <a:gd name="connsiteX0" fmla="*/ 0 w 5144400"/>
              <a:gd name="connsiteY0" fmla="*/ 0 h 5144400"/>
              <a:gd name="connsiteX1" fmla="*/ 0 w 5144400"/>
              <a:gd name="connsiteY1" fmla="*/ 5144400 h 5144400"/>
              <a:gd name="connsiteX2" fmla="*/ 794971 w 5144400"/>
              <a:gd name="connsiteY2" fmla="*/ 5144400 h 5144400"/>
              <a:gd name="connsiteX3" fmla="*/ 794971 w 5144400"/>
              <a:gd name="connsiteY3" fmla="*/ 1741594 h 5144400"/>
              <a:gd name="connsiteX4" fmla="*/ 5144400 w 5144400"/>
              <a:gd name="connsiteY4" fmla="*/ 5144400 h 5144400"/>
              <a:gd name="connsiteX5" fmla="*/ 5144400 w 5144400"/>
              <a:gd name="connsiteY5" fmla="*/ 4142850 h 5144400"/>
              <a:gd name="connsiteX6" fmla="*/ 0 w 5144400"/>
              <a:gd name="connsiteY6" fmla="*/ 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4400" h="5144400">
                <a:moveTo>
                  <a:pt x="0" y="0"/>
                </a:moveTo>
                <a:lnTo>
                  <a:pt x="0" y="5144400"/>
                </a:lnTo>
                <a:cubicBezTo>
                  <a:pt x="0" y="5144400"/>
                  <a:pt x="794971" y="5144400"/>
                  <a:pt x="794971" y="5144400"/>
                </a:cubicBezTo>
                <a:lnTo>
                  <a:pt x="794971" y="1741594"/>
                </a:lnTo>
                <a:cubicBezTo>
                  <a:pt x="794971" y="1741594"/>
                  <a:pt x="5144400" y="5144400"/>
                  <a:pt x="5144400" y="5144400"/>
                </a:cubicBezTo>
                <a:lnTo>
                  <a:pt x="5144400" y="4142850"/>
                </a:lnTo>
                <a:lnTo>
                  <a:pt x="0" y="0"/>
                </a:lnTo>
                <a:close/>
              </a:path>
            </a:pathLst>
          </a:custGeom>
          <a:solidFill>
            <a:schemeClr val="accent1"/>
          </a:solidFill>
          <a:ln w="26789" cap="flat">
            <a:noFill/>
            <a:prstDash val="solid"/>
            <a:miter/>
          </a:ln>
        </p:spPr>
        <p:txBody>
          <a:bodyPr rtlCol="0" anchor="ctr"/>
          <a:lstStyle/>
          <a:p>
            <a:endParaRPr lang="en-US" sz="2400"/>
          </a:p>
        </p:txBody>
      </p:sp>
      <p:grpSp>
        <p:nvGrpSpPr>
          <p:cNvPr id="12" name="Graphic 3">
            <a:extLst>
              <a:ext uri="{FF2B5EF4-FFF2-40B4-BE49-F238E27FC236}">
                <a16:creationId xmlns:a16="http://schemas.microsoft.com/office/drawing/2014/main" id="{BBCFFB55-AEE0-B60F-9245-9C27632712D3}"/>
              </a:ext>
            </a:extLst>
          </p:cNvPr>
          <p:cNvGrpSpPr/>
          <p:nvPr userDrawn="1"/>
        </p:nvGrpSpPr>
        <p:grpSpPr>
          <a:xfrm>
            <a:off x="1649972" y="5976901"/>
            <a:ext cx="1817989" cy="409417"/>
            <a:chOff x="469958" y="1647414"/>
            <a:chExt cx="8205029" cy="1847802"/>
          </a:xfrm>
          <a:solidFill>
            <a:schemeClr val="accent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19" name="TextBox 18">
            <a:extLst>
              <a:ext uri="{FF2B5EF4-FFF2-40B4-BE49-F238E27FC236}">
                <a16:creationId xmlns:a16="http://schemas.microsoft.com/office/drawing/2014/main" id="{41F7AE0E-D196-9918-5EDB-E9F6D1F5BFCD}"/>
              </a:ext>
            </a:extLst>
          </p:cNvPr>
          <p:cNvSpPr txBox="1"/>
          <p:nvPr userDrawn="1"/>
        </p:nvSpPr>
        <p:spPr>
          <a:xfrm>
            <a:off x="10793089"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0" name="Slide Number Placeholder 5">
            <a:extLst>
              <a:ext uri="{FF2B5EF4-FFF2-40B4-BE49-F238E27FC236}">
                <a16:creationId xmlns:a16="http://schemas.microsoft.com/office/drawing/2014/main" id="{CE77B206-49F7-2B3D-46F6-5783EB06549D}"/>
              </a:ext>
            </a:extLst>
          </p:cNvPr>
          <p:cNvSpPr txBox="1">
            <a:spLocks/>
          </p:cNvSpPr>
          <p:nvPr userDrawn="1"/>
        </p:nvSpPr>
        <p:spPr>
          <a:xfrm>
            <a:off x="10445185"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Title 4">
            <a:extLst>
              <a:ext uri="{FF2B5EF4-FFF2-40B4-BE49-F238E27FC236}">
                <a16:creationId xmlns:a16="http://schemas.microsoft.com/office/drawing/2014/main" id="{D3CDCE65-9D09-8014-E0D4-FA37C5A40921}"/>
              </a:ext>
            </a:extLst>
          </p:cNvPr>
          <p:cNvSpPr>
            <a:spLocks noGrp="1"/>
          </p:cNvSpPr>
          <p:nvPr>
            <p:ph type="title" hasCustomPrompt="1"/>
          </p:nvPr>
        </p:nvSpPr>
        <p:spPr>
          <a:xfrm>
            <a:off x="5107197" y="959734"/>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22" name="Text Placeholder 3">
            <a:extLst>
              <a:ext uri="{FF2B5EF4-FFF2-40B4-BE49-F238E27FC236}">
                <a16:creationId xmlns:a16="http://schemas.microsoft.com/office/drawing/2014/main" id="{450AD0AE-26A9-7041-BAC9-7726260DC45A}"/>
              </a:ext>
            </a:extLst>
          </p:cNvPr>
          <p:cNvSpPr>
            <a:spLocks noGrp="1"/>
          </p:cNvSpPr>
          <p:nvPr>
            <p:ph type="body" sz="quarter" idx="12" hasCustomPrompt="1"/>
          </p:nvPr>
        </p:nvSpPr>
        <p:spPr>
          <a:xfrm>
            <a:off x="5107199" y="2834800"/>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9727722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8 Numbered text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556800" y="1680000"/>
            <a:ext cx="11078400" cy="4158640"/>
          </a:xfrm>
          <a:prstGeom prst="rect">
            <a:avLst/>
          </a:prstGeom>
        </p:spPr>
        <p:txBody>
          <a:bodyPr lIns="0" tIns="0" rIns="0" bIns="0"/>
          <a:lstStyle>
            <a:lvl1pPr marL="304792" indent="-304792">
              <a:lnSpc>
                <a:spcPct val="100000"/>
              </a:lnSpc>
              <a:spcBef>
                <a:spcPts val="0"/>
              </a:spcBef>
              <a:spcAft>
                <a:spcPts val="800"/>
              </a:spcAft>
              <a:buFont typeface="+mj-lt"/>
              <a:buAutoNum type="arabicPeriod"/>
              <a:defRPr sz="1600">
                <a:solidFill>
                  <a:schemeClr val="bg1"/>
                </a:solidFill>
              </a:defRPr>
            </a:lvl1pPr>
            <a:lvl2pPr marL="544786" indent="-304792">
              <a:lnSpc>
                <a:spcPct val="100000"/>
              </a:lnSpc>
              <a:spcBef>
                <a:spcPts val="0"/>
              </a:spcBef>
              <a:spcAft>
                <a:spcPts val="800"/>
              </a:spcAft>
              <a:buFont typeface="+mj-lt"/>
              <a:buAutoNum type="arabicPeriod" startAt="2"/>
              <a:defRPr sz="1600">
                <a:solidFill>
                  <a:schemeClr val="bg1"/>
                </a:solidFill>
              </a:defRPr>
            </a:lvl2pPr>
            <a:lvl3pPr marL="784780" indent="-304792">
              <a:lnSpc>
                <a:spcPct val="100000"/>
              </a:lnSpc>
              <a:spcBef>
                <a:spcPts val="0"/>
              </a:spcBef>
              <a:spcAft>
                <a:spcPts val="800"/>
              </a:spcAft>
              <a:buFont typeface="+mj-lt"/>
              <a:buAutoNum type="arabicPeriod" startAt="3"/>
              <a:defRPr sz="1600">
                <a:solidFill>
                  <a:schemeClr val="bg1"/>
                </a:solidFill>
              </a:defRPr>
            </a:lvl3pPr>
            <a:lvl4pPr marL="1024774" indent="-304792">
              <a:lnSpc>
                <a:spcPct val="100000"/>
              </a:lnSpc>
              <a:spcBef>
                <a:spcPts val="0"/>
              </a:spcBef>
              <a:spcAft>
                <a:spcPts val="800"/>
              </a:spcAft>
              <a:buFont typeface="+mj-lt"/>
              <a:buAutoNum type="arabicPeriod" startAt="4"/>
              <a:defRPr sz="1600">
                <a:solidFill>
                  <a:schemeClr val="bg1"/>
                </a:solidFill>
              </a:defRPr>
            </a:lvl4pPr>
            <a:lvl5pPr marL="1276168" indent="-304792">
              <a:lnSpc>
                <a:spcPct val="100000"/>
              </a:lnSpc>
              <a:spcBef>
                <a:spcPts val="0"/>
              </a:spcBef>
              <a:spcAft>
                <a:spcPts val="800"/>
              </a:spcAft>
              <a:buFont typeface="+mj-lt"/>
              <a:buAutoNum type="arabicPeriod" startAt="5"/>
              <a:defRPr sz="1600">
                <a:solidFill>
                  <a:schemeClr val="bg1"/>
                </a:solidFill>
              </a:defRPr>
            </a:lvl5pPr>
          </a:lstStyle>
          <a:p>
            <a:pPr lvl="0"/>
            <a:r>
              <a:rPr lang="en-US"/>
              <a:t>Text here</a:t>
            </a:r>
          </a:p>
          <a:p>
            <a:pPr lvl="1"/>
            <a:r>
              <a:rPr lang="en-US"/>
              <a:t>Text here</a:t>
            </a:r>
          </a:p>
          <a:p>
            <a:pPr lvl="2"/>
            <a:r>
              <a:rPr lang="en-US"/>
              <a:t>Text here</a:t>
            </a:r>
          </a:p>
          <a:p>
            <a:pPr lvl="3"/>
            <a:r>
              <a:rPr lang="en-US"/>
              <a:t>Text here</a:t>
            </a:r>
          </a:p>
          <a:p>
            <a:pPr marL="1276168" marR="0" lvl="4" indent="-304792" algn="l" defTabSz="914377" rtl="0" eaLnBrk="1" fontAlgn="auto" latinLnBrk="0" hangingPunct="1">
              <a:lnSpc>
                <a:spcPct val="100000"/>
              </a:lnSpc>
              <a:spcBef>
                <a:spcPts val="0"/>
              </a:spcBef>
              <a:spcAft>
                <a:spcPts val="400"/>
              </a:spcAft>
              <a:buClrTx/>
              <a:buSzTx/>
              <a:tabLst/>
              <a:defRPr/>
            </a:pPr>
            <a:r>
              <a:rPr lang="en-US"/>
              <a:t>Text here</a:t>
            </a:r>
          </a:p>
        </p:txBody>
      </p:sp>
      <p:pic>
        <p:nvPicPr>
          <p:cNvPr id="2" name="Graphic 1">
            <a:extLst>
              <a:ext uri="{FF2B5EF4-FFF2-40B4-BE49-F238E27FC236}">
                <a16:creationId xmlns:a16="http://schemas.microsoft.com/office/drawing/2014/main" id="{B2827D84-480B-22A7-4B2A-BFD3AB9191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8A8B0B3F-161E-8508-3B23-007FE1624352}"/>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99F8CB66-4F0D-7F21-56F6-56AAA5C02227}"/>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8A760B86-74B6-48A3-CE6D-96096653BF7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DD20D035-9F8D-A232-B41B-0EC79F1159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4068048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_3 O Blue green">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8A7CBB0-A767-7247-8638-81BC366967B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7BBDEA00-FE7A-639E-C16F-BC5E3DBD8FD3}"/>
              </a:ext>
            </a:extLst>
          </p:cNvPr>
          <p:cNvGrpSpPr/>
          <p:nvPr userDrawn="1"/>
        </p:nvGrpSpPr>
        <p:grpSpPr>
          <a:xfrm>
            <a:off x="9308199" y="3224293"/>
            <a:ext cx="1817989" cy="409417"/>
            <a:chOff x="469958" y="1647414"/>
            <a:chExt cx="8205029" cy="1847802"/>
          </a:xfrm>
          <a:solidFill>
            <a:schemeClr val="bg1"/>
          </a:solidFill>
        </p:grpSpPr>
        <p:sp>
          <p:nvSpPr>
            <p:cNvPr id="4" name="Freeform 24">
              <a:extLst>
                <a:ext uri="{FF2B5EF4-FFF2-40B4-BE49-F238E27FC236}">
                  <a16:creationId xmlns:a16="http://schemas.microsoft.com/office/drawing/2014/main" id="{0B5F76F9-295B-59E5-BDCF-8B6840E5B5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25">
              <a:extLst>
                <a:ext uri="{FF2B5EF4-FFF2-40B4-BE49-F238E27FC236}">
                  <a16:creationId xmlns:a16="http://schemas.microsoft.com/office/drawing/2014/main" id="{B473941B-CE77-6414-782E-B5933651166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26">
              <a:extLst>
                <a:ext uri="{FF2B5EF4-FFF2-40B4-BE49-F238E27FC236}">
                  <a16:creationId xmlns:a16="http://schemas.microsoft.com/office/drawing/2014/main" id="{03FCE4B1-384C-92A9-F114-45634B67A11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8" name="Freeform 27">
              <a:extLst>
                <a:ext uri="{FF2B5EF4-FFF2-40B4-BE49-F238E27FC236}">
                  <a16:creationId xmlns:a16="http://schemas.microsoft.com/office/drawing/2014/main" id="{16718376-BEBA-6EC2-B9BA-05AEA785303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2" name="Freeform 28">
              <a:extLst>
                <a:ext uri="{FF2B5EF4-FFF2-40B4-BE49-F238E27FC236}">
                  <a16:creationId xmlns:a16="http://schemas.microsoft.com/office/drawing/2014/main" id="{55E96EEC-F984-9065-5EAC-AF9297B31DF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3" name="Graphic 12">
            <a:extLst>
              <a:ext uri="{FF2B5EF4-FFF2-40B4-BE49-F238E27FC236}">
                <a16:creationId xmlns:a16="http://schemas.microsoft.com/office/drawing/2014/main" id="{8CEF710E-39E1-082B-B52C-E37B4EEF550E}"/>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2" y="-6395"/>
            <a:ext cx="5356300" cy="6859200"/>
          </a:xfrm>
          <a:prstGeom prst="rect">
            <a:avLst/>
          </a:prstGeom>
        </p:spPr>
      </p:pic>
      <p:sp>
        <p:nvSpPr>
          <p:cNvPr id="9" name="Title 4">
            <a:extLst>
              <a:ext uri="{FF2B5EF4-FFF2-40B4-BE49-F238E27FC236}">
                <a16:creationId xmlns:a16="http://schemas.microsoft.com/office/drawing/2014/main" id="{9A3B12B3-A799-7EB4-75DA-BC0A7D70161D}"/>
              </a:ext>
            </a:extLst>
          </p:cNvPr>
          <p:cNvSpPr>
            <a:spLocks noGrp="1"/>
          </p:cNvSpPr>
          <p:nvPr>
            <p:ph type="title" hasCustomPrompt="1"/>
          </p:nvPr>
        </p:nvSpPr>
        <p:spPr>
          <a:xfrm>
            <a:off x="556708" y="1200002"/>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0" name="Text Placeholder 3">
            <a:extLst>
              <a:ext uri="{FF2B5EF4-FFF2-40B4-BE49-F238E27FC236}">
                <a16:creationId xmlns:a16="http://schemas.microsoft.com/office/drawing/2014/main" id="{BEDD8338-5A64-469A-E2DB-DF91FC185624}"/>
              </a:ext>
            </a:extLst>
          </p:cNvPr>
          <p:cNvSpPr>
            <a:spLocks noGrp="1"/>
          </p:cNvSpPr>
          <p:nvPr>
            <p:ph type="body" sz="quarter" idx="12" hasCustomPrompt="1"/>
          </p:nvPr>
        </p:nvSpPr>
        <p:spPr>
          <a:xfrm>
            <a:off x="556709" y="3120002"/>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8" name="TextBox 17">
            <a:extLst>
              <a:ext uri="{FF2B5EF4-FFF2-40B4-BE49-F238E27FC236}">
                <a16:creationId xmlns:a16="http://schemas.microsoft.com/office/drawing/2014/main" id="{8BB79C81-C7D6-4DE3-0A04-D7E02DD8C66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A910EA0-FECD-D7DE-120C-8BC301ED58FF}"/>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95683030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3 O Blue pink">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6" name="Graphic 3">
            <a:extLst>
              <a:ext uri="{FF2B5EF4-FFF2-40B4-BE49-F238E27FC236}">
                <a16:creationId xmlns:a16="http://schemas.microsoft.com/office/drawing/2014/main" id="{7ADBC276-24FC-31B1-198D-D0A0EB5188BB}"/>
              </a:ext>
            </a:extLst>
          </p:cNvPr>
          <p:cNvGrpSpPr/>
          <p:nvPr userDrawn="1"/>
        </p:nvGrpSpPr>
        <p:grpSpPr>
          <a:xfrm>
            <a:off x="9308199" y="3224293"/>
            <a:ext cx="1817989" cy="409417"/>
            <a:chOff x="469958" y="1647414"/>
            <a:chExt cx="8205029" cy="1847802"/>
          </a:xfrm>
          <a:solidFill>
            <a:schemeClr val="bg1"/>
          </a:solidFill>
        </p:grpSpPr>
        <p:sp>
          <p:nvSpPr>
            <p:cNvPr id="7" name="Freeform 24">
              <a:extLst>
                <a:ext uri="{FF2B5EF4-FFF2-40B4-BE49-F238E27FC236}">
                  <a16:creationId xmlns:a16="http://schemas.microsoft.com/office/drawing/2014/main" id="{CDDE8834-7F71-A488-29A8-540395324479}"/>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8" name="Freeform 25">
              <a:extLst>
                <a:ext uri="{FF2B5EF4-FFF2-40B4-BE49-F238E27FC236}">
                  <a16:creationId xmlns:a16="http://schemas.microsoft.com/office/drawing/2014/main" id="{FEFA04F6-2C3F-3E38-9E08-D6990D946A8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9" name="Freeform 26">
              <a:extLst>
                <a:ext uri="{FF2B5EF4-FFF2-40B4-BE49-F238E27FC236}">
                  <a16:creationId xmlns:a16="http://schemas.microsoft.com/office/drawing/2014/main" id="{54253727-9053-862A-19CB-32DD1616812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12" name="Freeform 27">
              <a:extLst>
                <a:ext uri="{FF2B5EF4-FFF2-40B4-BE49-F238E27FC236}">
                  <a16:creationId xmlns:a16="http://schemas.microsoft.com/office/drawing/2014/main" id="{6E5204B2-3785-90DB-45F2-F73CC497595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3" name="Freeform 28">
              <a:extLst>
                <a:ext uri="{FF2B5EF4-FFF2-40B4-BE49-F238E27FC236}">
                  <a16:creationId xmlns:a16="http://schemas.microsoft.com/office/drawing/2014/main" id="{95BC05DD-4D63-F05A-843F-EE491020FFD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4" name="Graphic 13">
            <a:extLst>
              <a:ext uri="{FF2B5EF4-FFF2-40B4-BE49-F238E27FC236}">
                <a16:creationId xmlns:a16="http://schemas.microsoft.com/office/drawing/2014/main" id="{F41E3DBD-A4E2-6EF5-8073-EED87395D745}"/>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2" y="-6395"/>
            <a:ext cx="5356300" cy="6859200"/>
          </a:xfrm>
          <a:prstGeom prst="rect">
            <a:avLst/>
          </a:prstGeom>
        </p:spPr>
      </p:pic>
      <p:sp>
        <p:nvSpPr>
          <p:cNvPr id="11" name="TextBox 10">
            <a:extLst>
              <a:ext uri="{FF2B5EF4-FFF2-40B4-BE49-F238E27FC236}">
                <a16:creationId xmlns:a16="http://schemas.microsoft.com/office/drawing/2014/main" id="{79647D8A-35E4-5375-137D-AE3FBB59F9F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17E9E3A5-43FE-813E-B36E-00A287E16B3E}"/>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Title 4">
            <a:extLst>
              <a:ext uri="{FF2B5EF4-FFF2-40B4-BE49-F238E27FC236}">
                <a16:creationId xmlns:a16="http://schemas.microsoft.com/office/drawing/2014/main" id="{CA265AEB-E893-7C5A-2089-F8668DD28ED9}"/>
              </a:ext>
            </a:extLst>
          </p:cNvPr>
          <p:cNvSpPr>
            <a:spLocks noGrp="1"/>
          </p:cNvSpPr>
          <p:nvPr>
            <p:ph type="title" hasCustomPrompt="1"/>
          </p:nvPr>
        </p:nvSpPr>
        <p:spPr>
          <a:xfrm>
            <a:off x="556708" y="1200002"/>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9" name="Text Placeholder 3">
            <a:extLst>
              <a:ext uri="{FF2B5EF4-FFF2-40B4-BE49-F238E27FC236}">
                <a16:creationId xmlns:a16="http://schemas.microsoft.com/office/drawing/2014/main" id="{89A21839-5A3E-48C8-8C8A-66E6CF919C97}"/>
              </a:ext>
            </a:extLst>
          </p:cNvPr>
          <p:cNvSpPr>
            <a:spLocks noGrp="1"/>
          </p:cNvSpPr>
          <p:nvPr>
            <p:ph type="body" sz="quarter" idx="12" hasCustomPrompt="1"/>
          </p:nvPr>
        </p:nvSpPr>
        <p:spPr>
          <a:xfrm>
            <a:off x="556709" y="3120002"/>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10316917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_3 O Blue green 2">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9308199" y="3224293"/>
            <a:ext cx="1817989" cy="409417"/>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2" y="-6395"/>
            <a:ext cx="5356300" cy="6859200"/>
          </a:xfrm>
          <a:prstGeom prst="rect">
            <a:avLst/>
          </a:prstGeom>
        </p:spPr>
      </p:pic>
      <p:sp>
        <p:nvSpPr>
          <p:cNvPr id="4" name="TextBox 3">
            <a:extLst>
              <a:ext uri="{FF2B5EF4-FFF2-40B4-BE49-F238E27FC236}">
                <a16:creationId xmlns:a16="http://schemas.microsoft.com/office/drawing/2014/main" id="{5054EB9F-8927-A3FE-8B84-2A5DA2E7EB1F}"/>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E1049C86-481E-BCA9-382A-A561EA22CA19}"/>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6" name="Title 4">
            <a:extLst>
              <a:ext uri="{FF2B5EF4-FFF2-40B4-BE49-F238E27FC236}">
                <a16:creationId xmlns:a16="http://schemas.microsoft.com/office/drawing/2014/main" id="{D06AC820-889D-342D-C4F1-65579046FEB3}"/>
              </a:ext>
            </a:extLst>
          </p:cNvPr>
          <p:cNvSpPr>
            <a:spLocks noGrp="1"/>
          </p:cNvSpPr>
          <p:nvPr>
            <p:ph type="title" hasCustomPrompt="1"/>
          </p:nvPr>
        </p:nvSpPr>
        <p:spPr>
          <a:xfrm>
            <a:off x="556708" y="1200002"/>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0" name="Text Placeholder 3">
            <a:extLst>
              <a:ext uri="{FF2B5EF4-FFF2-40B4-BE49-F238E27FC236}">
                <a16:creationId xmlns:a16="http://schemas.microsoft.com/office/drawing/2014/main" id="{38C0E4A4-2F9E-C493-382A-9CBF0ED8AD5E}"/>
              </a:ext>
            </a:extLst>
          </p:cNvPr>
          <p:cNvSpPr>
            <a:spLocks noGrp="1"/>
          </p:cNvSpPr>
          <p:nvPr>
            <p:ph type="body" sz="quarter" idx="12" hasCustomPrompt="1"/>
          </p:nvPr>
        </p:nvSpPr>
        <p:spPr>
          <a:xfrm>
            <a:off x="556709" y="3120002"/>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88939305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3_3 O Blue green">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8A7CBB0-A767-7247-8638-81BC366967B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7BBDEA00-FE7A-639E-C16F-BC5E3DBD8FD3}"/>
              </a:ext>
            </a:extLst>
          </p:cNvPr>
          <p:cNvGrpSpPr/>
          <p:nvPr userDrawn="1"/>
        </p:nvGrpSpPr>
        <p:grpSpPr>
          <a:xfrm>
            <a:off x="9308199" y="3224293"/>
            <a:ext cx="1817989" cy="409417"/>
            <a:chOff x="469958" y="1647414"/>
            <a:chExt cx="8205029" cy="1847802"/>
          </a:xfrm>
          <a:solidFill>
            <a:schemeClr val="bg1"/>
          </a:solidFill>
        </p:grpSpPr>
        <p:sp>
          <p:nvSpPr>
            <p:cNvPr id="4" name="Freeform 24">
              <a:extLst>
                <a:ext uri="{FF2B5EF4-FFF2-40B4-BE49-F238E27FC236}">
                  <a16:creationId xmlns:a16="http://schemas.microsoft.com/office/drawing/2014/main" id="{0B5F76F9-295B-59E5-BDCF-8B6840E5B5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25">
              <a:extLst>
                <a:ext uri="{FF2B5EF4-FFF2-40B4-BE49-F238E27FC236}">
                  <a16:creationId xmlns:a16="http://schemas.microsoft.com/office/drawing/2014/main" id="{B473941B-CE77-6414-782E-B5933651166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26">
              <a:extLst>
                <a:ext uri="{FF2B5EF4-FFF2-40B4-BE49-F238E27FC236}">
                  <a16:creationId xmlns:a16="http://schemas.microsoft.com/office/drawing/2014/main" id="{03FCE4B1-384C-92A9-F114-45634B67A11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8" name="Freeform 27">
              <a:extLst>
                <a:ext uri="{FF2B5EF4-FFF2-40B4-BE49-F238E27FC236}">
                  <a16:creationId xmlns:a16="http://schemas.microsoft.com/office/drawing/2014/main" id="{16718376-BEBA-6EC2-B9BA-05AEA785303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2" name="Freeform 28">
              <a:extLst>
                <a:ext uri="{FF2B5EF4-FFF2-40B4-BE49-F238E27FC236}">
                  <a16:creationId xmlns:a16="http://schemas.microsoft.com/office/drawing/2014/main" id="{55E96EEC-F984-9065-5EAC-AF9297B31DF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3" name="Graphic 12">
            <a:extLst>
              <a:ext uri="{FF2B5EF4-FFF2-40B4-BE49-F238E27FC236}">
                <a16:creationId xmlns:a16="http://schemas.microsoft.com/office/drawing/2014/main" id="{8CEF710E-39E1-082B-B52C-E37B4EEF550E}"/>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2" y="-6395"/>
            <a:ext cx="5356300" cy="6859200"/>
          </a:xfrm>
          <a:prstGeom prst="rect">
            <a:avLst/>
          </a:prstGeom>
        </p:spPr>
      </p:pic>
      <p:sp>
        <p:nvSpPr>
          <p:cNvPr id="9" name="Title 4">
            <a:extLst>
              <a:ext uri="{FF2B5EF4-FFF2-40B4-BE49-F238E27FC236}">
                <a16:creationId xmlns:a16="http://schemas.microsoft.com/office/drawing/2014/main" id="{9A3B12B3-A799-7EB4-75DA-BC0A7D70161D}"/>
              </a:ext>
            </a:extLst>
          </p:cNvPr>
          <p:cNvSpPr>
            <a:spLocks noGrp="1"/>
          </p:cNvSpPr>
          <p:nvPr>
            <p:ph type="title" hasCustomPrompt="1"/>
          </p:nvPr>
        </p:nvSpPr>
        <p:spPr>
          <a:xfrm>
            <a:off x="556708" y="1200002"/>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0" name="Text Placeholder 3">
            <a:extLst>
              <a:ext uri="{FF2B5EF4-FFF2-40B4-BE49-F238E27FC236}">
                <a16:creationId xmlns:a16="http://schemas.microsoft.com/office/drawing/2014/main" id="{BEDD8338-5A64-469A-E2DB-DF91FC185624}"/>
              </a:ext>
            </a:extLst>
          </p:cNvPr>
          <p:cNvSpPr>
            <a:spLocks noGrp="1"/>
          </p:cNvSpPr>
          <p:nvPr>
            <p:ph type="body" sz="quarter" idx="12" hasCustomPrompt="1"/>
          </p:nvPr>
        </p:nvSpPr>
        <p:spPr>
          <a:xfrm>
            <a:off x="556709" y="3120002"/>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8" name="TextBox 17">
            <a:extLst>
              <a:ext uri="{FF2B5EF4-FFF2-40B4-BE49-F238E27FC236}">
                <a16:creationId xmlns:a16="http://schemas.microsoft.com/office/drawing/2014/main" id="{8BB79C81-C7D6-4DE3-0A04-D7E02DD8C66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A910EA0-FECD-D7DE-120C-8BC301ED58FF}"/>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34667177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3_3 O Blue pink">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6" name="Graphic 3">
            <a:extLst>
              <a:ext uri="{FF2B5EF4-FFF2-40B4-BE49-F238E27FC236}">
                <a16:creationId xmlns:a16="http://schemas.microsoft.com/office/drawing/2014/main" id="{7ADBC276-24FC-31B1-198D-D0A0EB5188BB}"/>
              </a:ext>
            </a:extLst>
          </p:cNvPr>
          <p:cNvGrpSpPr/>
          <p:nvPr userDrawn="1"/>
        </p:nvGrpSpPr>
        <p:grpSpPr>
          <a:xfrm>
            <a:off x="9308199" y="3224293"/>
            <a:ext cx="1817989" cy="409417"/>
            <a:chOff x="469958" y="1647414"/>
            <a:chExt cx="8205029" cy="1847802"/>
          </a:xfrm>
          <a:solidFill>
            <a:schemeClr val="bg1"/>
          </a:solidFill>
        </p:grpSpPr>
        <p:sp>
          <p:nvSpPr>
            <p:cNvPr id="7" name="Freeform 24">
              <a:extLst>
                <a:ext uri="{FF2B5EF4-FFF2-40B4-BE49-F238E27FC236}">
                  <a16:creationId xmlns:a16="http://schemas.microsoft.com/office/drawing/2014/main" id="{CDDE8834-7F71-A488-29A8-540395324479}"/>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8" name="Freeform 25">
              <a:extLst>
                <a:ext uri="{FF2B5EF4-FFF2-40B4-BE49-F238E27FC236}">
                  <a16:creationId xmlns:a16="http://schemas.microsoft.com/office/drawing/2014/main" id="{FEFA04F6-2C3F-3E38-9E08-D6990D946A8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9" name="Freeform 26">
              <a:extLst>
                <a:ext uri="{FF2B5EF4-FFF2-40B4-BE49-F238E27FC236}">
                  <a16:creationId xmlns:a16="http://schemas.microsoft.com/office/drawing/2014/main" id="{54253727-9053-862A-19CB-32DD1616812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12" name="Freeform 27">
              <a:extLst>
                <a:ext uri="{FF2B5EF4-FFF2-40B4-BE49-F238E27FC236}">
                  <a16:creationId xmlns:a16="http://schemas.microsoft.com/office/drawing/2014/main" id="{6E5204B2-3785-90DB-45F2-F73CC497595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3" name="Freeform 28">
              <a:extLst>
                <a:ext uri="{FF2B5EF4-FFF2-40B4-BE49-F238E27FC236}">
                  <a16:creationId xmlns:a16="http://schemas.microsoft.com/office/drawing/2014/main" id="{95BC05DD-4D63-F05A-843F-EE491020FFD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4" name="Graphic 13">
            <a:extLst>
              <a:ext uri="{FF2B5EF4-FFF2-40B4-BE49-F238E27FC236}">
                <a16:creationId xmlns:a16="http://schemas.microsoft.com/office/drawing/2014/main" id="{F41E3DBD-A4E2-6EF5-8073-EED87395D745}"/>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2" y="-6395"/>
            <a:ext cx="5356300" cy="6859200"/>
          </a:xfrm>
          <a:prstGeom prst="rect">
            <a:avLst/>
          </a:prstGeom>
        </p:spPr>
      </p:pic>
      <p:sp>
        <p:nvSpPr>
          <p:cNvPr id="11" name="TextBox 10">
            <a:extLst>
              <a:ext uri="{FF2B5EF4-FFF2-40B4-BE49-F238E27FC236}">
                <a16:creationId xmlns:a16="http://schemas.microsoft.com/office/drawing/2014/main" id="{79647D8A-35E4-5375-137D-AE3FBB59F9F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17E9E3A5-43FE-813E-B36E-00A287E16B3E}"/>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Title 4">
            <a:extLst>
              <a:ext uri="{FF2B5EF4-FFF2-40B4-BE49-F238E27FC236}">
                <a16:creationId xmlns:a16="http://schemas.microsoft.com/office/drawing/2014/main" id="{CA265AEB-E893-7C5A-2089-F8668DD28ED9}"/>
              </a:ext>
            </a:extLst>
          </p:cNvPr>
          <p:cNvSpPr>
            <a:spLocks noGrp="1"/>
          </p:cNvSpPr>
          <p:nvPr>
            <p:ph type="title" hasCustomPrompt="1"/>
          </p:nvPr>
        </p:nvSpPr>
        <p:spPr>
          <a:xfrm>
            <a:off x="556708" y="1200002"/>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9" name="Text Placeholder 3">
            <a:extLst>
              <a:ext uri="{FF2B5EF4-FFF2-40B4-BE49-F238E27FC236}">
                <a16:creationId xmlns:a16="http://schemas.microsoft.com/office/drawing/2014/main" id="{89A21839-5A3E-48C8-8C8A-66E6CF919C97}"/>
              </a:ext>
            </a:extLst>
          </p:cNvPr>
          <p:cNvSpPr>
            <a:spLocks noGrp="1"/>
          </p:cNvSpPr>
          <p:nvPr>
            <p:ph type="body" sz="quarter" idx="12" hasCustomPrompt="1"/>
          </p:nvPr>
        </p:nvSpPr>
        <p:spPr>
          <a:xfrm>
            <a:off x="556709" y="3120002"/>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70139419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3_3 O Blue green 2">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9308199" y="3224293"/>
            <a:ext cx="1817989" cy="409417"/>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2" y="-6395"/>
            <a:ext cx="5356300" cy="6859200"/>
          </a:xfrm>
          <a:prstGeom prst="rect">
            <a:avLst/>
          </a:prstGeom>
        </p:spPr>
      </p:pic>
      <p:sp>
        <p:nvSpPr>
          <p:cNvPr id="4" name="TextBox 3">
            <a:extLst>
              <a:ext uri="{FF2B5EF4-FFF2-40B4-BE49-F238E27FC236}">
                <a16:creationId xmlns:a16="http://schemas.microsoft.com/office/drawing/2014/main" id="{5054EB9F-8927-A3FE-8B84-2A5DA2E7EB1F}"/>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E1049C86-481E-BCA9-382A-A561EA22CA19}"/>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6" name="Title 4">
            <a:extLst>
              <a:ext uri="{FF2B5EF4-FFF2-40B4-BE49-F238E27FC236}">
                <a16:creationId xmlns:a16="http://schemas.microsoft.com/office/drawing/2014/main" id="{D06AC820-889D-342D-C4F1-65579046FEB3}"/>
              </a:ext>
            </a:extLst>
          </p:cNvPr>
          <p:cNvSpPr>
            <a:spLocks noGrp="1"/>
          </p:cNvSpPr>
          <p:nvPr>
            <p:ph type="title" hasCustomPrompt="1"/>
          </p:nvPr>
        </p:nvSpPr>
        <p:spPr>
          <a:xfrm>
            <a:off x="556708" y="1200002"/>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0" name="Text Placeholder 3">
            <a:extLst>
              <a:ext uri="{FF2B5EF4-FFF2-40B4-BE49-F238E27FC236}">
                <a16:creationId xmlns:a16="http://schemas.microsoft.com/office/drawing/2014/main" id="{38C0E4A4-2F9E-C493-382A-9CBF0ED8AD5E}"/>
              </a:ext>
            </a:extLst>
          </p:cNvPr>
          <p:cNvSpPr>
            <a:spLocks noGrp="1"/>
          </p:cNvSpPr>
          <p:nvPr>
            <p:ph type="body" sz="quarter" idx="12" hasCustomPrompt="1"/>
          </p:nvPr>
        </p:nvSpPr>
        <p:spPr>
          <a:xfrm>
            <a:off x="556709" y="3120002"/>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50066142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3 O White">
    <p:spTree>
      <p:nvGrpSpPr>
        <p:cNvPr id="1" name=""/>
        <p:cNvGrpSpPr/>
        <p:nvPr/>
      </p:nvGrpSpPr>
      <p:grpSpPr>
        <a:xfrm>
          <a:off x="0" y="0"/>
          <a:ext cx="0" cy="0"/>
          <a:chOff x="0" y="0"/>
          <a:chExt cx="0" cy="0"/>
        </a:xfrm>
      </p:grpSpPr>
      <p:grpSp>
        <p:nvGrpSpPr>
          <p:cNvPr id="7" name="Graphic 3">
            <a:extLst>
              <a:ext uri="{FF2B5EF4-FFF2-40B4-BE49-F238E27FC236}">
                <a16:creationId xmlns:a16="http://schemas.microsoft.com/office/drawing/2014/main" id="{57ADD6F0-8A1D-2465-892B-42BFF999186F}"/>
              </a:ext>
            </a:extLst>
          </p:cNvPr>
          <p:cNvGrpSpPr/>
          <p:nvPr userDrawn="1"/>
        </p:nvGrpSpPr>
        <p:grpSpPr>
          <a:xfrm>
            <a:off x="9407772" y="3224293"/>
            <a:ext cx="1817989" cy="409417"/>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pic>
        <p:nvPicPr>
          <p:cNvPr id="20" name="Picture 19" descr="Circle&#10;&#10;Description automatically generated with medium confidence">
            <a:extLst>
              <a:ext uri="{FF2B5EF4-FFF2-40B4-BE49-F238E27FC236}">
                <a16:creationId xmlns:a16="http://schemas.microsoft.com/office/drawing/2014/main" id="{87D5AF06-6AF8-9002-BEDC-176CB57496A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25084"/>
          <a:stretch/>
        </p:blipFill>
        <p:spPr>
          <a:xfrm>
            <a:off x="6835702" y="0"/>
            <a:ext cx="5356300" cy="6858000"/>
          </a:xfrm>
          <a:prstGeom prst="rect">
            <a:avLst/>
          </a:prstGeom>
        </p:spPr>
      </p:pic>
      <p:sp>
        <p:nvSpPr>
          <p:cNvPr id="5" name="TextBox 4">
            <a:extLst>
              <a:ext uri="{FF2B5EF4-FFF2-40B4-BE49-F238E27FC236}">
                <a16:creationId xmlns:a16="http://schemas.microsoft.com/office/drawing/2014/main" id="{0A7A7115-EA83-4FF6-C9AA-23524B051F64}"/>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74832A1-1A29-5A85-3CD7-02108B35D949}"/>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4" name="Title 4">
            <a:extLst>
              <a:ext uri="{FF2B5EF4-FFF2-40B4-BE49-F238E27FC236}">
                <a16:creationId xmlns:a16="http://schemas.microsoft.com/office/drawing/2014/main" id="{2EB43E8F-27C8-8759-7A98-CAA935E7823A}"/>
              </a:ext>
            </a:extLst>
          </p:cNvPr>
          <p:cNvSpPr>
            <a:spLocks noGrp="1"/>
          </p:cNvSpPr>
          <p:nvPr>
            <p:ph type="title" hasCustomPrompt="1"/>
          </p:nvPr>
        </p:nvSpPr>
        <p:spPr>
          <a:xfrm>
            <a:off x="556708" y="1200002"/>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15" name="Text Placeholder 3">
            <a:extLst>
              <a:ext uri="{FF2B5EF4-FFF2-40B4-BE49-F238E27FC236}">
                <a16:creationId xmlns:a16="http://schemas.microsoft.com/office/drawing/2014/main" id="{CE8D2D46-B066-616E-7306-CE64233C730C}"/>
              </a:ext>
            </a:extLst>
          </p:cNvPr>
          <p:cNvSpPr>
            <a:spLocks noGrp="1"/>
          </p:cNvSpPr>
          <p:nvPr>
            <p:ph type="body" sz="quarter" idx="12" hasCustomPrompt="1"/>
          </p:nvPr>
        </p:nvSpPr>
        <p:spPr>
          <a:xfrm>
            <a:off x="556709" y="3120002"/>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50566170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2_3 K Red orange">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38FCEB48-BE41-308F-33AB-94163C02BF5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10" name="Graphic 9">
            <a:extLst>
              <a:ext uri="{FF2B5EF4-FFF2-40B4-BE49-F238E27FC236}">
                <a16:creationId xmlns:a16="http://schemas.microsoft.com/office/drawing/2014/main" id="{193793F7-1073-3781-E44D-DD541B786672}"/>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sp>
        <p:nvSpPr>
          <p:cNvPr id="17" name="Title 4">
            <a:extLst>
              <a:ext uri="{FF2B5EF4-FFF2-40B4-BE49-F238E27FC236}">
                <a16:creationId xmlns:a16="http://schemas.microsoft.com/office/drawing/2014/main" id="{4A761E77-5CBD-451F-FA38-EA3EF19CE9E8}"/>
              </a:ext>
            </a:extLst>
          </p:cNvPr>
          <p:cNvSpPr>
            <a:spLocks noGrp="1"/>
          </p:cNvSpPr>
          <p:nvPr>
            <p:ph type="title" hasCustomPrompt="1"/>
          </p:nvPr>
        </p:nvSpPr>
        <p:spPr>
          <a:xfrm>
            <a:off x="556708" y="2179566"/>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8" name="Text Placeholder 3">
            <a:extLst>
              <a:ext uri="{FF2B5EF4-FFF2-40B4-BE49-F238E27FC236}">
                <a16:creationId xmlns:a16="http://schemas.microsoft.com/office/drawing/2014/main" id="{1349CF4D-C3F5-69B9-4227-EC331C16F094}"/>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6" name="Graphic 3">
            <a:extLst>
              <a:ext uri="{FF2B5EF4-FFF2-40B4-BE49-F238E27FC236}">
                <a16:creationId xmlns:a16="http://schemas.microsoft.com/office/drawing/2014/main" id="{5A3F8AE7-69F1-0171-3222-4CFFCDB4F568}"/>
              </a:ext>
            </a:extLst>
          </p:cNvPr>
          <p:cNvGrpSpPr/>
          <p:nvPr userDrawn="1"/>
        </p:nvGrpSpPr>
        <p:grpSpPr>
          <a:xfrm>
            <a:off x="9407772" y="3224293"/>
            <a:ext cx="1817989" cy="409417"/>
            <a:chOff x="469958" y="1647414"/>
            <a:chExt cx="8205029" cy="1847802"/>
          </a:xfrm>
          <a:solidFill>
            <a:schemeClr val="bg1"/>
          </a:solidFill>
        </p:grpSpPr>
        <p:sp>
          <p:nvSpPr>
            <p:cNvPr id="7" name="Freeform 25">
              <a:extLst>
                <a:ext uri="{FF2B5EF4-FFF2-40B4-BE49-F238E27FC236}">
                  <a16:creationId xmlns:a16="http://schemas.microsoft.com/office/drawing/2014/main" id="{0DE2A214-8055-F089-C6C4-415D2FEE42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8" name="Freeform 31">
              <a:extLst>
                <a:ext uri="{FF2B5EF4-FFF2-40B4-BE49-F238E27FC236}">
                  <a16:creationId xmlns:a16="http://schemas.microsoft.com/office/drawing/2014/main" id="{E7E7B380-ABE2-70DF-A29A-E3B4A181FA12}"/>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2">
              <a:extLst>
                <a:ext uri="{FF2B5EF4-FFF2-40B4-BE49-F238E27FC236}">
                  <a16:creationId xmlns:a16="http://schemas.microsoft.com/office/drawing/2014/main" id="{ED784E94-97A9-B627-1E07-7CAEF44EE8A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31E44308-7765-3146-1869-04D3DA41235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5E9E56FD-C856-3054-AB6B-A80BA7D6C55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2" name="TextBox 1">
            <a:extLst>
              <a:ext uri="{FF2B5EF4-FFF2-40B4-BE49-F238E27FC236}">
                <a16:creationId xmlns:a16="http://schemas.microsoft.com/office/drawing/2014/main" id="{DF372165-1480-FF4B-FD8E-0169E8CD1957}"/>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885AEDB-ED41-584E-391C-1747DAD5043C}"/>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85111706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3_3 K Blue">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8FF1A58D-53A4-65F6-8F2B-645D65C533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5166BBE5-C86E-3E87-A7C5-F29BE64D716D}"/>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grpSp>
        <p:nvGrpSpPr>
          <p:cNvPr id="7" name="Graphic 3">
            <a:extLst>
              <a:ext uri="{FF2B5EF4-FFF2-40B4-BE49-F238E27FC236}">
                <a16:creationId xmlns:a16="http://schemas.microsoft.com/office/drawing/2014/main" id="{47BEB086-B161-40ED-B2E3-DDF397278FA8}"/>
              </a:ext>
            </a:extLst>
          </p:cNvPr>
          <p:cNvGrpSpPr/>
          <p:nvPr userDrawn="1"/>
        </p:nvGrpSpPr>
        <p:grpSpPr>
          <a:xfrm>
            <a:off x="9407772" y="3224293"/>
            <a:ext cx="1817989" cy="409417"/>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6" name="TextBox 5">
            <a:extLst>
              <a:ext uri="{FF2B5EF4-FFF2-40B4-BE49-F238E27FC236}">
                <a16:creationId xmlns:a16="http://schemas.microsoft.com/office/drawing/2014/main" id="{D8B4807D-C6CB-B42F-7CAC-4B1E0264A613}"/>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7A5600B8-EF33-4C46-87E9-1A51B9580A90}"/>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Title 4">
            <a:extLst>
              <a:ext uri="{FF2B5EF4-FFF2-40B4-BE49-F238E27FC236}">
                <a16:creationId xmlns:a16="http://schemas.microsoft.com/office/drawing/2014/main" id="{651B7E9D-D552-81A8-07CE-C85143F970BC}"/>
              </a:ext>
            </a:extLst>
          </p:cNvPr>
          <p:cNvSpPr>
            <a:spLocks noGrp="1"/>
          </p:cNvSpPr>
          <p:nvPr>
            <p:ph type="title" hasCustomPrompt="1"/>
          </p:nvPr>
        </p:nvSpPr>
        <p:spPr>
          <a:xfrm>
            <a:off x="556708" y="2179566"/>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6" name="Text Placeholder 3">
            <a:extLst>
              <a:ext uri="{FF2B5EF4-FFF2-40B4-BE49-F238E27FC236}">
                <a16:creationId xmlns:a16="http://schemas.microsoft.com/office/drawing/2014/main" id="{2BF972D4-3000-87A0-9E6C-C622A2B7C6C0}"/>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116907374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3_3 K Red orange">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38FCEB48-BE41-308F-33AB-94163C02BF5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10" name="Graphic 9">
            <a:extLst>
              <a:ext uri="{FF2B5EF4-FFF2-40B4-BE49-F238E27FC236}">
                <a16:creationId xmlns:a16="http://schemas.microsoft.com/office/drawing/2014/main" id="{193793F7-1073-3781-E44D-DD541B786672}"/>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sp>
        <p:nvSpPr>
          <p:cNvPr id="17" name="Title 4">
            <a:extLst>
              <a:ext uri="{FF2B5EF4-FFF2-40B4-BE49-F238E27FC236}">
                <a16:creationId xmlns:a16="http://schemas.microsoft.com/office/drawing/2014/main" id="{4A761E77-5CBD-451F-FA38-EA3EF19CE9E8}"/>
              </a:ext>
            </a:extLst>
          </p:cNvPr>
          <p:cNvSpPr>
            <a:spLocks noGrp="1"/>
          </p:cNvSpPr>
          <p:nvPr>
            <p:ph type="title" hasCustomPrompt="1"/>
          </p:nvPr>
        </p:nvSpPr>
        <p:spPr>
          <a:xfrm>
            <a:off x="556708" y="2179566"/>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8" name="Text Placeholder 3">
            <a:extLst>
              <a:ext uri="{FF2B5EF4-FFF2-40B4-BE49-F238E27FC236}">
                <a16:creationId xmlns:a16="http://schemas.microsoft.com/office/drawing/2014/main" id="{1349CF4D-C3F5-69B9-4227-EC331C16F094}"/>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6" name="Graphic 3">
            <a:extLst>
              <a:ext uri="{FF2B5EF4-FFF2-40B4-BE49-F238E27FC236}">
                <a16:creationId xmlns:a16="http://schemas.microsoft.com/office/drawing/2014/main" id="{5A3F8AE7-69F1-0171-3222-4CFFCDB4F568}"/>
              </a:ext>
            </a:extLst>
          </p:cNvPr>
          <p:cNvGrpSpPr/>
          <p:nvPr userDrawn="1"/>
        </p:nvGrpSpPr>
        <p:grpSpPr>
          <a:xfrm>
            <a:off x="9407772" y="3224293"/>
            <a:ext cx="1817989" cy="409417"/>
            <a:chOff x="469958" y="1647414"/>
            <a:chExt cx="8205029" cy="1847802"/>
          </a:xfrm>
          <a:solidFill>
            <a:schemeClr val="bg1"/>
          </a:solidFill>
        </p:grpSpPr>
        <p:sp>
          <p:nvSpPr>
            <p:cNvPr id="7" name="Freeform 25">
              <a:extLst>
                <a:ext uri="{FF2B5EF4-FFF2-40B4-BE49-F238E27FC236}">
                  <a16:creationId xmlns:a16="http://schemas.microsoft.com/office/drawing/2014/main" id="{0DE2A214-8055-F089-C6C4-415D2FEE42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8" name="Freeform 31">
              <a:extLst>
                <a:ext uri="{FF2B5EF4-FFF2-40B4-BE49-F238E27FC236}">
                  <a16:creationId xmlns:a16="http://schemas.microsoft.com/office/drawing/2014/main" id="{E7E7B380-ABE2-70DF-A29A-E3B4A181FA12}"/>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2">
              <a:extLst>
                <a:ext uri="{FF2B5EF4-FFF2-40B4-BE49-F238E27FC236}">
                  <a16:creationId xmlns:a16="http://schemas.microsoft.com/office/drawing/2014/main" id="{ED784E94-97A9-B627-1E07-7CAEF44EE8A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31E44308-7765-3146-1869-04D3DA41235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5E9E56FD-C856-3054-AB6B-A80BA7D6C55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2" name="TextBox 1">
            <a:extLst>
              <a:ext uri="{FF2B5EF4-FFF2-40B4-BE49-F238E27FC236}">
                <a16:creationId xmlns:a16="http://schemas.microsoft.com/office/drawing/2014/main" id="{DF372165-1480-FF4B-FD8E-0169E8CD1957}"/>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885AEDB-ED41-584E-391C-1747DAD5043C}"/>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21793163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9 Title slide dark">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9E545D7-2373-D9BF-1A5C-DDEF3299CD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4" name="Text Placeholder 42">
            <a:extLst>
              <a:ext uri="{FF2B5EF4-FFF2-40B4-BE49-F238E27FC236}">
                <a16:creationId xmlns:a16="http://schemas.microsoft.com/office/drawing/2014/main" id="{1221AC1C-1EF4-5D9A-A440-017C6D790AAE}"/>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Click to edit headline</a:t>
            </a:r>
          </a:p>
        </p:txBody>
      </p:sp>
      <p:sp>
        <p:nvSpPr>
          <p:cNvPr id="4" name="TextBox 3">
            <a:extLst>
              <a:ext uri="{FF2B5EF4-FFF2-40B4-BE49-F238E27FC236}">
                <a16:creationId xmlns:a16="http://schemas.microsoft.com/office/drawing/2014/main" id="{3BAD1F5B-D865-3F9F-4D96-58C6DD62ECDF}"/>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A66624C8-71C7-7928-25B9-5352C8FD2EBB}"/>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DA75E4B3-EDD4-C5F1-7EF2-8B6126FAC2FC}"/>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34E36D38-263C-DBB6-A0D4-5E9785455C47}"/>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77835085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4_3 K Blue">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8FF1A58D-53A4-65F6-8F2B-645D65C533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5166BBE5-C86E-3E87-A7C5-F29BE64D716D}"/>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grpSp>
        <p:nvGrpSpPr>
          <p:cNvPr id="7" name="Graphic 3">
            <a:extLst>
              <a:ext uri="{FF2B5EF4-FFF2-40B4-BE49-F238E27FC236}">
                <a16:creationId xmlns:a16="http://schemas.microsoft.com/office/drawing/2014/main" id="{47BEB086-B161-40ED-B2E3-DDF397278FA8}"/>
              </a:ext>
            </a:extLst>
          </p:cNvPr>
          <p:cNvGrpSpPr/>
          <p:nvPr userDrawn="1"/>
        </p:nvGrpSpPr>
        <p:grpSpPr>
          <a:xfrm>
            <a:off x="9407772" y="3224293"/>
            <a:ext cx="1817989" cy="409417"/>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6" name="TextBox 5">
            <a:extLst>
              <a:ext uri="{FF2B5EF4-FFF2-40B4-BE49-F238E27FC236}">
                <a16:creationId xmlns:a16="http://schemas.microsoft.com/office/drawing/2014/main" id="{D8B4807D-C6CB-B42F-7CAC-4B1E0264A613}"/>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7A5600B8-EF33-4C46-87E9-1A51B9580A90}"/>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Title 4">
            <a:extLst>
              <a:ext uri="{FF2B5EF4-FFF2-40B4-BE49-F238E27FC236}">
                <a16:creationId xmlns:a16="http://schemas.microsoft.com/office/drawing/2014/main" id="{651B7E9D-D552-81A8-07CE-C85143F970BC}"/>
              </a:ext>
            </a:extLst>
          </p:cNvPr>
          <p:cNvSpPr>
            <a:spLocks noGrp="1"/>
          </p:cNvSpPr>
          <p:nvPr>
            <p:ph type="title" hasCustomPrompt="1"/>
          </p:nvPr>
        </p:nvSpPr>
        <p:spPr>
          <a:xfrm>
            <a:off x="556708" y="2179566"/>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6" name="Text Placeholder 3">
            <a:extLst>
              <a:ext uri="{FF2B5EF4-FFF2-40B4-BE49-F238E27FC236}">
                <a16:creationId xmlns:a16="http://schemas.microsoft.com/office/drawing/2014/main" id="{2BF972D4-3000-87A0-9E6C-C622A2B7C6C0}"/>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46022973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5_3 K Blu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3797EE9-5364-FAE7-B29C-8C7E9DCF2A68}"/>
              </a:ext>
            </a:extLst>
          </p:cNvPr>
          <p:cNvPicPr preferRelativeResize="0">
            <a:picLocks/>
          </p:cNvPicPr>
          <p:nvPr userDrawn="1"/>
        </p:nvPicPr>
        <p:blipFill>
          <a:blip r:embed="rId2">
            <a:extLst>
              <a:ext uri="{28A0092B-C50C-407E-A947-70E740481C1C}">
                <a14:useLocalDpi xmlns:a14="http://schemas.microsoft.com/office/drawing/2010/main" val="0"/>
              </a:ext>
            </a:extLst>
          </a:blip>
          <a:srcRect/>
          <a:stretch/>
        </p:blipFill>
        <p:spPr>
          <a:xfrm>
            <a:off x="0" y="1"/>
            <a:ext cx="12192000" cy="6858000"/>
          </a:xfrm>
          <a:prstGeom prst="rect">
            <a:avLst/>
          </a:prstGeom>
        </p:spPr>
      </p:pic>
      <p:grpSp>
        <p:nvGrpSpPr>
          <p:cNvPr id="7" name="Graphic 3">
            <a:extLst>
              <a:ext uri="{FF2B5EF4-FFF2-40B4-BE49-F238E27FC236}">
                <a16:creationId xmlns:a16="http://schemas.microsoft.com/office/drawing/2014/main" id="{47BEB086-B161-40ED-B2E3-DDF397278FA8}"/>
              </a:ext>
            </a:extLst>
          </p:cNvPr>
          <p:cNvGrpSpPr/>
          <p:nvPr userDrawn="1"/>
        </p:nvGrpSpPr>
        <p:grpSpPr>
          <a:xfrm>
            <a:off x="9407772" y="3224293"/>
            <a:ext cx="1817989" cy="409417"/>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15" name="Title 4">
            <a:extLst>
              <a:ext uri="{FF2B5EF4-FFF2-40B4-BE49-F238E27FC236}">
                <a16:creationId xmlns:a16="http://schemas.microsoft.com/office/drawing/2014/main" id="{651B7E9D-D552-81A8-07CE-C85143F970BC}"/>
              </a:ext>
            </a:extLst>
          </p:cNvPr>
          <p:cNvSpPr>
            <a:spLocks noGrp="1"/>
          </p:cNvSpPr>
          <p:nvPr>
            <p:ph type="title" hasCustomPrompt="1"/>
          </p:nvPr>
        </p:nvSpPr>
        <p:spPr>
          <a:xfrm>
            <a:off x="556708" y="674039"/>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Life in the fast lane</a:t>
            </a:r>
          </a:p>
        </p:txBody>
      </p:sp>
    </p:spTree>
    <p:extLst>
      <p:ext uri="{BB962C8B-B14F-4D97-AF65-F5344CB8AC3E}">
        <p14:creationId xmlns:p14="http://schemas.microsoft.com/office/powerpoint/2010/main" val="318375680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_3 K Pin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C0B63B-5EB2-C517-FFAF-0A5B2B5AB93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grpSp>
        <p:nvGrpSpPr>
          <p:cNvPr id="8" name="Graphic 3">
            <a:extLst>
              <a:ext uri="{FF2B5EF4-FFF2-40B4-BE49-F238E27FC236}">
                <a16:creationId xmlns:a16="http://schemas.microsoft.com/office/drawing/2014/main" id="{02491239-1144-EB94-E007-F05D770D71DA}"/>
              </a:ext>
            </a:extLst>
          </p:cNvPr>
          <p:cNvGrpSpPr/>
          <p:nvPr userDrawn="1"/>
        </p:nvGrpSpPr>
        <p:grpSpPr>
          <a:xfrm>
            <a:off x="9407772" y="3224293"/>
            <a:ext cx="1817989" cy="409417"/>
            <a:chOff x="469958" y="1647414"/>
            <a:chExt cx="8205029" cy="1847802"/>
          </a:xfrm>
          <a:solidFill>
            <a:schemeClr val="bg1"/>
          </a:solidFill>
        </p:grpSpPr>
        <p:sp>
          <p:nvSpPr>
            <p:cNvPr id="9" name="Freeform 25">
              <a:extLst>
                <a:ext uri="{FF2B5EF4-FFF2-40B4-BE49-F238E27FC236}">
                  <a16:creationId xmlns:a16="http://schemas.microsoft.com/office/drawing/2014/main" id="{2FDE4536-B74E-FB0B-5701-EE95568054D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1">
              <a:extLst>
                <a:ext uri="{FF2B5EF4-FFF2-40B4-BE49-F238E27FC236}">
                  <a16:creationId xmlns:a16="http://schemas.microsoft.com/office/drawing/2014/main" id="{DC504B4C-4BF0-DF13-D647-0C718DF4AD9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2">
              <a:extLst>
                <a:ext uri="{FF2B5EF4-FFF2-40B4-BE49-F238E27FC236}">
                  <a16:creationId xmlns:a16="http://schemas.microsoft.com/office/drawing/2014/main" id="{F3BB0087-C253-F0E4-3F52-1A53B4AFA97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3">
              <a:extLst>
                <a:ext uri="{FF2B5EF4-FFF2-40B4-BE49-F238E27FC236}">
                  <a16:creationId xmlns:a16="http://schemas.microsoft.com/office/drawing/2014/main" id="{3025D71C-0D10-5220-5980-B17FC068151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3" name="Freeform 34">
              <a:extLst>
                <a:ext uri="{FF2B5EF4-FFF2-40B4-BE49-F238E27FC236}">
                  <a16:creationId xmlns:a16="http://schemas.microsoft.com/office/drawing/2014/main" id="{64514CD7-9102-9552-6763-AB0337AAA7E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7" name="TextBox 6">
            <a:extLst>
              <a:ext uri="{FF2B5EF4-FFF2-40B4-BE49-F238E27FC236}">
                <a16:creationId xmlns:a16="http://schemas.microsoft.com/office/drawing/2014/main" id="{DB2D474A-4156-5445-2C99-EE4C77388F5D}"/>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DA5D471E-8C81-0943-5022-F263A707E608}"/>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6" name="Title 4">
            <a:extLst>
              <a:ext uri="{FF2B5EF4-FFF2-40B4-BE49-F238E27FC236}">
                <a16:creationId xmlns:a16="http://schemas.microsoft.com/office/drawing/2014/main" id="{024AFDB3-6F7B-B778-402E-9CCB281E4A36}"/>
              </a:ext>
            </a:extLst>
          </p:cNvPr>
          <p:cNvSpPr>
            <a:spLocks noGrp="1"/>
          </p:cNvSpPr>
          <p:nvPr>
            <p:ph type="title" hasCustomPrompt="1"/>
          </p:nvPr>
        </p:nvSpPr>
        <p:spPr>
          <a:xfrm>
            <a:off x="556708" y="2179566"/>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7" name="Text Placeholder 3">
            <a:extLst>
              <a:ext uri="{FF2B5EF4-FFF2-40B4-BE49-F238E27FC236}">
                <a16:creationId xmlns:a16="http://schemas.microsoft.com/office/drawing/2014/main" id="{673B31AA-DB5D-E4EE-AD2B-9C376313D508}"/>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17649387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_3 K Whit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F4EAC9-01A1-ED6A-B271-D7FC17A6D29B}"/>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r="18798"/>
          <a:stretch/>
        </p:blipFill>
        <p:spPr>
          <a:xfrm>
            <a:off x="6622168" y="0"/>
            <a:ext cx="5569832" cy="6859200"/>
          </a:xfrm>
          <a:prstGeom prst="rect">
            <a:avLst/>
          </a:prstGeom>
        </p:spPr>
      </p:pic>
      <p:grpSp>
        <p:nvGrpSpPr>
          <p:cNvPr id="7" name="Graphic 3">
            <a:extLst>
              <a:ext uri="{FF2B5EF4-FFF2-40B4-BE49-F238E27FC236}">
                <a16:creationId xmlns:a16="http://schemas.microsoft.com/office/drawing/2014/main" id="{57ADD6F0-8A1D-2465-892B-42BFF999186F}"/>
              </a:ext>
            </a:extLst>
          </p:cNvPr>
          <p:cNvGrpSpPr/>
          <p:nvPr userDrawn="1"/>
        </p:nvGrpSpPr>
        <p:grpSpPr>
          <a:xfrm>
            <a:off x="9407772" y="3224293"/>
            <a:ext cx="1817989" cy="409417"/>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6" name="TextBox 5">
            <a:extLst>
              <a:ext uri="{FF2B5EF4-FFF2-40B4-BE49-F238E27FC236}">
                <a16:creationId xmlns:a16="http://schemas.microsoft.com/office/drawing/2014/main" id="{BA4D82E9-DEF8-D842-DDB5-563D618E794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EB92B7B9-0B45-FE4B-753A-4D8C0E23E619}"/>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Title 4">
            <a:extLst>
              <a:ext uri="{FF2B5EF4-FFF2-40B4-BE49-F238E27FC236}">
                <a16:creationId xmlns:a16="http://schemas.microsoft.com/office/drawing/2014/main" id="{838942B2-5BE5-A3D6-4570-6AF07089F22D}"/>
              </a:ext>
            </a:extLst>
          </p:cNvPr>
          <p:cNvSpPr>
            <a:spLocks noGrp="1"/>
          </p:cNvSpPr>
          <p:nvPr>
            <p:ph type="title" hasCustomPrompt="1"/>
          </p:nvPr>
        </p:nvSpPr>
        <p:spPr>
          <a:xfrm>
            <a:off x="556708" y="2179566"/>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16" name="Text Placeholder 3">
            <a:extLst>
              <a:ext uri="{FF2B5EF4-FFF2-40B4-BE49-F238E27FC236}">
                <a16:creationId xmlns:a16="http://schemas.microsoft.com/office/drawing/2014/main" id="{B51E6336-7A1E-2850-2562-4FDD760F459F}"/>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135964931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1_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EF5C81FB-4A41-2E38-2638-F82CC70C7B5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C60B55E3-C61F-0403-A878-5F9E203C5E50}"/>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EA08C83F-D17C-0CF7-307E-6CDC00953C24}"/>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7AC91DB6-E398-955E-AA6E-6AE046DE8258}"/>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9550249-746C-7ECD-FED7-52893A37890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A8D2C2D-8FBB-781E-417F-B5D858DD4BB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15593965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8_4 Blu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3761BFBE-2F2E-2C4F-848A-E85051698111}"/>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282CE96B-0BCB-98A4-50DC-39176D0092D6}"/>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4" name="TextBox 3">
            <a:extLst>
              <a:ext uri="{FF2B5EF4-FFF2-40B4-BE49-F238E27FC236}">
                <a16:creationId xmlns:a16="http://schemas.microsoft.com/office/drawing/2014/main" id="{30294544-7EC4-ED46-6173-E3A78AF1175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8957137A-1370-497D-30A9-2885B2A47ACE}"/>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8D3533A-70F3-8B04-C0F5-CF1FD375FCE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D15844B-56C3-0508-2515-0AFFA9A8C1C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76326567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3_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4" name="TextBox 3">
            <a:extLst>
              <a:ext uri="{FF2B5EF4-FFF2-40B4-BE49-F238E27FC236}">
                <a16:creationId xmlns:a16="http://schemas.microsoft.com/office/drawing/2014/main" id="{AB7B8C5E-2A02-500E-7B19-869B39D9A896}"/>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A844BE02-2625-0E61-D864-E5DDC07EC96E}"/>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2784AA3F-6A3E-5918-C536-2E26F4BF9C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1067757F-8A0C-FCEC-EB62-74E36F8E5E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3188F393-2D04-17D9-4E30-1DA2DAE98439}"/>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8" name="Text Placeholder 42">
            <a:extLst>
              <a:ext uri="{FF2B5EF4-FFF2-40B4-BE49-F238E27FC236}">
                <a16:creationId xmlns:a16="http://schemas.microsoft.com/office/drawing/2014/main" id="{9E2A26AA-E546-94FD-6AC0-F57B2DDCF335}"/>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208702017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4_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5F57FFFB-CCE3-C058-3729-4EDEEE5E646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6" name="TextBox 5">
            <a:extLst>
              <a:ext uri="{FF2B5EF4-FFF2-40B4-BE49-F238E27FC236}">
                <a16:creationId xmlns:a16="http://schemas.microsoft.com/office/drawing/2014/main" id="{6857A933-0F5D-EB6F-6781-ACE4F612BDFC}"/>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2A1F2F7-3255-A552-A703-7C9BCD3C4BA6}"/>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E85E7031-34AB-503C-140D-07A8A6D83D3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C4DEFCE-5A10-8D7A-C10A-5C24EDCFF87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EF1F7D3B-D3A1-0B66-4DFD-A89A8D4E2B45}"/>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A85DB6D6-86FE-E33C-DC95-D455C2CE5E29}"/>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283748711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0_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EF5C81FB-4A41-2E38-2638-F82CC70C7B5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C60B55E3-C61F-0403-A878-5F9E203C5E50}"/>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EA08C83F-D17C-0CF7-307E-6CDC00953C24}"/>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7AC91DB6-E398-955E-AA6E-6AE046DE8258}"/>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9550249-746C-7ECD-FED7-52893A37890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A8D2C2D-8FBB-781E-417F-B5D858DD4BB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50164640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7_4 Blu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3761BFBE-2F2E-2C4F-848A-E85051698111}"/>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282CE96B-0BCB-98A4-50DC-39176D0092D6}"/>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4" name="TextBox 3">
            <a:extLst>
              <a:ext uri="{FF2B5EF4-FFF2-40B4-BE49-F238E27FC236}">
                <a16:creationId xmlns:a16="http://schemas.microsoft.com/office/drawing/2014/main" id="{30294544-7EC4-ED46-6173-E3A78AF1175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8957137A-1370-497D-30A9-2885B2A47ACE}"/>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8D3533A-70F3-8B04-C0F5-CF1FD375FCE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D15844B-56C3-0508-2515-0AFFA9A8C1C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0710750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10 Title slide with media 1 dark">
    <p:bg>
      <p:bgPr>
        <a:solidFill>
          <a:schemeClr val="tx1"/>
        </a:solidFill>
        <a:effectLst/>
      </p:bgPr>
    </p:bg>
    <p:spTree>
      <p:nvGrpSpPr>
        <p:cNvPr id="1" name=""/>
        <p:cNvGrpSpPr/>
        <p:nvPr/>
      </p:nvGrpSpPr>
      <p:grpSpPr>
        <a:xfrm>
          <a:off x="0" y="0"/>
          <a:ext cx="0" cy="0"/>
          <a:chOff x="0" y="0"/>
          <a:chExt cx="0" cy="0"/>
        </a:xfrm>
      </p:grpSpPr>
      <p:sp>
        <p:nvSpPr>
          <p:cNvPr id="3" name="Media Placeholder 6">
            <a:extLst>
              <a:ext uri="{FF2B5EF4-FFF2-40B4-BE49-F238E27FC236}">
                <a16:creationId xmlns:a16="http://schemas.microsoft.com/office/drawing/2014/main" id="{BB2531A6-B2AF-8CE3-D4E6-FFA2A6F43CBA}"/>
              </a:ext>
            </a:extLst>
          </p:cNvPr>
          <p:cNvSpPr>
            <a:spLocks noGrp="1"/>
          </p:cNvSpPr>
          <p:nvPr>
            <p:ph type="media" sz="quarter" idx="12"/>
          </p:nvPr>
        </p:nvSpPr>
        <p:spPr>
          <a:xfrm>
            <a:off x="0" y="0"/>
            <a:ext cx="12192000" cy="6858000"/>
          </a:xfrm>
          <a:prstGeom prst="rect">
            <a:avLst/>
          </a:prstGeom>
        </p:spPr>
        <p:txBody>
          <a:bodyPr/>
          <a:lstStyle>
            <a:lvl1pPr marL="0" indent="0">
              <a:buNone/>
              <a:defRPr>
                <a:solidFill>
                  <a:schemeClr val="bg1"/>
                </a:solidFill>
              </a:defRPr>
            </a:lvl1pPr>
          </a:lstStyle>
          <a:p>
            <a:r>
              <a:rPr lang="en-US"/>
              <a:t>Click icon to add media</a:t>
            </a:r>
          </a:p>
        </p:txBody>
      </p:sp>
      <p:pic>
        <p:nvPicPr>
          <p:cNvPr id="4" name="Graphic 3">
            <a:extLst>
              <a:ext uri="{FF2B5EF4-FFF2-40B4-BE49-F238E27FC236}">
                <a16:creationId xmlns:a16="http://schemas.microsoft.com/office/drawing/2014/main" id="{47292656-5749-2B4B-FA27-42765BDE338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5" name="Text Placeholder 42">
            <a:extLst>
              <a:ext uri="{FF2B5EF4-FFF2-40B4-BE49-F238E27FC236}">
                <a16:creationId xmlns:a16="http://schemas.microsoft.com/office/drawing/2014/main" id="{4F756C8B-0244-6A11-8EC3-4A1D203CDD66}"/>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Click to edit headline</a:t>
            </a:r>
          </a:p>
        </p:txBody>
      </p:sp>
      <p:sp>
        <p:nvSpPr>
          <p:cNvPr id="6" name="TextBox 5">
            <a:extLst>
              <a:ext uri="{FF2B5EF4-FFF2-40B4-BE49-F238E27FC236}">
                <a16:creationId xmlns:a16="http://schemas.microsoft.com/office/drawing/2014/main" id="{BD759CC4-69C8-613F-E557-4E2AEE7B75E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A40A76AB-576F-2C48-7ED4-0E98A54B99AD}"/>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717253AE-3DDB-8C8A-399D-C55C49CB0832}"/>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0DC17B7D-4E9B-5FAC-1228-C97FB1CFC5A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8237341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4" name="TextBox 3">
            <a:extLst>
              <a:ext uri="{FF2B5EF4-FFF2-40B4-BE49-F238E27FC236}">
                <a16:creationId xmlns:a16="http://schemas.microsoft.com/office/drawing/2014/main" id="{AB7B8C5E-2A02-500E-7B19-869B39D9A896}"/>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A844BE02-2625-0E61-D864-E5DDC07EC96E}"/>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2784AA3F-6A3E-5918-C536-2E26F4BF9C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1067757F-8A0C-FCEC-EB62-74E36F8E5E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3188F393-2D04-17D9-4E30-1DA2DAE98439}"/>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8" name="Text Placeholder 42">
            <a:extLst>
              <a:ext uri="{FF2B5EF4-FFF2-40B4-BE49-F238E27FC236}">
                <a16:creationId xmlns:a16="http://schemas.microsoft.com/office/drawing/2014/main" id="{9E2A26AA-E546-94FD-6AC0-F57B2DDCF335}"/>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276822392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5_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5F57FFFB-CCE3-C058-3729-4EDEEE5E646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6" name="TextBox 5">
            <a:extLst>
              <a:ext uri="{FF2B5EF4-FFF2-40B4-BE49-F238E27FC236}">
                <a16:creationId xmlns:a16="http://schemas.microsoft.com/office/drawing/2014/main" id="{6857A933-0F5D-EB6F-6781-ACE4F612BDF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2A1F2F7-3255-A552-A703-7C9BCD3C4BA6}"/>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E85E7031-34AB-503C-140D-07A8A6D83D3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C4DEFCE-5A10-8D7A-C10A-5C24EDCFF87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EF1F7D3B-D3A1-0B66-4DFD-A89A8D4E2B45}"/>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A85DB6D6-86FE-E33C-DC95-D455C2CE5E29}"/>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129764059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4_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5990E264-5D0F-60E1-079B-4D9441DFD2FA}"/>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1F513913-81F1-BE35-BEE1-E4F3B331C19E}"/>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5A2E6516-E21C-B9AB-D96C-01D89E1C188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FC57D9E6-836B-E344-7053-C5B54572FBF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17B48FF2-DF34-2D2C-9133-C56D767AEE17}"/>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1375FC76-C462-9A2E-C6F5-6A7526FD32AB}"/>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16372251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7_4 Orange red">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34BF0FE-66B0-30DC-7C7E-0C60AC6208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11B8FE6-8F1C-8435-F33C-EE04C6A6A16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CBC8F3BE-DF4E-616F-9E87-42409E45FB76}"/>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2FA5559B-7244-EAEC-5F81-57659F883556}"/>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AFF766CE-D4C5-BFE0-469A-326AD36F781C}"/>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7ACCA25F-B787-0F46-0666-1B57C451AAD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B81A83BE-92CB-A003-33CB-370A0B1FEDFB}"/>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9766979B-27F4-3832-C379-C7CE5504EEA1}"/>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90149999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3_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EF5C81FB-4A41-2E38-2638-F82CC70C7B5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EA08C83F-D17C-0CF7-307E-6CDC00953C24}"/>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7AC91DB6-E398-955E-AA6E-6AE046DE8258}"/>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9550249-746C-7ECD-FED7-52893A37890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A8D2C2D-8FBB-781E-417F-B5D858DD4BB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471E5928-FBC9-0326-5B1E-1C9FC59A8BBF}"/>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FA5AC387-E045-8C0B-0800-541E816FDFDB}"/>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401317030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5_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5990E264-5D0F-60E1-079B-4D9441DFD2FA}"/>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1F513913-81F1-BE35-BEE1-E4F3B331C19E}"/>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5A2E6516-E21C-B9AB-D96C-01D89E1C188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FC57D9E6-836B-E344-7053-C5B54572FBF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17B48FF2-DF34-2D2C-9133-C56D767AEE17}"/>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1375FC76-C462-9A2E-C6F5-6A7526FD32AB}"/>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182458595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4 Orange red">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34BF0FE-66B0-30DC-7C7E-0C60AC6208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11B8FE6-8F1C-8435-F33C-EE04C6A6A16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CBC8F3BE-DF4E-616F-9E87-42409E45FB76}"/>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2FA5559B-7244-EAEC-5F81-57659F883556}"/>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AFF766CE-D4C5-BFE0-469A-326AD36F781C}"/>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7ACCA25F-B787-0F46-0666-1B57C451AAD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B81A83BE-92CB-A003-33CB-370A0B1FEDFB}"/>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9766979B-27F4-3832-C379-C7CE5504EEA1}"/>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122551336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4_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EF5C81FB-4A41-2E38-2638-F82CC70C7B5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EA08C83F-D17C-0CF7-307E-6CDC00953C24}"/>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7AC91DB6-E398-955E-AA6E-6AE046DE8258}"/>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9550249-746C-7ECD-FED7-52893A37890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A8D2C2D-8FBB-781E-417F-B5D858DD4BB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471E5928-FBC9-0326-5B1E-1C9FC59A8BBF}"/>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FA5AC387-E045-8C0B-0800-541E816FDFDB}"/>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43012059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3_3 K Pin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C0B63B-5EB2-C517-FFAF-0A5B2B5AB93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grpSp>
        <p:nvGrpSpPr>
          <p:cNvPr id="8" name="Graphic 3">
            <a:extLst>
              <a:ext uri="{FF2B5EF4-FFF2-40B4-BE49-F238E27FC236}">
                <a16:creationId xmlns:a16="http://schemas.microsoft.com/office/drawing/2014/main" id="{02491239-1144-EB94-E007-F05D770D71DA}"/>
              </a:ext>
            </a:extLst>
          </p:cNvPr>
          <p:cNvGrpSpPr/>
          <p:nvPr userDrawn="1"/>
        </p:nvGrpSpPr>
        <p:grpSpPr>
          <a:xfrm>
            <a:off x="9407772" y="3224293"/>
            <a:ext cx="1817989" cy="409417"/>
            <a:chOff x="469958" y="1647414"/>
            <a:chExt cx="8205029" cy="1847802"/>
          </a:xfrm>
          <a:solidFill>
            <a:schemeClr val="bg1"/>
          </a:solidFill>
        </p:grpSpPr>
        <p:sp>
          <p:nvSpPr>
            <p:cNvPr id="9" name="Freeform 25">
              <a:extLst>
                <a:ext uri="{FF2B5EF4-FFF2-40B4-BE49-F238E27FC236}">
                  <a16:creationId xmlns:a16="http://schemas.microsoft.com/office/drawing/2014/main" id="{2FDE4536-B74E-FB0B-5701-EE95568054D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1">
              <a:extLst>
                <a:ext uri="{FF2B5EF4-FFF2-40B4-BE49-F238E27FC236}">
                  <a16:creationId xmlns:a16="http://schemas.microsoft.com/office/drawing/2014/main" id="{DC504B4C-4BF0-DF13-D647-0C718DF4AD9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2">
              <a:extLst>
                <a:ext uri="{FF2B5EF4-FFF2-40B4-BE49-F238E27FC236}">
                  <a16:creationId xmlns:a16="http://schemas.microsoft.com/office/drawing/2014/main" id="{F3BB0087-C253-F0E4-3F52-1A53B4AFA97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3">
              <a:extLst>
                <a:ext uri="{FF2B5EF4-FFF2-40B4-BE49-F238E27FC236}">
                  <a16:creationId xmlns:a16="http://schemas.microsoft.com/office/drawing/2014/main" id="{3025D71C-0D10-5220-5980-B17FC068151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3" name="Freeform 34">
              <a:extLst>
                <a:ext uri="{FF2B5EF4-FFF2-40B4-BE49-F238E27FC236}">
                  <a16:creationId xmlns:a16="http://schemas.microsoft.com/office/drawing/2014/main" id="{64514CD7-9102-9552-6763-AB0337AAA7E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7" name="TextBox 6">
            <a:extLst>
              <a:ext uri="{FF2B5EF4-FFF2-40B4-BE49-F238E27FC236}">
                <a16:creationId xmlns:a16="http://schemas.microsoft.com/office/drawing/2014/main" id="{DB2D474A-4156-5445-2C99-EE4C77388F5D}"/>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DA5D471E-8C81-0943-5022-F263A707E608}"/>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6" name="Title 4">
            <a:extLst>
              <a:ext uri="{FF2B5EF4-FFF2-40B4-BE49-F238E27FC236}">
                <a16:creationId xmlns:a16="http://schemas.microsoft.com/office/drawing/2014/main" id="{024AFDB3-6F7B-B778-402E-9CCB281E4A36}"/>
              </a:ext>
            </a:extLst>
          </p:cNvPr>
          <p:cNvSpPr>
            <a:spLocks noGrp="1"/>
          </p:cNvSpPr>
          <p:nvPr>
            <p:ph type="title" hasCustomPrompt="1"/>
          </p:nvPr>
        </p:nvSpPr>
        <p:spPr>
          <a:xfrm>
            <a:off x="556708" y="2179566"/>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7" name="Text Placeholder 3">
            <a:extLst>
              <a:ext uri="{FF2B5EF4-FFF2-40B4-BE49-F238E27FC236}">
                <a16:creationId xmlns:a16="http://schemas.microsoft.com/office/drawing/2014/main" id="{673B31AA-DB5D-E4EE-AD2B-9C376313D508}"/>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65190869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3_3 K Whit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F4EAC9-01A1-ED6A-B271-D7FC17A6D29B}"/>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r="18798"/>
          <a:stretch/>
        </p:blipFill>
        <p:spPr>
          <a:xfrm>
            <a:off x="6622168" y="0"/>
            <a:ext cx="5569832" cy="6859200"/>
          </a:xfrm>
          <a:prstGeom prst="rect">
            <a:avLst/>
          </a:prstGeom>
        </p:spPr>
      </p:pic>
      <p:grpSp>
        <p:nvGrpSpPr>
          <p:cNvPr id="7" name="Graphic 3">
            <a:extLst>
              <a:ext uri="{FF2B5EF4-FFF2-40B4-BE49-F238E27FC236}">
                <a16:creationId xmlns:a16="http://schemas.microsoft.com/office/drawing/2014/main" id="{57ADD6F0-8A1D-2465-892B-42BFF999186F}"/>
              </a:ext>
            </a:extLst>
          </p:cNvPr>
          <p:cNvGrpSpPr/>
          <p:nvPr userDrawn="1"/>
        </p:nvGrpSpPr>
        <p:grpSpPr>
          <a:xfrm>
            <a:off x="9407772" y="3224293"/>
            <a:ext cx="1817989" cy="409417"/>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6" name="TextBox 5">
            <a:extLst>
              <a:ext uri="{FF2B5EF4-FFF2-40B4-BE49-F238E27FC236}">
                <a16:creationId xmlns:a16="http://schemas.microsoft.com/office/drawing/2014/main" id="{BA4D82E9-DEF8-D842-DDB5-563D618E794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EB92B7B9-0B45-FE4B-753A-4D8C0E23E619}"/>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Title 4">
            <a:extLst>
              <a:ext uri="{FF2B5EF4-FFF2-40B4-BE49-F238E27FC236}">
                <a16:creationId xmlns:a16="http://schemas.microsoft.com/office/drawing/2014/main" id="{838942B2-5BE5-A3D6-4570-6AF07089F22D}"/>
              </a:ext>
            </a:extLst>
          </p:cNvPr>
          <p:cNvSpPr>
            <a:spLocks noGrp="1"/>
          </p:cNvSpPr>
          <p:nvPr>
            <p:ph type="title" hasCustomPrompt="1"/>
          </p:nvPr>
        </p:nvSpPr>
        <p:spPr>
          <a:xfrm>
            <a:off x="556708" y="2179566"/>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16" name="Text Placeholder 3">
            <a:extLst>
              <a:ext uri="{FF2B5EF4-FFF2-40B4-BE49-F238E27FC236}">
                <a16:creationId xmlns:a16="http://schemas.microsoft.com/office/drawing/2014/main" id="{B51E6336-7A1E-2850-2562-4FDD760F459F}"/>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40576247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1 Title slide with media 2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sz="1600">
                <a:solidFill>
                  <a:schemeClr val="bg1"/>
                </a:solidFill>
              </a:defRPr>
            </a:lvl4pPr>
            <a:lvl5pPr marL="1199970" indent="-239994">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C341FE85-3CE7-12FA-3841-D7CC0ABB659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27418BB1-0E7E-AAD3-AD71-82204464918C}"/>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02B48A79-625E-B973-DCD8-533E86F25072}"/>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DB9A4E9B-BED0-504E-628D-EAD882C392A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742AC6DC-CFBE-F98E-4CC4-2390702BA655}"/>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7869091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6_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34031B42-8ACF-0D61-11C0-959766C8BDD4}"/>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4" name="TextBox 3">
            <a:extLst>
              <a:ext uri="{FF2B5EF4-FFF2-40B4-BE49-F238E27FC236}">
                <a16:creationId xmlns:a16="http://schemas.microsoft.com/office/drawing/2014/main" id="{AB7B8C5E-2A02-500E-7B19-869B39D9A896}"/>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A844BE02-2625-0E61-D864-E5DDC07EC96E}"/>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2784AA3F-6A3E-5918-C536-2E26F4BF9C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1067757F-8A0C-FCEC-EB62-74E36F8E5E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72702090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1_2.2 Title dark">
    <p:bg>
      <p:bgPr>
        <a:gradFill>
          <a:gsLst>
            <a:gs pos="53100">
              <a:schemeClr val="accent1">
                <a:lumMod val="59000"/>
              </a:schemeClr>
            </a:gs>
            <a:gs pos="0">
              <a:schemeClr val="tx1">
                <a:lumMod val="96000"/>
              </a:schemeClr>
            </a:gs>
            <a:gs pos="100000">
              <a:schemeClr val="accent1">
                <a:lumMod val="30000"/>
              </a:schemeClr>
            </a:gs>
          </a:gsLst>
          <a:lin ang="12000000" scaled="0"/>
        </a:gra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B937390-63D5-3E5C-5017-6C0EFAC8BC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 Placeholder 42">
            <a:extLst>
              <a:ext uri="{FF2B5EF4-FFF2-40B4-BE49-F238E27FC236}">
                <a16:creationId xmlns:a16="http://schemas.microsoft.com/office/drawing/2014/main" id="{65BB4E9F-2E29-3042-C3C2-66B30120BBAE}"/>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Tree>
    <p:extLst>
      <p:ext uri="{BB962C8B-B14F-4D97-AF65-F5344CB8AC3E}">
        <p14:creationId xmlns:p14="http://schemas.microsoft.com/office/powerpoint/2010/main" val="220912472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7_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5F57FFFB-CCE3-C058-3729-4EDEEE5E646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0390628D-EDCB-823F-3281-E26163D5C4CD}"/>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6" name="TextBox 5">
            <a:extLst>
              <a:ext uri="{FF2B5EF4-FFF2-40B4-BE49-F238E27FC236}">
                <a16:creationId xmlns:a16="http://schemas.microsoft.com/office/drawing/2014/main" id="{6857A933-0F5D-EB6F-6781-ACE4F612BDF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2A1F2F7-3255-A552-A703-7C9BCD3C4BA6}"/>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E85E7031-34AB-503C-140D-07A8A6D83D3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C4DEFCE-5A10-8D7A-C10A-5C24EDCFF87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65876670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5_4 Pink">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AB3FE475-1931-B109-EFE4-3720BF54E14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E64CD9D7-6169-977F-2770-ADEC0D6EE84D}"/>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FB666C31-62D7-CEFA-FFA5-6E39B2A9667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17E83870-7680-0EC5-A60C-DDC82D20159B}"/>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B3FD35A0-F98B-4E10-5EEB-CC206A99D77A}"/>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26AEA66-94E0-CBBE-2810-477A8B621DF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56482607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7_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E8A36BB1-1CB4-70E4-B774-36E6FFADAD7B}"/>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5990E264-5D0F-60E1-079B-4D9441DFD2FA}"/>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1F513913-81F1-BE35-BEE1-E4F3B331C19E}"/>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5A2E6516-E21C-B9AB-D96C-01D89E1C188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FC57D9E6-836B-E344-7053-C5B54572FBF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96629715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4_4 Orange red">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34BF0FE-66B0-30DC-7C7E-0C60AC6208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11B8FE6-8F1C-8435-F33C-EE04C6A6A16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0006201F-5816-C391-0FF2-7B730063C18B}"/>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Tree>
    <p:extLst>
      <p:ext uri="{BB962C8B-B14F-4D97-AF65-F5344CB8AC3E}">
        <p14:creationId xmlns:p14="http://schemas.microsoft.com/office/powerpoint/2010/main" val="72302488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6_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EF5C81FB-4A41-2E38-2638-F82CC70C7B5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C60B55E3-C61F-0403-A878-5F9E203C5E50}"/>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EA08C83F-D17C-0CF7-307E-6CDC00953C24}"/>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7AC91DB6-E398-955E-AA6E-6AE046DE8258}"/>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9550249-746C-7ECD-FED7-52893A37890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A8D2C2D-8FBB-781E-417F-B5D858DD4BB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1606374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4_4 Blu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3761BFBE-2F2E-2C4F-848A-E85051698111}"/>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282CE96B-0BCB-98A4-50DC-39176D0092D6}"/>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4" name="TextBox 3">
            <a:extLst>
              <a:ext uri="{FF2B5EF4-FFF2-40B4-BE49-F238E27FC236}">
                <a16:creationId xmlns:a16="http://schemas.microsoft.com/office/drawing/2014/main" id="{30294544-7EC4-ED46-6173-E3A78AF1175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8957137A-1370-497D-30A9-2885B2A47ACE}"/>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8D3533A-70F3-8B04-C0F5-CF1FD375FCE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D15844B-56C3-0508-2515-0AFFA9A8C1C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76009678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7_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4" name="TextBox 3">
            <a:extLst>
              <a:ext uri="{FF2B5EF4-FFF2-40B4-BE49-F238E27FC236}">
                <a16:creationId xmlns:a16="http://schemas.microsoft.com/office/drawing/2014/main" id="{AB7B8C5E-2A02-500E-7B19-869B39D9A896}"/>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A844BE02-2625-0E61-D864-E5DDC07EC96E}"/>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2784AA3F-6A3E-5918-C536-2E26F4BF9C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1067757F-8A0C-FCEC-EB62-74E36F8E5E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3188F393-2D04-17D9-4E30-1DA2DAE98439}"/>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8" name="Text Placeholder 42">
            <a:extLst>
              <a:ext uri="{FF2B5EF4-FFF2-40B4-BE49-F238E27FC236}">
                <a16:creationId xmlns:a16="http://schemas.microsoft.com/office/drawing/2014/main" id="{9E2A26AA-E546-94FD-6AC0-F57B2DDCF335}"/>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186259615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8_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5F57FFFB-CCE3-C058-3729-4EDEEE5E646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6" name="TextBox 5">
            <a:extLst>
              <a:ext uri="{FF2B5EF4-FFF2-40B4-BE49-F238E27FC236}">
                <a16:creationId xmlns:a16="http://schemas.microsoft.com/office/drawing/2014/main" id="{6857A933-0F5D-EB6F-6781-ACE4F612BDF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2A1F2F7-3255-A552-A703-7C9BCD3C4BA6}"/>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E85E7031-34AB-503C-140D-07A8A6D83D3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C4DEFCE-5A10-8D7A-C10A-5C24EDCFF87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EF1F7D3B-D3A1-0B66-4DFD-A89A8D4E2B45}"/>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A85DB6D6-86FE-E33C-DC95-D455C2CE5E29}"/>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14575227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2.2 Title dark">
    <p:bg>
      <p:bgPr>
        <a:gradFill>
          <a:gsLst>
            <a:gs pos="53100">
              <a:schemeClr val="accent1">
                <a:lumMod val="59000"/>
              </a:schemeClr>
            </a:gs>
            <a:gs pos="0">
              <a:schemeClr val="tx1">
                <a:lumMod val="96000"/>
              </a:schemeClr>
            </a:gs>
            <a:gs pos="100000">
              <a:schemeClr val="accent1">
                <a:lumMod val="30000"/>
              </a:schemeClr>
            </a:gs>
          </a:gsLst>
          <a:lin ang="12000000" scaled="0"/>
        </a:gra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pic>
        <p:nvPicPr>
          <p:cNvPr id="3" name="Graphic 2">
            <a:extLst>
              <a:ext uri="{FF2B5EF4-FFF2-40B4-BE49-F238E27FC236}">
                <a16:creationId xmlns:a16="http://schemas.microsoft.com/office/drawing/2014/main" id="{BB937390-63D5-3E5C-5017-6C0EFAC8BC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86357" y="6330072"/>
            <a:ext cx="1296000" cy="292019"/>
          </a:xfrm>
          <a:prstGeom prst="rect">
            <a:avLst/>
          </a:prstGeom>
        </p:spPr>
      </p:pic>
      <p:pic>
        <p:nvPicPr>
          <p:cNvPr id="2" name="Picture 2">
            <a:extLst>
              <a:ext uri="{FF2B5EF4-FFF2-40B4-BE49-F238E27FC236}">
                <a16:creationId xmlns:a16="http://schemas.microsoft.com/office/drawing/2014/main" id="{54766257-3EDE-0532-1C29-76FEF5AEC310}"/>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610340" y="6330072"/>
            <a:ext cx="2444097" cy="290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75280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12 Title slide with media 3 dark">
    <p:bg>
      <p:bgPr>
        <a:solidFill>
          <a:schemeClr val="tx1"/>
        </a:solidFill>
        <a:effectLst/>
      </p:bgPr>
    </p:bg>
    <p:spTree>
      <p:nvGrpSpPr>
        <p:cNvPr id="1" name=""/>
        <p:cNvGrpSpPr/>
        <p:nvPr/>
      </p:nvGrpSpPr>
      <p:grpSpPr>
        <a:xfrm>
          <a:off x="0" y="0"/>
          <a:ext cx="0" cy="0"/>
          <a:chOff x="0" y="0"/>
          <a:chExt cx="0" cy="0"/>
        </a:xfrm>
      </p:grpSpPr>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556801" y="527928"/>
            <a:ext cx="4554028"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556801" y="1019360"/>
            <a:ext cx="4554028"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556453" y="1680000"/>
            <a:ext cx="455402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sz="1600">
                <a:solidFill>
                  <a:schemeClr val="bg1"/>
                </a:solidFill>
              </a:defRPr>
            </a:lvl4pPr>
            <a:lvl5pPr marL="1199970" indent="-239994">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E7BA896-DC3C-C861-6C89-0401950D7446}"/>
              </a:ext>
            </a:extLst>
          </p:cNvPr>
          <p:cNvSpPr>
            <a:spLocks noGrp="1"/>
          </p:cNvSpPr>
          <p:nvPr>
            <p:ph type="pic" sz="quarter" idx="15" hasCustomPrompt="1"/>
          </p:nvPr>
        </p:nvSpPr>
        <p:spPr>
          <a:xfrm>
            <a:off x="5486400" y="0"/>
            <a:ext cx="67056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pic>
        <p:nvPicPr>
          <p:cNvPr id="4" name="Graphic 3">
            <a:extLst>
              <a:ext uri="{FF2B5EF4-FFF2-40B4-BE49-F238E27FC236}">
                <a16:creationId xmlns:a16="http://schemas.microsoft.com/office/drawing/2014/main" id="{2E1E3056-42DC-BA9B-F46D-475E5BE32B9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Box 4">
            <a:extLst>
              <a:ext uri="{FF2B5EF4-FFF2-40B4-BE49-F238E27FC236}">
                <a16:creationId xmlns:a16="http://schemas.microsoft.com/office/drawing/2014/main" id="{B6681D21-FC7E-7F82-9685-4F1EF53B236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41DBEFAD-5693-7A1A-A64F-C540D390A0B8}"/>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7840E574-42A1-50DE-BFA2-D52D3D35902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DDEF2D02-B6B9-E747-F0EA-9ED48DC28C93}"/>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72239134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7_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EF5C81FB-4A41-2E38-2638-F82CC70C7B5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C60B55E3-C61F-0403-A878-5F9E203C5E50}"/>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EA08C83F-D17C-0CF7-307E-6CDC00953C24}"/>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7AC91DB6-E398-955E-AA6E-6AE046DE8258}"/>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9550249-746C-7ECD-FED7-52893A37890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A8D2C2D-8FBB-781E-417F-B5D858DD4BB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38564373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5_4 Blu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3761BFBE-2F2E-2C4F-848A-E85051698111}"/>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282CE96B-0BCB-98A4-50DC-39176D0092D6}"/>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4" name="TextBox 3">
            <a:extLst>
              <a:ext uri="{FF2B5EF4-FFF2-40B4-BE49-F238E27FC236}">
                <a16:creationId xmlns:a16="http://schemas.microsoft.com/office/drawing/2014/main" id="{30294544-7EC4-ED46-6173-E3A78AF1175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8957137A-1370-497D-30A9-2885B2A47ACE}"/>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8D3533A-70F3-8B04-C0F5-CF1FD375FCE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D15844B-56C3-0508-2515-0AFFA9A8C1C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95172809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8_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4" name="TextBox 3">
            <a:extLst>
              <a:ext uri="{FF2B5EF4-FFF2-40B4-BE49-F238E27FC236}">
                <a16:creationId xmlns:a16="http://schemas.microsoft.com/office/drawing/2014/main" id="{AB7B8C5E-2A02-500E-7B19-869B39D9A896}"/>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A844BE02-2625-0E61-D864-E5DDC07EC96E}"/>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2784AA3F-6A3E-5918-C536-2E26F4BF9C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1067757F-8A0C-FCEC-EB62-74E36F8E5E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3188F393-2D04-17D9-4E30-1DA2DAE98439}"/>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8" name="Text Placeholder 42">
            <a:extLst>
              <a:ext uri="{FF2B5EF4-FFF2-40B4-BE49-F238E27FC236}">
                <a16:creationId xmlns:a16="http://schemas.microsoft.com/office/drawing/2014/main" id="{9E2A26AA-E546-94FD-6AC0-F57B2DDCF335}"/>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150314151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9_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5F57FFFB-CCE3-C058-3729-4EDEEE5E646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6" name="TextBox 5">
            <a:extLst>
              <a:ext uri="{FF2B5EF4-FFF2-40B4-BE49-F238E27FC236}">
                <a16:creationId xmlns:a16="http://schemas.microsoft.com/office/drawing/2014/main" id="{6857A933-0F5D-EB6F-6781-ACE4F612BDF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2A1F2F7-3255-A552-A703-7C9BCD3C4BA6}"/>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E85E7031-34AB-503C-140D-07A8A6D83D3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C4DEFCE-5A10-8D7A-C10A-5C24EDCFF87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EF1F7D3B-D3A1-0B66-4DFD-A89A8D4E2B45}"/>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A85DB6D6-86FE-E33C-DC95-D455C2CE5E29}"/>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353573046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6_4 Pink">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AB3FE475-1931-B109-EFE4-3720BF54E14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3" name="Text Placeholder 42">
            <a:extLst>
              <a:ext uri="{FF2B5EF4-FFF2-40B4-BE49-F238E27FC236}">
                <a16:creationId xmlns:a16="http://schemas.microsoft.com/office/drawing/2014/main" id="{3BE9A67A-102A-E929-31E0-F0D0CC335EC9}"/>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93B58AAF-D8C1-9617-A5D4-CDC9402055DA}"/>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25779410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8_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5990E264-5D0F-60E1-079B-4D9441DFD2FA}"/>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1F513913-81F1-BE35-BEE1-E4F3B331C19E}"/>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5A2E6516-E21C-B9AB-D96C-01D89E1C188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FC57D9E6-836B-E344-7053-C5B54572FBF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17B48FF2-DF34-2D2C-9133-C56D767AEE17}"/>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1375FC76-C462-9A2E-C6F5-6A7526FD32AB}"/>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206978740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5_4 Orange red">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34BF0FE-66B0-30DC-7C7E-0C60AC6208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11B8FE6-8F1C-8435-F33C-EE04C6A6A16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CBC8F3BE-DF4E-616F-9E87-42409E45FB76}"/>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2FA5559B-7244-EAEC-5F81-57659F883556}"/>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AFF766CE-D4C5-BFE0-469A-326AD36F781C}"/>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7ACCA25F-B787-0F46-0666-1B57C451AAD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B81A83BE-92CB-A003-33CB-370A0B1FEDFB}"/>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9766979B-27F4-3832-C379-C7CE5504EEA1}"/>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70068722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8_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EF5C81FB-4A41-2E38-2638-F82CC70C7B5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EA08C83F-D17C-0CF7-307E-6CDC00953C24}"/>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7AC91DB6-E398-955E-AA6E-6AE046DE8258}"/>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9550249-746C-7ECD-FED7-52893A37890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A8D2C2D-8FBB-781E-417F-B5D858DD4BB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471E5928-FBC9-0326-5B1E-1C9FC59A8BBF}"/>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FA5AC387-E045-8C0B-0800-541E816FDFDB}"/>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149913943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9_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5990E264-5D0F-60E1-079B-4D9441DFD2FA}"/>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1F513913-81F1-BE35-BEE1-E4F3B331C19E}"/>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5A2E6516-E21C-B9AB-D96C-01D89E1C188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FC57D9E6-836B-E344-7053-C5B54572FBF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17B48FF2-DF34-2D2C-9133-C56D767AEE17}"/>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1375FC76-C462-9A2E-C6F5-6A7526FD32AB}"/>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22146213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6_4 Orange red">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34BF0FE-66B0-30DC-7C7E-0C60AC6208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11B8FE6-8F1C-8435-F33C-EE04C6A6A16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CBC8F3BE-DF4E-616F-9E87-42409E45FB76}"/>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2FA5559B-7244-EAEC-5F81-57659F883556}"/>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AFF766CE-D4C5-BFE0-469A-326AD36F781C}"/>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7ACCA25F-B787-0F46-0666-1B57C451AAD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B81A83BE-92CB-A003-33CB-370A0B1FEDFB}"/>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9766979B-27F4-3832-C379-C7CE5504EEA1}"/>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25492721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13 Title slide with media 4 dark">
    <p:bg>
      <p:bgPr>
        <a:solidFill>
          <a:schemeClr val="tx1"/>
        </a:solidFill>
        <a:effectLst/>
      </p:bgPr>
    </p:bg>
    <p:spTree>
      <p:nvGrpSpPr>
        <p:cNvPr id="1" name=""/>
        <p:cNvGrpSpPr/>
        <p:nvPr/>
      </p:nvGrpSpPr>
      <p:grpSpPr>
        <a:xfrm>
          <a:off x="0" y="0"/>
          <a:ext cx="0" cy="0"/>
          <a:chOff x="0" y="0"/>
          <a:chExt cx="0" cy="0"/>
        </a:xfrm>
      </p:grpSpPr>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556801" y="527928"/>
            <a:ext cx="3294188"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556801" y="1019360"/>
            <a:ext cx="3294188"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556453" y="1680000"/>
            <a:ext cx="329418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sz="1600">
                <a:solidFill>
                  <a:schemeClr val="bg1"/>
                </a:solidFill>
              </a:defRPr>
            </a:lvl4pPr>
            <a:lvl5pPr marL="1199970" indent="-239994">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C663BDD0-396A-C130-FA04-231CB3C74388}"/>
              </a:ext>
            </a:extLst>
          </p:cNvPr>
          <p:cNvSpPr>
            <a:spLocks noGrp="1"/>
          </p:cNvSpPr>
          <p:nvPr>
            <p:ph type="pic" sz="quarter" idx="16" hasCustomPrompt="1"/>
          </p:nvPr>
        </p:nvSpPr>
        <p:spPr>
          <a:xfrm>
            <a:off x="4267200" y="0"/>
            <a:ext cx="79248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pic>
        <p:nvPicPr>
          <p:cNvPr id="3" name="Graphic 2">
            <a:extLst>
              <a:ext uri="{FF2B5EF4-FFF2-40B4-BE49-F238E27FC236}">
                <a16:creationId xmlns:a16="http://schemas.microsoft.com/office/drawing/2014/main" id="{E89A3CCB-3818-87A8-9032-448C77F620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6" name="TextBox 5">
            <a:extLst>
              <a:ext uri="{FF2B5EF4-FFF2-40B4-BE49-F238E27FC236}">
                <a16:creationId xmlns:a16="http://schemas.microsoft.com/office/drawing/2014/main" id="{2108539B-21D0-85E7-AB77-143ABD40EEB1}"/>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3F76E50B-EEF8-724F-1802-0488D70A46F4}"/>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7FC0E722-8D59-61D9-391E-65CCE154F81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0CF5A558-51C2-73A4-9D8C-5A3B7422BE46}"/>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73240046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9_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EF5C81FB-4A41-2E38-2638-F82CC70C7B5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7" name="TextBox 6">
            <a:extLst>
              <a:ext uri="{FF2B5EF4-FFF2-40B4-BE49-F238E27FC236}">
                <a16:creationId xmlns:a16="http://schemas.microsoft.com/office/drawing/2014/main" id="{EA08C83F-D17C-0CF7-307E-6CDC00953C24}"/>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7AC91DB6-E398-955E-AA6E-6AE046DE8258}"/>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9550249-746C-7ECD-FED7-52893A37890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A8D2C2D-8FBB-781E-417F-B5D858DD4BB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471E5928-FBC9-0326-5B1E-1C9FC59A8BBF}"/>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FA5AC387-E045-8C0B-0800-541E816FDFDB}"/>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230595337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6_4 Blu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3761BFBE-2F2E-2C4F-848A-E85051698111}"/>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282CE96B-0BCB-98A4-50DC-39176D0092D6}"/>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Tree>
    <p:extLst>
      <p:ext uri="{BB962C8B-B14F-4D97-AF65-F5344CB8AC3E}">
        <p14:creationId xmlns:p14="http://schemas.microsoft.com/office/powerpoint/2010/main" val="138318085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_3 N White">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674FB718-4590-313D-1532-FE817A22ACB4}"/>
              </a:ext>
            </a:extLst>
          </p:cNvPr>
          <p:cNvSpPr/>
          <p:nvPr/>
        </p:nvSpPr>
        <p:spPr>
          <a:xfrm>
            <a:off x="0" y="0"/>
            <a:ext cx="6859200" cy="6859200"/>
          </a:xfrm>
          <a:custGeom>
            <a:avLst/>
            <a:gdLst>
              <a:gd name="connsiteX0" fmla="*/ 0 w 5144400"/>
              <a:gd name="connsiteY0" fmla="*/ 0 h 5144400"/>
              <a:gd name="connsiteX1" fmla="*/ 5144400 w 5144400"/>
              <a:gd name="connsiteY1" fmla="*/ 0 h 5144400"/>
              <a:gd name="connsiteX2" fmla="*/ 5144400 w 5144400"/>
              <a:gd name="connsiteY2" fmla="*/ 5144400 h 5144400"/>
              <a:gd name="connsiteX3" fmla="*/ 0 w 5144400"/>
              <a:gd name="connsiteY3" fmla="*/ 5144400 h 5144400"/>
            </a:gdLst>
            <a:ahLst/>
            <a:cxnLst>
              <a:cxn ang="0">
                <a:pos x="connsiteX0" y="connsiteY0"/>
              </a:cxn>
              <a:cxn ang="0">
                <a:pos x="connsiteX1" y="connsiteY1"/>
              </a:cxn>
              <a:cxn ang="0">
                <a:pos x="connsiteX2" y="connsiteY2"/>
              </a:cxn>
              <a:cxn ang="0">
                <a:pos x="connsiteX3" y="connsiteY3"/>
              </a:cxn>
            </a:cxnLst>
            <a:rect l="l" t="t" r="r" b="b"/>
            <a:pathLst>
              <a:path w="5144400" h="5144400">
                <a:moveTo>
                  <a:pt x="0" y="0"/>
                </a:moveTo>
                <a:lnTo>
                  <a:pt x="5144400" y="0"/>
                </a:lnTo>
                <a:lnTo>
                  <a:pt x="5144400" y="5144400"/>
                </a:lnTo>
                <a:lnTo>
                  <a:pt x="0" y="5144400"/>
                </a:lnTo>
                <a:close/>
              </a:path>
            </a:pathLst>
          </a:custGeom>
          <a:noFill/>
          <a:ln w="26789" cap="flat">
            <a:noFill/>
            <a:prstDash val="solid"/>
            <a:miter/>
          </a:ln>
        </p:spPr>
        <p:txBody>
          <a:bodyPr rtlCol="0" anchor="ctr"/>
          <a:lstStyle/>
          <a:p>
            <a:endParaRPr lang="en-US" sz="3200"/>
          </a:p>
        </p:txBody>
      </p:sp>
      <p:sp>
        <p:nvSpPr>
          <p:cNvPr id="5" name="Freeform: Shape 4">
            <a:extLst>
              <a:ext uri="{FF2B5EF4-FFF2-40B4-BE49-F238E27FC236}">
                <a16:creationId xmlns:a16="http://schemas.microsoft.com/office/drawing/2014/main" id="{6585F427-7AA2-BA79-9FAB-3B20B348D66A}"/>
              </a:ext>
            </a:extLst>
          </p:cNvPr>
          <p:cNvSpPr/>
          <p:nvPr/>
        </p:nvSpPr>
        <p:spPr>
          <a:xfrm>
            <a:off x="0" y="-1200"/>
            <a:ext cx="6859200" cy="6859200"/>
          </a:xfrm>
          <a:custGeom>
            <a:avLst/>
            <a:gdLst>
              <a:gd name="connsiteX0" fmla="*/ 0 w 5144400"/>
              <a:gd name="connsiteY0" fmla="*/ 0 h 5144400"/>
              <a:gd name="connsiteX1" fmla="*/ 0 w 5144400"/>
              <a:gd name="connsiteY1" fmla="*/ 5144400 h 5144400"/>
              <a:gd name="connsiteX2" fmla="*/ 794971 w 5144400"/>
              <a:gd name="connsiteY2" fmla="*/ 5144400 h 5144400"/>
              <a:gd name="connsiteX3" fmla="*/ 794971 w 5144400"/>
              <a:gd name="connsiteY3" fmla="*/ 1741594 h 5144400"/>
              <a:gd name="connsiteX4" fmla="*/ 5144400 w 5144400"/>
              <a:gd name="connsiteY4" fmla="*/ 5144400 h 5144400"/>
              <a:gd name="connsiteX5" fmla="*/ 5144400 w 5144400"/>
              <a:gd name="connsiteY5" fmla="*/ 4142850 h 5144400"/>
              <a:gd name="connsiteX6" fmla="*/ 0 w 5144400"/>
              <a:gd name="connsiteY6" fmla="*/ 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4400" h="5144400">
                <a:moveTo>
                  <a:pt x="0" y="0"/>
                </a:moveTo>
                <a:lnTo>
                  <a:pt x="0" y="5144400"/>
                </a:lnTo>
                <a:cubicBezTo>
                  <a:pt x="0" y="5144400"/>
                  <a:pt x="794971" y="5144400"/>
                  <a:pt x="794971" y="5144400"/>
                </a:cubicBezTo>
                <a:lnTo>
                  <a:pt x="794971" y="1741594"/>
                </a:lnTo>
                <a:cubicBezTo>
                  <a:pt x="794971" y="1741594"/>
                  <a:pt x="5144400" y="5144400"/>
                  <a:pt x="5144400" y="5144400"/>
                </a:cubicBezTo>
                <a:lnTo>
                  <a:pt x="5144400" y="4142850"/>
                </a:lnTo>
                <a:lnTo>
                  <a:pt x="0" y="0"/>
                </a:lnTo>
                <a:close/>
              </a:path>
            </a:pathLst>
          </a:custGeom>
          <a:solidFill>
            <a:schemeClr val="accent1"/>
          </a:solidFill>
          <a:ln w="26789" cap="flat">
            <a:noFill/>
            <a:prstDash val="solid"/>
            <a:miter/>
          </a:ln>
        </p:spPr>
        <p:txBody>
          <a:bodyPr rtlCol="0" anchor="ctr"/>
          <a:lstStyle/>
          <a:p>
            <a:endParaRPr lang="en-US" sz="3200"/>
          </a:p>
        </p:txBody>
      </p:sp>
      <p:grpSp>
        <p:nvGrpSpPr>
          <p:cNvPr id="12" name="Graphic 3">
            <a:extLst>
              <a:ext uri="{FF2B5EF4-FFF2-40B4-BE49-F238E27FC236}">
                <a16:creationId xmlns:a16="http://schemas.microsoft.com/office/drawing/2014/main" id="{BBCFFB55-AEE0-B60F-9245-9C27632712D3}"/>
              </a:ext>
            </a:extLst>
          </p:cNvPr>
          <p:cNvGrpSpPr/>
          <p:nvPr userDrawn="1"/>
        </p:nvGrpSpPr>
        <p:grpSpPr>
          <a:xfrm>
            <a:off x="1649971" y="5976900"/>
            <a:ext cx="1817989" cy="409417"/>
            <a:chOff x="469958" y="1647414"/>
            <a:chExt cx="8205029" cy="1847802"/>
          </a:xfrm>
          <a:solidFill>
            <a:schemeClr val="accent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19" name="TextBox 18">
            <a:extLst>
              <a:ext uri="{FF2B5EF4-FFF2-40B4-BE49-F238E27FC236}">
                <a16:creationId xmlns:a16="http://schemas.microsoft.com/office/drawing/2014/main" id="{41F7AE0E-D196-9918-5EDB-E9F6D1F5BFCD}"/>
              </a:ext>
            </a:extLst>
          </p:cNvPr>
          <p:cNvSpPr txBox="1"/>
          <p:nvPr userDrawn="1"/>
        </p:nvSpPr>
        <p:spPr>
          <a:xfrm>
            <a:off x="10793087"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0" name="Slide Number Placeholder 5">
            <a:extLst>
              <a:ext uri="{FF2B5EF4-FFF2-40B4-BE49-F238E27FC236}">
                <a16:creationId xmlns:a16="http://schemas.microsoft.com/office/drawing/2014/main" id="{CE77B206-49F7-2B3D-46F6-5783EB06549D}"/>
              </a:ext>
            </a:extLst>
          </p:cNvPr>
          <p:cNvSpPr txBox="1">
            <a:spLocks/>
          </p:cNvSpPr>
          <p:nvPr userDrawn="1"/>
        </p:nvSpPr>
        <p:spPr>
          <a:xfrm>
            <a:off x="10445185"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Title 4">
            <a:extLst>
              <a:ext uri="{FF2B5EF4-FFF2-40B4-BE49-F238E27FC236}">
                <a16:creationId xmlns:a16="http://schemas.microsoft.com/office/drawing/2014/main" id="{D3CDCE65-9D09-8014-E0D4-FA37C5A40921}"/>
              </a:ext>
            </a:extLst>
          </p:cNvPr>
          <p:cNvSpPr>
            <a:spLocks noGrp="1"/>
          </p:cNvSpPr>
          <p:nvPr>
            <p:ph type="title" hasCustomPrompt="1"/>
          </p:nvPr>
        </p:nvSpPr>
        <p:spPr>
          <a:xfrm>
            <a:off x="5107197" y="959733"/>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22" name="Text Placeholder 3">
            <a:extLst>
              <a:ext uri="{FF2B5EF4-FFF2-40B4-BE49-F238E27FC236}">
                <a16:creationId xmlns:a16="http://schemas.microsoft.com/office/drawing/2014/main" id="{450AD0AE-26A9-7041-BAC9-7726260DC45A}"/>
              </a:ext>
            </a:extLst>
          </p:cNvPr>
          <p:cNvSpPr>
            <a:spLocks noGrp="1"/>
          </p:cNvSpPr>
          <p:nvPr>
            <p:ph type="body" sz="quarter" idx="12" hasCustomPrompt="1"/>
          </p:nvPr>
        </p:nvSpPr>
        <p:spPr>
          <a:xfrm>
            <a:off x="5107199" y="2834798"/>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168559120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4_3 O Blue green">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8A7CBB0-A767-7247-8638-81BC366967B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7BBDEA00-FE7A-639E-C16F-BC5E3DBD8FD3}"/>
              </a:ext>
            </a:extLst>
          </p:cNvPr>
          <p:cNvGrpSpPr/>
          <p:nvPr userDrawn="1"/>
        </p:nvGrpSpPr>
        <p:grpSpPr>
          <a:xfrm>
            <a:off x="9308198" y="3224292"/>
            <a:ext cx="1817989" cy="409417"/>
            <a:chOff x="469958" y="1647414"/>
            <a:chExt cx="8205029" cy="1847802"/>
          </a:xfrm>
          <a:solidFill>
            <a:schemeClr val="bg1"/>
          </a:solidFill>
        </p:grpSpPr>
        <p:sp>
          <p:nvSpPr>
            <p:cNvPr id="4" name="Freeform 24">
              <a:extLst>
                <a:ext uri="{FF2B5EF4-FFF2-40B4-BE49-F238E27FC236}">
                  <a16:creationId xmlns:a16="http://schemas.microsoft.com/office/drawing/2014/main" id="{0B5F76F9-295B-59E5-BDCF-8B6840E5B5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5" name="Freeform 25">
              <a:extLst>
                <a:ext uri="{FF2B5EF4-FFF2-40B4-BE49-F238E27FC236}">
                  <a16:creationId xmlns:a16="http://schemas.microsoft.com/office/drawing/2014/main" id="{B473941B-CE77-6414-782E-B5933651166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6" name="Freeform 26">
              <a:extLst>
                <a:ext uri="{FF2B5EF4-FFF2-40B4-BE49-F238E27FC236}">
                  <a16:creationId xmlns:a16="http://schemas.microsoft.com/office/drawing/2014/main" id="{03FCE4B1-384C-92A9-F114-45634B67A11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8" name="Freeform 27">
              <a:extLst>
                <a:ext uri="{FF2B5EF4-FFF2-40B4-BE49-F238E27FC236}">
                  <a16:creationId xmlns:a16="http://schemas.microsoft.com/office/drawing/2014/main" id="{16718376-BEBA-6EC2-B9BA-05AEA785303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12" name="Freeform 28">
              <a:extLst>
                <a:ext uri="{FF2B5EF4-FFF2-40B4-BE49-F238E27FC236}">
                  <a16:creationId xmlns:a16="http://schemas.microsoft.com/office/drawing/2014/main" id="{55E96EEC-F984-9065-5EAC-AF9297B31DF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pic>
        <p:nvPicPr>
          <p:cNvPr id="13" name="Graphic 12">
            <a:extLst>
              <a:ext uri="{FF2B5EF4-FFF2-40B4-BE49-F238E27FC236}">
                <a16:creationId xmlns:a16="http://schemas.microsoft.com/office/drawing/2014/main" id="{8CEF710E-39E1-082B-B52C-E37B4EEF550E}"/>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1" y="-6395"/>
            <a:ext cx="5356300" cy="6859200"/>
          </a:xfrm>
          <a:prstGeom prst="rect">
            <a:avLst/>
          </a:prstGeom>
        </p:spPr>
      </p:pic>
      <p:sp>
        <p:nvSpPr>
          <p:cNvPr id="9" name="Title 4">
            <a:extLst>
              <a:ext uri="{FF2B5EF4-FFF2-40B4-BE49-F238E27FC236}">
                <a16:creationId xmlns:a16="http://schemas.microsoft.com/office/drawing/2014/main" id="{9A3B12B3-A799-7EB4-75DA-BC0A7D70161D}"/>
              </a:ext>
            </a:extLst>
          </p:cNvPr>
          <p:cNvSpPr>
            <a:spLocks noGrp="1"/>
          </p:cNvSpPr>
          <p:nvPr>
            <p:ph type="title" hasCustomPrompt="1"/>
          </p:nvPr>
        </p:nvSpPr>
        <p:spPr>
          <a:xfrm>
            <a:off x="556708" y="1200000"/>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0" name="Text Placeholder 3">
            <a:extLst>
              <a:ext uri="{FF2B5EF4-FFF2-40B4-BE49-F238E27FC236}">
                <a16:creationId xmlns:a16="http://schemas.microsoft.com/office/drawing/2014/main" id="{BEDD8338-5A64-469A-E2DB-DF91FC185624}"/>
              </a:ext>
            </a:extLst>
          </p:cNvPr>
          <p:cNvSpPr>
            <a:spLocks noGrp="1"/>
          </p:cNvSpPr>
          <p:nvPr>
            <p:ph type="body" sz="quarter" idx="12" hasCustomPrompt="1"/>
          </p:nvPr>
        </p:nvSpPr>
        <p:spPr>
          <a:xfrm>
            <a:off x="556708" y="3120001"/>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8" name="TextBox 17">
            <a:extLst>
              <a:ext uri="{FF2B5EF4-FFF2-40B4-BE49-F238E27FC236}">
                <a16:creationId xmlns:a16="http://schemas.microsoft.com/office/drawing/2014/main" id="{8BB79C81-C7D6-4DE3-0A04-D7E02DD8C66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A910EA0-FECD-D7DE-120C-8BC301ED58FF}"/>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208738174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4_3 O Blue pink">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6" name="Graphic 3">
            <a:extLst>
              <a:ext uri="{FF2B5EF4-FFF2-40B4-BE49-F238E27FC236}">
                <a16:creationId xmlns:a16="http://schemas.microsoft.com/office/drawing/2014/main" id="{7ADBC276-24FC-31B1-198D-D0A0EB5188BB}"/>
              </a:ext>
            </a:extLst>
          </p:cNvPr>
          <p:cNvGrpSpPr/>
          <p:nvPr userDrawn="1"/>
        </p:nvGrpSpPr>
        <p:grpSpPr>
          <a:xfrm>
            <a:off x="9308198" y="3224292"/>
            <a:ext cx="1817989" cy="409417"/>
            <a:chOff x="469958" y="1647414"/>
            <a:chExt cx="8205029" cy="1847802"/>
          </a:xfrm>
          <a:solidFill>
            <a:schemeClr val="bg1"/>
          </a:solidFill>
        </p:grpSpPr>
        <p:sp>
          <p:nvSpPr>
            <p:cNvPr id="7" name="Freeform 24">
              <a:extLst>
                <a:ext uri="{FF2B5EF4-FFF2-40B4-BE49-F238E27FC236}">
                  <a16:creationId xmlns:a16="http://schemas.microsoft.com/office/drawing/2014/main" id="{CDDE8834-7F71-A488-29A8-540395324479}"/>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8" name="Freeform 25">
              <a:extLst>
                <a:ext uri="{FF2B5EF4-FFF2-40B4-BE49-F238E27FC236}">
                  <a16:creationId xmlns:a16="http://schemas.microsoft.com/office/drawing/2014/main" id="{FEFA04F6-2C3F-3E38-9E08-D6990D946A8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9" name="Freeform 26">
              <a:extLst>
                <a:ext uri="{FF2B5EF4-FFF2-40B4-BE49-F238E27FC236}">
                  <a16:creationId xmlns:a16="http://schemas.microsoft.com/office/drawing/2014/main" id="{54253727-9053-862A-19CB-32DD1616812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12" name="Freeform 27">
              <a:extLst>
                <a:ext uri="{FF2B5EF4-FFF2-40B4-BE49-F238E27FC236}">
                  <a16:creationId xmlns:a16="http://schemas.microsoft.com/office/drawing/2014/main" id="{6E5204B2-3785-90DB-45F2-F73CC497595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13" name="Freeform 28">
              <a:extLst>
                <a:ext uri="{FF2B5EF4-FFF2-40B4-BE49-F238E27FC236}">
                  <a16:creationId xmlns:a16="http://schemas.microsoft.com/office/drawing/2014/main" id="{95BC05DD-4D63-F05A-843F-EE491020FFD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pic>
        <p:nvPicPr>
          <p:cNvPr id="14" name="Graphic 13">
            <a:extLst>
              <a:ext uri="{FF2B5EF4-FFF2-40B4-BE49-F238E27FC236}">
                <a16:creationId xmlns:a16="http://schemas.microsoft.com/office/drawing/2014/main" id="{F41E3DBD-A4E2-6EF5-8073-EED87395D745}"/>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1" y="-6395"/>
            <a:ext cx="5356300" cy="6859200"/>
          </a:xfrm>
          <a:prstGeom prst="rect">
            <a:avLst/>
          </a:prstGeom>
        </p:spPr>
      </p:pic>
      <p:sp>
        <p:nvSpPr>
          <p:cNvPr id="11" name="TextBox 10">
            <a:extLst>
              <a:ext uri="{FF2B5EF4-FFF2-40B4-BE49-F238E27FC236}">
                <a16:creationId xmlns:a16="http://schemas.microsoft.com/office/drawing/2014/main" id="{79647D8A-35E4-5375-137D-AE3FBB59F9F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17E9E3A5-43FE-813E-B36E-00A287E16B3E}"/>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Title 4">
            <a:extLst>
              <a:ext uri="{FF2B5EF4-FFF2-40B4-BE49-F238E27FC236}">
                <a16:creationId xmlns:a16="http://schemas.microsoft.com/office/drawing/2014/main" id="{CA265AEB-E893-7C5A-2089-F8668DD28ED9}"/>
              </a:ext>
            </a:extLst>
          </p:cNvPr>
          <p:cNvSpPr>
            <a:spLocks noGrp="1"/>
          </p:cNvSpPr>
          <p:nvPr>
            <p:ph type="title" hasCustomPrompt="1"/>
          </p:nvPr>
        </p:nvSpPr>
        <p:spPr>
          <a:xfrm>
            <a:off x="556708" y="1200000"/>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9" name="Text Placeholder 3">
            <a:extLst>
              <a:ext uri="{FF2B5EF4-FFF2-40B4-BE49-F238E27FC236}">
                <a16:creationId xmlns:a16="http://schemas.microsoft.com/office/drawing/2014/main" id="{89A21839-5A3E-48C8-8C8A-66E6CF919C97}"/>
              </a:ext>
            </a:extLst>
          </p:cNvPr>
          <p:cNvSpPr>
            <a:spLocks noGrp="1"/>
          </p:cNvSpPr>
          <p:nvPr>
            <p:ph type="body" sz="quarter" idx="12" hasCustomPrompt="1"/>
          </p:nvPr>
        </p:nvSpPr>
        <p:spPr>
          <a:xfrm>
            <a:off x="556708" y="3120001"/>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26047306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4_3 O Blue green 2">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9308198" y="3224292"/>
            <a:ext cx="1817989" cy="409417"/>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1" y="-6395"/>
            <a:ext cx="5356300" cy="6859200"/>
          </a:xfrm>
          <a:prstGeom prst="rect">
            <a:avLst/>
          </a:prstGeom>
        </p:spPr>
      </p:pic>
      <p:sp>
        <p:nvSpPr>
          <p:cNvPr id="4" name="TextBox 3">
            <a:extLst>
              <a:ext uri="{FF2B5EF4-FFF2-40B4-BE49-F238E27FC236}">
                <a16:creationId xmlns:a16="http://schemas.microsoft.com/office/drawing/2014/main" id="{5054EB9F-8927-A3FE-8B84-2A5DA2E7EB1F}"/>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E1049C86-481E-BCA9-382A-A561EA22CA19}"/>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6" name="Title 4">
            <a:extLst>
              <a:ext uri="{FF2B5EF4-FFF2-40B4-BE49-F238E27FC236}">
                <a16:creationId xmlns:a16="http://schemas.microsoft.com/office/drawing/2014/main" id="{D06AC820-889D-342D-C4F1-65579046FEB3}"/>
              </a:ext>
            </a:extLst>
          </p:cNvPr>
          <p:cNvSpPr>
            <a:spLocks noGrp="1"/>
          </p:cNvSpPr>
          <p:nvPr>
            <p:ph type="title" hasCustomPrompt="1"/>
          </p:nvPr>
        </p:nvSpPr>
        <p:spPr>
          <a:xfrm>
            <a:off x="556708" y="1200000"/>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0" name="Text Placeholder 3">
            <a:extLst>
              <a:ext uri="{FF2B5EF4-FFF2-40B4-BE49-F238E27FC236}">
                <a16:creationId xmlns:a16="http://schemas.microsoft.com/office/drawing/2014/main" id="{38C0E4A4-2F9E-C493-382A-9CBF0ED8AD5E}"/>
              </a:ext>
            </a:extLst>
          </p:cNvPr>
          <p:cNvSpPr>
            <a:spLocks noGrp="1"/>
          </p:cNvSpPr>
          <p:nvPr>
            <p:ph type="body" sz="quarter" idx="12" hasCustomPrompt="1"/>
          </p:nvPr>
        </p:nvSpPr>
        <p:spPr>
          <a:xfrm>
            <a:off x="556708" y="3120001"/>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167241274"/>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3 O White">
    <p:spTree>
      <p:nvGrpSpPr>
        <p:cNvPr id="1" name=""/>
        <p:cNvGrpSpPr/>
        <p:nvPr/>
      </p:nvGrpSpPr>
      <p:grpSpPr>
        <a:xfrm>
          <a:off x="0" y="0"/>
          <a:ext cx="0" cy="0"/>
          <a:chOff x="0" y="0"/>
          <a:chExt cx="0" cy="0"/>
        </a:xfrm>
      </p:grpSpPr>
      <p:grpSp>
        <p:nvGrpSpPr>
          <p:cNvPr id="7" name="Graphic 3">
            <a:extLst>
              <a:ext uri="{FF2B5EF4-FFF2-40B4-BE49-F238E27FC236}">
                <a16:creationId xmlns:a16="http://schemas.microsoft.com/office/drawing/2014/main" id="{57ADD6F0-8A1D-2465-892B-42BFF999186F}"/>
              </a:ext>
            </a:extLst>
          </p:cNvPr>
          <p:cNvGrpSpPr/>
          <p:nvPr userDrawn="1"/>
        </p:nvGrpSpPr>
        <p:grpSpPr>
          <a:xfrm>
            <a:off x="9407771" y="3224292"/>
            <a:ext cx="1817989" cy="409417"/>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pic>
        <p:nvPicPr>
          <p:cNvPr id="20" name="Picture 19" descr="Circle&#10;&#10;Description automatically generated with medium confidence">
            <a:extLst>
              <a:ext uri="{FF2B5EF4-FFF2-40B4-BE49-F238E27FC236}">
                <a16:creationId xmlns:a16="http://schemas.microsoft.com/office/drawing/2014/main" id="{87D5AF06-6AF8-9002-BEDC-176CB57496A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25084"/>
          <a:stretch/>
        </p:blipFill>
        <p:spPr>
          <a:xfrm>
            <a:off x="6835701" y="0"/>
            <a:ext cx="5356300" cy="6858000"/>
          </a:xfrm>
          <a:prstGeom prst="rect">
            <a:avLst/>
          </a:prstGeom>
        </p:spPr>
      </p:pic>
      <p:sp>
        <p:nvSpPr>
          <p:cNvPr id="5" name="TextBox 4">
            <a:extLst>
              <a:ext uri="{FF2B5EF4-FFF2-40B4-BE49-F238E27FC236}">
                <a16:creationId xmlns:a16="http://schemas.microsoft.com/office/drawing/2014/main" id="{0A7A7115-EA83-4FF6-C9AA-23524B051F64}"/>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74832A1-1A29-5A85-3CD7-02108B35D949}"/>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4" name="Title 4">
            <a:extLst>
              <a:ext uri="{FF2B5EF4-FFF2-40B4-BE49-F238E27FC236}">
                <a16:creationId xmlns:a16="http://schemas.microsoft.com/office/drawing/2014/main" id="{2EB43E8F-27C8-8759-7A98-CAA935E7823A}"/>
              </a:ext>
            </a:extLst>
          </p:cNvPr>
          <p:cNvSpPr>
            <a:spLocks noGrp="1"/>
          </p:cNvSpPr>
          <p:nvPr>
            <p:ph type="title" hasCustomPrompt="1"/>
          </p:nvPr>
        </p:nvSpPr>
        <p:spPr>
          <a:xfrm>
            <a:off x="556708" y="1200000"/>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15" name="Text Placeholder 3">
            <a:extLst>
              <a:ext uri="{FF2B5EF4-FFF2-40B4-BE49-F238E27FC236}">
                <a16:creationId xmlns:a16="http://schemas.microsoft.com/office/drawing/2014/main" id="{CE8D2D46-B066-616E-7306-CE64233C730C}"/>
              </a:ext>
            </a:extLst>
          </p:cNvPr>
          <p:cNvSpPr>
            <a:spLocks noGrp="1"/>
          </p:cNvSpPr>
          <p:nvPr>
            <p:ph type="body" sz="quarter" idx="12" hasCustomPrompt="1"/>
          </p:nvPr>
        </p:nvSpPr>
        <p:spPr>
          <a:xfrm>
            <a:off x="556708" y="3120001"/>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7446778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4_3 K Red orange">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38FCEB48-BE41-308F-33AB-94163C02BF5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10" name="Graphic 9">
            <a:extLst>
              <a:ext uri="{FF2B5EF4-FFF2-40B4-BE49-F238E27FC236}">
                <a16:creationId xmlns:a16="http://schemas.microsoft.com/office/drawing/2014/main" id="{193793F7-1073-3781-E44D-DD541B786672}"/>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sp>
        <p:nvSpPr>
          <p:cNvPr id="17" name="Title 4">
            <a:extLst>
              <a:ext uri="{FF2B5EF4-FFF2-40B4-BE49-F238E27FC236}">
                <a16:creationId xmlns:a16="http://schemas.microsoft.com/office/drawing/2014/main" id="{4A761E77-5CBD-451F-FA38-EA3EF19CE9E8}"/>
              </a:ext>
            </a:extLst>
          </p:cNvPr>
          <p:cNvSpPr>
            <a:spLocks noGrp="1"/>
          </p:cNvSpPr>
          <p:nvPr>
            <p:ph type="title" hasCustomPrompt="1"/>
          </p:nvPr>
        </p:nvSpPr>
        <p:spPr>
          <a:xfrm>
            <a:off x="556708" y="2179565"/>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8" name="Text Placeholder 3">
            <a:extLst>
              <a:ext uri="{FF2B5EF4-FFF2-40B4-BE49-F238E27FC236}">
                <a16:creationId xmlns:a16="http://schemas.microsoft.com/office/drawing/2014/main" id="{1349CF4D-C3F5-69B9-4227-EC331C16F094}"/>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6" name="Graphic 3">
            <a:extLst>
              <a:ext uri="{FF2B5EF4-FFF2-40B4-BE49-F238E27FC236}">
                <a16:creationId xmlns:a16="http://schemas.microsoft.com/office/drawing/2014/main" id="{5A3F8AE7-69F1-0171-3222-4CFFCDB4F568}"/>
              </a:ext>
            </a:extLst>
          </p:cNvPr>
          <p:cNvGrpSpPr/>
          <p:nvPr userDrawn="1"/>
        </p:nvGrpSpPr>
        <p:grpSpPr>
          <a:xfrm>
            <a:off x="9407771" y="3224292"/>
            <a:ext cx="1817989" cy="409417"/>
            <a:chOff x="469958" y="1647414"/>
            <a:chExt cx="8205029" cy="1847802"/>
          </a:xfrm>
          <a:solidFill>
            <a:schemeClr val="bg1"/>
          </a:solidFill>
        </p:grpSpPr>
        <p:sp>
          <p:nvSpPr>
            <p:cNvPr id="7" name="Freeform 25">
              <a:extLst>
                <a:ext uri="{FF2B5EF4-FFF2-40B4-BE49-F238E27FC236}">
                  <a16:creationId xmlns:a16="http://schemas.microsoft.com/office/drawing/2014/main" id="{0DE2A214-8055-F089-C6C4-415D2FEE42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8" name="Freeform 31">
              <a:extLst>
                <a:ext uri="{FF2B5EF4-FFF2-40B4-BE49-F238E27FC236}">
                  <a16:creationId xmlns:a16="http://schemas.microsoft.com/office/drawing/2014/main" id="{E7E7B380-ABE2-70DF-A29A-E3B4A181FA12}"/>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9" name="Freeform 32">
              <a:extLst>
                <a:ext uri="{FF2B5EF4-FFF2-40B4-BE49-F238E27FC236}">
                  <a16:creationId xmlns:a16="http://schemas.microsoft.com/office/drawing/2014/main" id="{ED784E94-97A9-B627-1E07-7CAEF44EE8A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1" name="Freeform 33">
              <a:extLst>
                <a:ext uri="{FF2B5EF4-FFF2-40B4-BE49-F238E27FC236}">
                  <a16:creationId xmlns:a16="http://schemas.microsoft.com/office/drawing/2014/main" id="{31E44308-7765-3146-1869-04D3DA41235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4">
              <a:extLst>
                <a:ext uri="{FF2B5EF4-FFF2-40B4-BE49-F238E27FC236}">
                  <a16:creationId xmlns:a16="http://schemas.microsoft.com/office/drawing/2014/main" id="{5E9E56FD-C856-3054-AB6B-A80BA7D6C55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2" name="TextBox 1">
            <a:extLst>
              <a:ext uri="{FF2B5EF4-FFF2-40B4-BE49-F238E27FC236}">
                <a16:creationId xmlns:a16="http://schemas.microsoft.com/office/drawing/2014/main" id="{DF372165-1480-FF4B-FD8E-0169E8CD1957}"/>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885AEDB-ED41-584E-391C-1747DAD5043C}"/>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79758540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6_3 K Blue">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8FF1A58D-53A4-65F6-8F2B-645D65C533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5166BBE5-C86E-3E87-A7C5-F29BE64D716D}"/>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grpSp>
        <p:nvGrpSpPr>
          <p:cNvPr id="7" name="Graphic 3">
            <a:extLst>
              <a:ext uri="{FF2B5EF4-FFF2-40B4-BE49-F238E27FC236}">
                <a16:creationId xmlns:a16="http://schemas.microsoft.com/office/drawing/2014/main" id="{47BEB086-B161-40ED-B2E3-DDF397278FA8}"/>
              </a:ext>
            </a:extLst>
          </p:cNvPr>
          <p:cNvGrpSpPr/>
          <p:nvPr userDrawn="1"/>
        </p:nvGrpSpPr>
        <p:grpSpPr>
          <a:xfrm>
            <a:off x="9407771" y="3224292"/>
            <a:ext cx="1817989" cy="409417"/>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6" name="TextBox 5">
            <a:extLst>
              <a:ext uri="{FF2B5EF4-FFF2-40B4-BE49-F238E27FC236}">
                <a16:creationId xmlns:a16="http://schemas.microsoft.com/office/drawing/2014/main" id="{D8B4807D-C6CB-B42F-7CAC-4B1E0264A613}"/>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7A5600B8-EF33-4C46-87E9-1A51B9580A90}"/>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Title 4">
            <a:extLst>
              <a:ext uri="{FF2B5EF4-FFF2-40B4-BE49-F238E27FC236}">
                <a16:creationId xmlns:a16="http://schemas.microsoft.com/office/drawing/2014/main" id="{651B7E9D-D552-81A8-07CE-C85143F970BC}"/>
              </a:ext>
            </a:extLst>
          </p:cNvPr>
          <p:cNvSpPr>
            <a:spLocks noGrp="1"/>
          </p:cNvSpPr>
          <p:nvPr>
            <p:ph type="title" hasCustomPrompt="1"/>
          </p:nvPr>
        </p:nvSpPr>
        <p:spPr>
          <a:xfrm>
            <a:off x="556708" y="2179565"/>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6" name="Text Placeholder 3">
            <a:extLst>
              <a:ext uri="{FF2B5EF4-FFF2-40B4-BE49-F238E27FC236}">
                <a16:creationId xmlns:a16="http://schemas.microsoft.com/office/drawing/2014/main" id="{2BF972D4-3000-87A0-9E6C-C622A2B7C6C0}"/>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46802696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7_3 K Blu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3797EE9-5364-FAE7-B29C-8C7E9DCF2A68}"/>
              </a:ext>
            </a:extLst>
          </p:cNvPr>
          <p:cNvPicPr preferRelativeResize="0">
            <a:picLocks/>
          </p:cNvPicPr>
          <p:nvPr userDrawn="1"/>
        </p:nvPicPr>
        <p:blipFill>
          <a:blip r:embed="rId2">
            <a:extLst>
              <a:ext uri="{28A0092B-C50C-407E-A947-70E740481C1C}">
                <a14:useLocalDpi xmlns:a14="http://schemas.microsoft.com/office/drawing/2010/main" val="0"/>
              </a:ext>
            </a:extLst>
          </a:blip>
          <a:srcRect/>
          <a:stretch/>
        </p:blipFill>
        <p:spPr>
          <a:xfrm>
            <a:off x="0" y="1"/>
            <a:ext cx="12192000" cy="6858000"/>
          </a:xfrm>
          <a:prstGeom prst="rect">
            <a:avLst/>
          </a:prstGeom>
        </p:spPr>
      </p:pic>
      <p:grpSp>
        <p:nvGrpSpPr>
          <p:cNvPr id="7" name="Graphic 3">
            <a:extLst>
              <a:ext uri="{FF2B5EF4-FFF2-40B4-BE49-F238E27FC236}">
                <a16:creationId xmlns:a16="http://schemas.microsoft.com/office/drawing/2014/main" id="{47BEB086-B161-40ED-B2E3-DDF397278FA8}"/>
              </a:ext>
            </a:extLst>
          </p:cNvPr>
          <p:cNvGrpSpPr/>
          <p:nvPr userDrawn="1"/>
        </p:nvGrpSpPr>
        <p:grpSpPr>
          <a:xfrm>
            <a:off x="9407771" y="3224292"/>
            <a:ext cx="1817989" cy="409417"/>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15" name="Title 4">
            <a:extLst>
              <a:ext uri="{FF2B5EF4-FFF2-40B4-BE49-F238E27FC236}">
                <a16:creationId xmlns:a16="http://schemas.microsoft.com/office/drawing/2014/main" id="{651B7E9D-D552-81A8-07CE-C85143F970BC}"/>
              </a:ext>
            </a:extLst>
          </p:cNvPr>
          <p:cNvSpPr>
            <a:spLocks noGrp="1"/>
          </p:cNvSpPr>
          <p:nvPr>
            <p:ph type="title" hasCustomPrompt="1"/>
          </p:nvPr>
        </p:nvSpPr>
        <p:spPr>
          <a:xfrm>
            <a:off x="556708" y="674038"/>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Life in the fast lane</a:t>
            </a:r>
          </a:p>
        </p:txBody>
      </p:sp>
    </p:spTree>
    <p:extLst>
      <p:ext uri="{BB962C8B-B14F-4D97-AF65-F5344CB8AC3E}">
        <p14:creationId xmlns:p14="http://schemas.microsoft.com/office/powerpoint/2010/main" val="37125725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N Blue green">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A97BECFD-8EA7-0689-338E-FF79734814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Graphic 5">
            <a:extLst>
              <a:ext uri="{FF2B5EF4-FFF2-40B4-BE49-F238E27FC236}">
                <a16:creationId xmlns:a16="http://schemas.microsoft.com/office/drawing/2014/main" id="{B8976C7B-2688-70F3-77A4-4D1113FB54E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6859200" cy="6859200"/>
          </a:xfrm>
          <a:prstGeom prst="rect">
            <a:avLst/>
          </a:prstGeom>
        </p:spPr>
      </p:pic>
      <p:grpSp>
        <p:nvGrpSpPr>
          <p:cNvPr id="10" name="Graphic 3">
            <a:extLst>
              <a:ext uri="{FF2B5EF4-FFF2-40B4-BE49-F238E27FC236}">
                <a16:creationId xmlns:a16="http://schemas.microsoft.com/office/drawing/2014/main" id="{49D9392C-9E29-427F-3C29-C64146E898C7}"/>
              </a:ext>
            </a:extLst>
          </p:cNvPr>
          <p:cNvGrpSpPr/>
          <p:nvPr userDrawn="1"/>
        </p:nvGrpSpPr>
        <p:grpSpPr>
          <a:xfrm>
            <a:off x="1649971" y="5976900"/>
            <a:ext cx="1817989" cy="409417"/>
            <a:chOff x="469958" y="1647414"/>
            <a:chExt cx="8205029" cy="1847802"/>
          </a:xfrm>
          <a:solidFill>
            <a:schemeClr val="bg1"/>
          </a:solidFill>
        </p:grpSpPr>
        <p:sp>
          <p:nvSpPr>
            <p:cNvPr id="11" name="Freeform 33">
              <a:extLst>
                <a:ext uri="{FF2B5EF4-FFF2-40B4-BE49-F238E27FC236}">
                  <a16:creationId xmlns:a16="http://schemas.microsoft.com/office/drawing/2014/main" id="{86483177-9ABF-3F5C-ED1D-16C01EEE37C3}"/>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97C96119-D9F7-8022-5694-A13E7950B52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3" name="Freeform 35">
              <a:extLst>
                <a:ext uri="{FF2B5EF4-FFF2-40B4-BE49-F238E27FC236}">
                  <a16:creationId xmlns:a16="http://schemas.microsoft.com/office/drawing/2014/main" id="{247CB589-C660-36A6-BF29-1327034A981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6">
              <a:extLst>
                <a:ext uri="{FF2B5EF4-FFF2-40B4-BE49-F238E27FC236}">
                  <a16:creationId xmlns:a16="http://schemas.microsoft.com/office/drawing/2014/main" id="{2B915696-0B26-9206-B2E7-93708805BDBC}"/>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7">
              <a:extLst>
                <a:ext uri="{FF2B5EF4-FFF2-40B4-BE49-F238E27FC236}">
                  <a16:creationId xmlns:a16="http://schemas.microsoft.com/office/drawing/2014/main" id="{AA3A0836-5277-7254-E598-6DE9FA1A526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5" name="Title 4">
            <a:extLst>
              <a:ext uri="{FF2B5EF4-FFF2-40B4-BE49-F238E27FC236}">
                <a16:creationId xmlns:a16="http://schemas.microsoft.com/office/drawing/2014/main" id="{1EF87F37-41EC-F109-B4C3-D44EE53A0A05}"/>
              </a:ext>
            </a:extLst>
          </p:cNvPr>
          <p:cNvSpPr>
            <a:spLocks noGrp="1"/>
          </p:cNvSpPr>
          <p:nvPr>
            <p:ph type="title" hasCustomPrompt="1"/>
          </p:nvPr>
        </p:nvSpPr>
        <p:spPr>
          <a:xfrm>
            <a:off x="5107197" y="959733"/>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7" name="Text Placeholder 3">
            <a:extLst>
              <a:ext uri="{FF2B5EF4-FFF2-40B4-BE49-F238E27FC236}">
                <a16:creationId xmlns:a16="http://schemas.microsoft.com/office/drawing/2014/main" id="{3D32AC0D-5511-1F2D-2A28-C259AC8BC58A}"/>
              </a:ext>
            </a:extLst>
          </p:cNvPr>
          <p:cNvSpPr>
            <a:spLocks noGrp="1"/>
          </p:cNvSpPr>
          <p:nvPr>
            <p:ph type="body" sz="quarter" idx="12" hasCustomPrompt="1"/>
          </p:nvPr>
        </p:nvSpPr>
        <p:spPr>
          <a:xfrm>
            <a:off x="5107199" y="2834798"/>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8" name="TextBox 17">
            <a:extLst>
              <a:ext uri="{FF2B5EF4-FFF2-40B4-BE49-F238E27FC236}">
                <a16:creationId xmlns:a16="http://schemas.microsoft.com/office/drawing/2014/main" id="{3CB10A0F-2286-895A-B579-CB5D4386A2B7}"/>
              </a:ext>
            </a:extLst>
          </p:cNvPr>
          <p:cNvSpPr txBox="1"/>
          <p:nvPr userDrawn="1"/>
        </p:nvSpPr>
        <p:spPr>
          <a:xfrm>
            <a:off x="10793087"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AAD2976-396D-426A-A7C0-2D53F71491E3}"/>
              </a:ext>
            </a:extLst>
          </p:cNvPr>
          <p:cNvSpPr txBox="1">
            <a:spLocks/>
          </p:cNvSpPr>
          <p:nvPr userDrawn="1"/>
        </p:nvSpPr>
        <p:spPr>
          <a:xfrm>
            <a:off x="10445185"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181217007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4_3 K Pin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C0B63B-5EB2-C517-FFAF-0A5B2B5AB93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grpSp>
        <p:nvGrpSpPr>
          <p:cNvPr id="8" name="Graphic 3">
            <a:extLst>
              <a:ext uri="{FF2B5EF4-FFF2-40B4-BE49-F238E27FC236}">
                <a16:creationId xmlns:a16="http://schemas.microsoft.com/office/drawing/2014/main" id="{02491239-1144-EB94-E007-F05D770D71DA}"/>
              </a:ext>
            </a:extLst>
          </p:cNvPr>
          <p:cNvGrpSpPr/>
          <p:nvPr userDrawn="1"/>
        </p:nvGrpSpPr>
        <p:grpSpPr>
          <a:xfrm>
            <a:off x="9407771" y="3224292"/>
            <a:ext cx="1817989" cy="409417"/>
            <a:chOff x="469958" y="1647414"/>
            <a:chExt cx="8205029" cy="1847802"/>
          </a:xfrm>
          <a:solidFill>
            <a:schemeClr val="bg1"/>
          </a:solidFill>
        </p:grpSpPr>
        <p:sp>
          <p:nvSpPr>
            <p:cNvPr id="9" name="Freeform 25">
              <a:extLst>
                <a:ext uri="{FF2B5EF4-FFF2-40B4-BE49-F238E27FC236}">
                  <a16:creationId xmlns:a16="http://schemas.microsoft.com/office/drawing/2014/main" id="{2FDE4536-B74E-FB0B-5701-EE95568054D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10" name="Freeform 31">
              <a:extLst>
                <a:ext uri="{FF2B5EF4-FFF2-40B4-BE49-F238E27FC236}">
                  <a16:creationId xmlns:a16="http://schemas.microsoft.com/office/drawing/2014/main" id="{DC504B4C-4BF0-DF13-D647-0C718DF4AD9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1" name="Freeform 32">
              <a:extLst>
                <a:ext uri="{FF2B5EF4-FFF2-40B4-BE49-F238E27FC236}">
                  <a16:creationId xmlns:a16="http://schemas.microsoft.com/office/drawing/2014/main" id="{F3BB0087-C253-F0E4-3F52-1A53B4AFA97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3">
              <a:extLst>
                <a:ext uri="{FF2B5EF4-FFF2-40B4-BE49-F238E27FC236}">
                  <a16:creationId xmlns:a16="http://schemas.microsoft.com/office/drawing/2014/main" id="{3025D71C-0D10-5220-5980-B17FC068151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3" name="Freeform 34">
              <a:extLst>
                <a:ext uri="{FF2B5EF4-FFF2-40B4-BE49-F238E27FC236}">
                  <a16:creationId xmlns:a16="http://schemas.microsoft.com/office/drawing/2014/main" id="{64514CD7-9102-9552-6763-AB0337AAA7E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7" name="TextBox 6">
            <a:extLst>
              <a:ext uri="{FF2B5EF4-FFF2-40B4-BE49-F238E27FC236}">
                <a16:creationId xmlns:a16="http://schemas.microsoft.com/office/drawing/2014/main" id="{DB2D474A-4156-5445-2C99-EE4C77388F5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DA5D471E-8C81-0943-5022-F263A707E608}"/>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6" name="Title 4">
            <a:extLst>
              <a:ext uri="{FF2B5EF4-FFF2-40B4-BE49-F238E27FC236}">
                <a16:creationId xmlns:a16="http://schemas.microsoft.com/office/drawing/2014/main" id="{024AFDB3-6F7B-B778-402E-9CCB281E4A36}"/>
              </a:ext>
            </a:extLst>
          </p:cNvPr>
          <p:cNvSpPr>
            <a:spLocks noGrp="1"/>
          </p:cNvSpPr>
          <p:nvPr>
            <p:ph type="title" hasCustomPrompt="1"/>
          </p:nvPr>
        </p:nvSpPr>
        <p:spPr>
          <a:xfrm>
            <a:off x="556708" y="2179565"/>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7" name="Text Placeholder 3">
            <a:extLst>
              <a:ext uri="{FF2B5EF4-FFF2-40B4-BE49-F238E27FC236}">
                <a16:creationId xmlns:a16="http://schemas.microsoft.com/office/drawing/2014/main" id="{673B31AA-DB5D-E4EE-AD2B-9C376313D508}"/>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174151715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4_3 K Whit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F4EAC9-01A1-ED6A-B271-D7FC17A6D29B}"/>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r="18798"/>
          <a:stretch/>
        </p:blipFill>
        <p:spPr>
          <a:xfrm>
            <a:off x="6622168" y="0"/>
            <a:ext cx="5569832" cy="6859200"/>
          </a:xfrm>
          <a:prstGeom prst="rect">
            <a:avLst/>
          </a:prstGeom>
        </p:spPr>
      </p:pic>
      <p:grpSp>
        <p:nvGrpSpPr>
          <p:cNvPr id="7" name="Graphic 3">
            <a:extLst>
              <a:ext uri="{FF2B5EF4-FFF2-40B4-BE49-F238E27FC236}">
                <a16:creationId xmlns:a16="http://schemas.microsoft.com/office/drawing/2014/main" id="{57ADD6F0-8A1D-2465-892B-42BFF999186F}"/>
              </a:ext>
            </a:extLst>
          </p:cNvPr>
          <p:cNvGrpSpPr/>
          <p:nvPr userDrawn="1"/>
        </p:nvGrpSpPr>
        <p:grpSpPr>
          <a:xfrm>
            <a:off x="9407771" y="3224292"/>
            <a:ext cx="1817989" cy="409417"/>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6" name="TextBox 5">
            <a:extLst>
              <a:ext uri="{FF2B5EF4-FFF2-40B4-BE49-F238E27FC236}">
                <a16:creationId xmlns:a16="http://schemas.microsoft.com/office/drawing/2014/main" id="{BA4D82E9-DEF8-D842-DDB5-563D618E794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EB92B7B9-0B45-FE4B-753A-4D8C0E23E619}"/>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Title 4">
            <a:extLst>
              <a:ext uri="{FF2B5EF4-FFF2-40B4-BE49-F238E27FC236}">
                <a16:creationId xmlns:a16="http://schemas.microsoft.com/office/drawing/2014/main" id="{838942B2-5BE5-A3D6-4570-6AF07089F22D}"/>
              </a:ext>
            </a:extLst>
          </p:cNvPr>
          <p:cNvSpPr>
            <a:spLocks noGrp="1"/>
          </p:cNvSpPr>
          <p:nvPr>
            <p:ph type="title" hasCustomPrompt="1"/>
          </p:nvPr>
        </p:nvSpPr>
        <p:spPr>
          <a:xfrm>
            <a:off x="556708" y="2179565"/>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16" name="Text Placeholder 3">
            <a:extLst>
              <a:ext uri="{FF2B5EF4-FFF2-40B4-BE49-F238E27FC236}">
                <a16:creationId xmlns:a16="http://schemas.microsoft.com/office/drawing/2014/main" id="{B51E6336-7A1E-2850-2562-4FDD760F459F}"/>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00611019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9_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34031B42-8ACF-0D61-11C0-959766C8BDD4}"/>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4" name="TextBox 3">
            <a:extLst>
              <a:ext uri="{FF2B5EF4-FFF2-40B4-BE49-F238E27FC236}">
                <a16:creationId xmlns:a16="http://schemas.microsoft.com/office/drawing/2014/main" id="{AB7B8C5E-2A02-500E-7B19-869B39D9A896}"/>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A844BE02-2625-0E61-D864-E5DDC07EC96E}"/>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2784AA3F-6A3E-5918-C536-2E26F4BF9C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1067757F-8A0C-FCEC-EB62-74E36F8E5E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29146439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5_3 O Blue green">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8A7CBB0-A767-7247-8638-81BC366967B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7BBDEA00-FE7A-639E-C16F-BC5E3DBD8FD3}"/>
              </a:ext>
            </a:extLst>
          </p:cNvPr>
          <p:cNvGrpSpPr/>
          <p:nvPr userDrawn="1"/>
        </p:nvGrpSpPr>
        <p:grpSpPr>
          <a:xfrm>
            <a:off x="9308198" y="3224292"/>
            <a:ext cx="1817989" cy="409417"/>
            <a:chOff x="469958" y="1647414"/>
            <a:chExt cx="8205029" cy="1847802"/>
          </a:xfrm>
          <a:solidFill>
            <a:schemeClr val="bg1"/>
          </a:solidFill>
        </p:grpSpPr>
        <p:sp>
          <p:nvSpPr>
            <p:cNvPr id="4" name="Freeform 24">
              <a:extLst>
                <a:ext uri="{FF2B5EF4-FFF2-40B4-BE49-F238E27FC236}">
                  <a16:creationId xmlns:a16="http://schemas.microsoft.com/office/drawing/2014/main" id="{0B5F76F9-295B-59E5-BDCF-8B6840E5B5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25">
              <a:extLst>
                <a:ext uri="{FF2B5EF4-FFF2-40B4-BE49-F238E27FC236}">
                  <a16:creationId xmlns:a16="http://schemas.microsoft.com/office/drawing/2014/main" id="{B473941B-CE77-6414-782E-B5933651166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26">
              <a:extLst>
                <a:ext uri="{FF2B5EF4-FFF2-40B4-BE49-F238E27FC236}">
                  <a16:creationId xmlns:a16="http://schemas.microsoft.com/office/drawing/2014/main" id="{03FCE4B1-384C-92A9-F114-45634B67A11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8" name="Freeform 27">
              <a:extLst>
                <a:ext uri="{FF2B5EF4-FFF2-40B4-BE49-F238E27FC236}">
                  <a16:creationId xmlns:a16="http://schemas.microsoft.com/office/drawing/2014/main" id="{16718376-BEBA-6EC2-B9BA-05AEA785303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2" name="Freeform 28">
              <a:extLst>
                <a:ext uri="{FF2B5EF4-FFF2-40B4-BE49-F238E27FC236}">
                  <a16:creationId xmlns:a16="http://schemas.microsoft.com/office/drawing/2014/main" id="{55E96EEC-F984-9065-5EAC-AF9297B31DF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3" name="Graphic 12">
            <a:extLst>
              <a:ext uri="{FF2B5EF4-FFF2-40B4-BE49-F238E27FC236}">
                <a16:creationId xmlns:a16="http://schemas.microsoft.com/office/drawing/2014/main" id="{8CEF710E-39E1-082B-B52C-E37B4EEF550E}"/>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1" y="-6395"/>
            <a:ext cx="5356300" cy="6859200"/>
          </a:xfrm>
          <a:prstGeom prst="rect">
            <a:avLst/>
          </a:prstGeom>
        </p:spPr>
      </p:pic>
      <p:sp>
        <p:nvSpPr>
          <p:cNvPr id="9" name="Title 4">
            <a:extLst>
              <a:ext uri="{FF2B5EF4-FFF2-40B4-BE49-F238E27FC236}">
                <a16:creationId xmlns:a16="http://schemas.microsoft.com/office/drawing/2014/main" id="{9A3B12B3-A799-7EB4-75DA-BC0A7D70161D}"/>
              </a:ext>
            </a:extLst>
          </p:cNvPr>
          <p:cNvSpPr>
            <a:spLocks noGrp="1"/>
          </p:cNvSpPr>
          <p:nvPr>
            <p:ph type="title" hasCustomPrompt="1"/>
          </p:nvPr>
        </p:nvSpPr>
        <p:spPr>
          <a:xfrm>
            <a:off x="556708" y="1200000"/>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0" name="Text Placeholder 3">
            <a:extLst>
              <a:ext uri="{FF2B5EF4-FFF2-40B4-BE49-F238E27FC236}">
                <a16:creationId xmlns:a16="http://schemas.microsoft.com/office/drawing/2014/main" id="{BEDD8338-5A64-469A-E2DB-DF91FC185624}"/>
              </a:ext>
            </a:extLst>
          </p:cNvPr>
          <p:cNvSpPr>
            <a:spLocks noGrp="1"/>
          </p:cNvSpPr>
          <p:nvPr>
            <p:ph type="body" sz="quarter" idx="12" hasCustomPrompt="1"/>
          </p:nvPr>
        </p:nvSpPr>
        <p:spPr>
          <a:xfrm>
            <a:off x="556708" y="3120001"/>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8" name="TextBox 17">
            <a:extLst>
              <a:ext uri="{FF2B5EF4-FFF2-40B4-BE49-F238E27FC236}">
                <a16:creationId xmlns:a16="http://schemas.microsoft.com/office/drawing/2014/main" id="{8BB79C81-C7D6-4DE3-0A04-D7E02DD8C66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A910EA0-FECD-D7DE-120C-8BC301ED58FF}"/>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401897269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5_3 O Blue pink">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6" name="Graphic 3">
            <a:extLst>
              <a:ext uri="{FF2B5EF4-FFF2-40B4-BE49-F238E27FC236}">
                <a16:creationId xmlns:a16="http://schemas.microsoft.com/office/drawing/2014/main" id="{7ADBC276-24FC-31B1-198D-D0A0EB5188BB}"/>
              </a:ext>
            </a:extLst>
          </p:cNvPr>
          <p:cNvGrpSpPr/>
          <p:nvPr userDrawn="1"/>
        </p:nvGrpSpPr>
        <p:grpSpPr>
          <a:xfrm>
            <a:off x="9308198" y="3224292"/>
            <a:ext cx="1817989" cy="409417"/>
            <a:chOff x="469958" y="1647414"/>
            <a:chExt cx="8205029" cy="1847802"/>
          </a:xfrm>
          <a:solidFill>
            <a:schemeClr val="bg1"/>
          </a:solidFill>
        </p:grpSpPr>
        <p:sp>
          <p:nvSpPr>
            <p:cNvPr id="7" name="Freeform 24">
              <a:extLst>
                <a:ext uri="{FF2B5EF4-FFF2-40B4-BE49-F238E27FC236}">
                  <a16:creationId xmlns:a16="http://schemas.microsoft.com/office/drawing/2014/main" id="{CDDE8834-7F71-A488-29A8-540395324479}"/>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8" name="Freeform 25">
              <a:extLst>
                <a:ext uri="{FF2B5EF4-FFF2-40B4-BE49-F238E27FC236}">
                  <a16:creationId xmlns:a16="http://schemas.microsoft.com/office/drawing/2014/main" id="{FEFA04F6-2C3F-3E38-9E08-D6990D946A8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9" name="Freeform 26">
              <a:extLst>
                <a:ext uri="{FF2B5EF4-FFF2-40B4-BE49-F238E27FC236}">
                  <a16:creationId xmlns:a16="http://schemas.microsoft.com/office/drawing/2014/main" id="{54253727-9053-862A-19CB-32DD1616812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12" name="Freeform 27">
              <a:extLst>
                <a:ext uri="{FF2B5EF4-FFF2-40B4-BE49-F238E27FC236}">
                  <a16:creationId xmlns:a16="http://schemas.microsoft.com/office/drawing/2014/main" id="{6E5204B2-3785-90DB-45F2-F73CC497595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3" name="Freeform 28">
              <a:extLst>
                <a:ext uri="{FF2B5EF4-FFF2-40B4-BE49-F238E27FC236}">
                  <a16:creationId xmlns:a16="http://schemas.microsoft.com/office/drawing/2014/main" id="{95BC05DD-4D63-F05A-843F-EE491020FFD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4" name="Graphic 13">
            <a:extLst>
              <a:ext uri="{FF2B5EF4-FFF2-40B4-BE49-F238E27FC236}">
                <a16:creationId xmlns:a16="http://schemas.microsoft.com/office/drawing/2014/main" id="{F41E3DBD-A4E2-6EF5-8073-EED87395D745}"/>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1" y="-6395"/>
            <a:ext cx="5356300" cy="6859200"/>
          </a:xfrm>
          <a:prstGeom prst="rect">
            <a:avLst/>
          </a:prstGeom>
        </p:spPr>
      </p:pic>
      <p:sp>
        <p:nvSpPr>
          <p:cNvPr id="11" name="TextBox 10">
            <a:extLst>
              <a:ext uri="{FF2B5EF4-FFF2-40B4-BE49-F238E27FC236}">
                <a16:creationId xmlns:a16="http://schemas.microsoft.com/office/drawing/2014/main" id="{79647D8A-35E4-5375-137D-AE3FBB59F9F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17E9E3A5-43FE-813E-B36E-00A287E16B3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Title 4">
            <a:extLst>
              <a:ext uri="{FF2B5EF4-FFF2-40B4-BE49-F238E27FC236}">
                <a16:creationId xmlns:a16="http://schemas.microsoft.com/office/drawing/2014/main" id="{CA265AEB-E893-7C5A-2089-F8668DD28ED9}"/>
              </a:ext>
            </a:extLst>
          </p:cNvPr>
          <p:cNvSpPr>
            <a:spLocks noGrp="1"/>
          </p:cNvSpPr>
          <p:nvPr>
            <p:ph type="title" hasCustomPrompt="1"/>
          </p:nvPr>
        </p:nvSpPr>
        <p:spPr>
          <a:xfrm>
            <a:off x="556708" y="1200000"/>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9" name="Text Placeholder 3">
            <a:extLst>
              <a:ext uri="{FF2B5EF4-FFF2-40B4-BE49-F238E27FC236}">
                <a16:creationId xmlns:a16="http://schemas.microsoft.com/office/drawing/2014/main" id="{89A21839-5A3E-48C8-8C8A-66E6CF919C97}"/>
              </a:ext>
            </a:extLst>
          </p:cNvPr>
          <p:cNvSpPr>
            <a:spLocks noGrp="1"/>
          </p:cNvSpPr>
          <p:nvPr>
            <p:ph type="body" sz="quarter" idx="12" hasCustomPrompt="1"/>
          </p:nvPr>
        </p:nvSpPr>
        <p:spPr>
          <a:xfrm>
            <a:off x="556708" y="3120001"/>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86402818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5_3 O Blue green 2">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9308198" y="3224292"/>
            <a:ext cx="1817989" cy="409417"/>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1" y="-6395"/>
            <a:ext cx="5356300" cy="6859200"/>
          </a:xfrm>
          <a:prstGeom prst="rect">
            <a:avLst/>
          </a:prstGeom>
        </p:spPr>
      </p:pic>
      <p:sp>
        <p:nvSpPr>
          <p:cNvPr id="4" name="TextBox 3">
            <a:extLst>
              <a:ext uri="{FF2B5EF4-FFF2-40B4-BE49-F238E27FC236}">
                <a16:creationId xmlns:a16="http://schemas.microsoft.com/office/drawing/2014/main" id="{5054EB9F-8927-A3FE-8B84-2A5DA2E7EB1F}"/>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E1049C86-481E-BCA9-382A-A561EA22CA19}"/>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6" name="Title 4">
            <a:extLst>
              <a:ext uri="{FF2B5EF4-FFF2-40B4-BE49-F238E27FC236}">
                <a16:creationId xmlns:a16="http://schemas.microsoft.com/office/drawing/2014/main" id="{D06AC820-889D-342D-C4F1-65579046FEB3}"/>
              </a:ext>
            </a:extLst>
          </p:cNvPr>
          <p:cNvSpPr>
            <a:spLocks noGrp="1"/>
          </p:cNvSpPr>
          <p:nvPr>
            <p:ph type="title" hasCustomPrompt="1"/>
          </p:nvPr>
        </p:nvSpPr>
        <p:spPr>
          <a:xfrm>
            <a:off x="556708" y="1200000"/>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0" name="Text Placeholder 3">
            <a:extLst>
              <a:ext uri="{FF2B5EF4-FFF2-40B4-BE49-F238E27FC236}">
                <a16:creationId xmlns:a16="http://schemas.microsoft.com/office/drawing/2014/main" id="{38C0E4A4-2F9E-C493-382A-9CBF0ED8AD5E}"/>
              </a:ext>
            </a:extLst>
          </p:cNvPr>
          <p:cNvSpPr>
            <a:spLocks noGrp="1"/>
          </p:cNvSpPr>
          <p:nvPr>
            <p:ph type="body" sz="quarter" idx="12" hasCustomPrompt="1"/>
          </p:nvPr>
        </p:nvSpPr>
        <p:spPr>
          <a:xfrm>
            <a:off x="556708" y="3120001"/>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4472626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5_3 K Red orange">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38FCEB48-BE41-308F-33AB-94163C02BF5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10" name="Graphic 9">
            <a:extLst>
              <a:ext uri="{FF2B5EF4-FFF2-40B4-BE49-F238E27FC236}">
                <a16:creationId xmlns:a16="http://schemas.microsoft.com/office/drawing/2014/main" id="{193793F7-1073-3781-E44D-DD541B786672}"/>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sp>
        <p:nvSpPr>
          <p:cNvPr id="17" name="Title 4">
            <a:extLst>
              <a:ext uri="{FF2B5EF4-FFF2-40B4-BE49-F238E27FC236}">
                <a16:creationId xmlns:a16="http://schemas.microsoft.com/office/drawing/2014/main" id="{4A761E77-5CBD-451F-FA38-EA3EF19CE9E8}"/>
              </a:ext>
            </a:extLst>
          </p:cNvPr>
          <p:cNvSpPr>
            <a:spLocks noGrp="1"/>
          </p:cNvSpPr>
          <p:nvPr>
            <p:ph type="title" hasCustomPrompt="1"/>
          </p:nvPr>
        </p:nvSpPr>
        <p:spPr>
          <a:xfrm>
            <a:off x="556708" y="2179565"/>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8" name="Text Placeholder 3">
            <a:extLst>
              <a:ext uri="{FF2B5EF4-FFF2-40B4-BE49-F238E27FC236}">
                <a16:creationId xmlns:a16="http://schemas.microsoft.com/office/drawing/2014/main" id="{1349CF4D-C3F5-69B9-4227-EC331C16F094}"/>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6" name="Graphic 3">
            <a:extLst>
              <a:ext uri="{FF2B5EF4-FFF2-40B4-BE49-F238E27FC236}">
                <a16:creationId xmlns:a16="http://schemas.microsoft.com/office/drawing/2014/main" id="{5A3F8AE7-69F1-0171-3222-4CFFCDB4F568}"/>
              </a:ext>
            </a:extLst>
          </p:cNvPr>
          <p:cNvGrpSpPr/>
          <p:nvPr userDrawn="1"/>
        </p:nvGrpSpPr>
        <p:grpSpPr>
          <a:xfrm>
            <a:off x="9407771" y="3224292"/>
            <a:ext cx="1817989" cy="409417"/>
            <a:chOff x="469958" y="1647414"/>
            <a:chExt cx="8205029" cy="1847802"/>
          </a:xfrm>
          <a:solidFill>
            <a:schemeClr val="bg1"/>
          </a:solidFill>
        </p:grpSpPr>
        <p:sp>
          <p:nvSpPr>
            <p:cNvPr id="7" name="Freeform 25">
              <a:extLst>
                <a:ext uri="{FF2B5EF4-FFF2-40B4-BE49-F238E27FC236}">
                  <a16:creationId xmlns:a16="http://schemas.microsoft.com/office/drawing/2014/main" id="{0DE2A214-8055-F089-C6C4-415D2FEE42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8" name="Freeform 31">
              <a:extLst>
                <a:ext uri="{FF2B5EF4-FFF2-40B4-BE49-F238E27FC236}">
                  <a16:creationId xmlns:a16="http://schemas.microsoft.com/office/drawing/2014/main" id="{E7E7B380-ABE2-70DF-A29A-E3B4A181FA12}"/>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2">
              <a:extLst>
                <a:ext uri="{FF2B5EF4-FFF2-40B4-BE49-F238E27FC236}">
                  <a16:creationId xmlns:a16="http://schemas.microsoft.com/office/drawing/2014/main" id="{ED784E94-97A9-B627-1E07-7CAEF44EE8A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31E44308-7765-3146-1869-04D3DA41235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5E9E56FD-C856-3054-AB6B-A80BA7D6C55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2" name="TextBox 1">
            <a:extLst>
              <a:ext uri="{FF2B5EF4-FFF2-40B4-BE49-F238E27FC236}">
                <a16:creationId xmlns:a16="http://schemas.microsoft.com/office/drawing/2014/main" id="{DF372165-1480-FF4B-FD8E-0169E8CD1957}"/>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885AEDB-ED41-584E-391C-1747DAD5043C}"/>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250488000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8_3 K Blue">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8FF1A58D-53A4-65F6-8F2B-645D65C533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5166BBE5-C86E-3E87-A7C5-F29BE64D716D}"/>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grpSp>
        <p:nvGrpSpPr>
          <p:cNvPr id="7" name="Graphic 3">
            <a:extLst>
              <a:ext uri="{FF2B5EF4-FFF2-40B4-BE49-F238E27FC236}">
                <a16:creationId xmlns:a16="http://schemas.microsoft.com/office/drawing/2014/main" id="{47BEB086-B161-40ED-B2E3-DDF397278FA8}"/>
              </a:ext>
            </a:extLst>
          </p:cNvPr>
          <p:cNvGrpSpPr/>
          <p:nvPr userDrawn="1"/>
        </p:nvGrpSpPr>
        <p:grpSpPr>
          <a:xfrm>
            <a:off x="9407771" y="3224292"/>
            <a:ext cx="1817989" cy="409417"/>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6" name="TextBox 5">
            <a:extLst>
              <a:ext uri="{FF2B5EF4-FFF2-40B4-BE49-F238E27FC236}">
                <a16:creationId xmlns:a16="http://schemas.microsoft.com/office/drawing/2014/main" id="{D8B4807D-C6CB-B42F-7CAC-4B1E0264A613}"/>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7A5600B8-EF33-4C46-87E9-1A51B9580A90}"/>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Title 4">
            <a:extLst>
              <a:ext uri="{FF2B5EF4-FFF2-40B4-BE49-F238E27FC236}">
                <a16:creationId xmlns:a16="http://schemas.microsoft.com/office/drawing/2014/main" id="{651B7E9D-D552-81A8-07CE-C85143F970BC}"/>
              </a:ext>
            </a:extLst>
          </p:cNvPr>
          <p:cNvSpPr>
            <a:spLocks noGrp="1"/>
          </p:cNvSpPr>
          <p:nvPr>
            <p:ph type="title" hasCustomPrompt="1"/>
          </p:nvPr>
        </p:nvSpPr>
        <p:spPr>
          <a:xfrm>
            <a:off x="556708" y="2179565"/>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6" name="Text Placeholder 3">
            <a:extLst>
              <a:ext uri="{FF2B5EF4-FFF2-40B4-BE49-F238E27FC236}">
                <a16:creationId xmlns:a16="http://schemas.microsoft.com/office/drawing/2014/main" id="{2BF972D4-3000-87A0-9E6C-C622A2B7C6C0}"/>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832672214"/>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5_3 K Pin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C0B63B-5EB2-C517-FFAF-0A5B2B5AB93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grpSp>
        <p:nvGrpSpPr>
          <p:cNvPr id="8" name="Graphic 3">
            <a:extLst>
              <a:ext uri="{FF2B5EF4-FFF2-40B4-BE49-F238E27FC236}">
                <a16:creationId xmlns:a16="http://schemas.microsoft.com/office/drawing/2014/main" id="{02491239-1144-EB94-E007-F05D770D71DA}"/>
              </a:ext>
            </a:extLst>
          </p:cNvPr>
          <p:cNvGrpSpPr/>
          <p:nvPr userDrawn="1"/>
        </p:nvGrpSpPr>
        <p:grpSpPr>
          <a:xfrm>
            <a:off x="9407771" y="3224292"/>
            <a:ext cx="1817989" cy="409417"/>
            <a:chOff x="469958" y="1647414"/>
            <a:chExt cx="8205029" cy="1847802"/>
          </a:xfrm>
          <a:solidFill>
            <a:schemeClr val="bg1"/>
          </a:solidFill>
        </p:grpSpPr>
        <p:sp>
          <p:nvSpPr>
            <p:cNvPr id="9" name="Freeform 25">
              <a:extLst>
                <a:ext uri="{FF2B5EF4-FFF2-40B4-BE49-F238E27FC236}">
                  <a16:creationId xmlns:a16="http://schemas.microsoft.com/office/drawing/2014/main" id="{2FDE4536-B74E-FB0B-5701-EE95568054D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1">
              <a:extLst>
                <a:ext uri="{FF2B5EF4-FFF2-40B4-BE49-F238E27FC236}">
                  <a16:creationId xmlns:a16="http://schemas.microsoft.com/office/drawing/2014/main" id="{DC504B4C-4BF0-DF13-D647-0C718DF4AD9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2">
              <a:extLst>
                <a:ext uri="{FF2B5EF4-FFF2-40B4-BE49-F238E27FC236}">
                  <a16:creationId xmlns:a16="http://schemas.microsoft.com/office/drawing/2014/main" id="{F3BB0087-C253-F0E4-3F52-1A53B4AFA97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3">
              <a:extLst>
                <a:ext uri="{FF2B5EF4-FFF2-40B4-BE49-F238E27FC236}">
                  <a16:creationId xmlns:a16="http://schemas.microsoft.com/office/drawing/2014/main" id="{3025D71C-0D10-5220-5980-B17FC068151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3" name="Freeform 34">
              <a:extLst>
                <a:ext uri="{FF2B5EF4-FFF2-40B4-BE49-F238E27FC236}">
                  <a16:creationId xmlns:a16="http://schemas.microsoft.com/office/drawing/2014/main" id="{64514CD7-9102-9552-6763-AB0337AAA7E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7" name="TextBox 6">
            <a:extLst>
              <a:ext uri="{FF2B5EF4-FFF2-40B4-BE49-F238E27FC236}">
                <a16:creationId xmlns:a16="http://schemas.microsoft.com/office/drawing/2014/main" id="{DB2D474A-4156-5445-2C99-EE4C77388F5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DA5D471E-8C81-0943-5022-F263A707E608}"/>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6" name="Title 4">
            <a:extLst>
              <a:ext uri="{FF2B5EF4-FFF2-40B4-BE49-F238E27FC236}">
                <a16:creationId xmlns:a16="http://schemas.microsoft.com/office/drawing/2014/main" id="{024AFDB3-6F7B-B778-402E-9CCB281E4A36}"/>
              </a:ext>
            </a:extLst>
          </p:cNvPr>
          <p:cNvSpPr>
            <a:spLocks noGrp="1"/>
          </p:cNvSpPr>
          <p:nvPr>
            <p:ph type="title" hasCustomPrompt="1"/>
          </p:nvPr>
        </p:nvSpPr>
        <p:spPr>
          <a:xfrm>
            <a:off x="556708" y="2179565"/>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7" name="Text Placeholder 3">
            <a:extLst>
              <a:ext uri="{FF2B5EF4-FFF2-40B4-BE49-F238E27FC236}">
                <a16:creationId xmlns:a16="http://schemas.microsoft.com/office/drawing/2014/main" id="{673B31AA-DB5D-E4EE-AD2B-9C376313D508}"/>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196044563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5_3 K Whit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F4EAC9-01A1-ED6A-B271-D7FC17A6D29B}"/>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r="18798"/>
          <a:stretch/>
        </p:blipFill>
        <p:spPr>
          <a:xfrm>
            <a:off x="6622168" y="0"/>
            <a:ext cx="5569832" cy="6859200"/>
          </a:xfrm>
          <a:prstGeom prst="rect">
            <a:avLst/>
          </a:prstGeom>
        </p:spPr>
      </p:pic>
      <p:grpSp>
        <p:nvGrpSpPr>
          <p:cNvPr id="7" name="Graphic 3">
            <a:extLst>
              <a:ext uri="{FF2B5EF4-FFF2-40B4-BE49-F238E27FC236}">
                <a16:creationId xmlns:a16="http://schemas.microsoft.com/office/drawing/2014/main" id="{57ADD6F0-8A1D-2465-892B-42BFF999186F}"/>
              </a:ext>
            </a:extLst>
          </p:cNvPr>
          <p:cNvGrpSpPr/>
          <p:nvPr userDrawn="1"/>
        </p:nvGrpSpPr>
        <p:grpSpPr>
          <a:xfrm>
            <a:off x="9407771" y="3224292"/>
            <a:ext cx="1817989" cy="409417"/>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6" name="TextBox 5">
            <a:extLst>
              <a:ext uri="{FF2B5EF4-FFF2-40B4-BE49-F238E27FC236}">
                <a16:creationId xmlns:a16="http://schemas.microsoft.com/office/drawing/2014/main" id="{BA4D82E9-DEF8-D842-DDB5-563D618E794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EB92B7B9-0B45-FE4B-753A-4D8C0E23E619}"/>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Title 4">
            <a:extLst>
              <a:ext uri="{FF2B5EF4-FFF2-40B4-BE49-F238E27FC236}">
                <a16:creationId xmlns:a16="http://schemas.microsoft.com/office/drawing/2014/main" id="{838942B2-5BE5-A3D6-4570-6AF07089F22D}"/>
              </a:ext>
            </a:extLst>
          </p:cNvPr>
          <p:cNvSpPr>
            <a:spLocks noGrp="1"/>
          </p:cNvSpPr>
          <p:nvPr>
            <p:ph type="title" hasCustomPrompt="1"/>
          </p:nvPr>
        </p:nvSpPr>
        <p:spPr>
          <a:xfrm>
            <a:off x="556708" y="2179565"/>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16" name="Text Placeholder 3">
            <a:extLst>
              <a:ext uri="{FF2B5EF4-FFF2-40B4-BE49-F238E27FC236}">
                <a16:creationId xmlns:a16="http://schemas.microsoft.com/office/drawing/2014/main" id="{B51E6336-7A1E-2850-2562-4FDD760F459F}"/>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8586231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N Purple blue">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81E104F6-2E1E-CFDD-A69D-C115384F159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0E27FD93-255E-C585-12C2-E99681C9BE5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1201"/>
            <a:ext cx="6859200" cy="6859200"/>
          </a:xfrm>
          <a:prstGeom prst="rect">
            <a:avLst/>
          </a:prstGeom>
        </p:spPr>
      </p:pic>
      <p:grpSp>
        <p:nvGrpSpPr>
          <p:cNvPr id="7" name="Graphic 3">
            <a:extLst>
              <a:ext uri="{FF2B5EF4-FFF2-40B4-BE49-F238E27FC236}">
                <a16:creationId xmlns:a16="http://schemas.microsoft.com/office/drawing/2014/main" id="{AC803887-2AFC-DF73-DE60-1BE27DDE158C}"/>
              </a:ext>
            </a:extLst>
          </p:cNvPr>
          <p:cNvGrpSpPr/>
          <p:nvPr userDrawn="1"/>
        </p:nvGrpSpPr>
        <p:grpSpPr>
          <a:xfrm>
            <a:off x="1649971" y="5976900"/>
            <a:ext cx="1817989" cy="409417"/>
            <a:chOff x="469958" y="1647414"/>
            <a:chExt cx="8205029" cy="1847802"/>
          </a:xfrm>
          <a:solidFill>
            <a:schemeClr val="bg1"/>
          </a:solidFill>
        </p:grpSpPr>
        <p:sp>
          <p:nvSpPr>
            <p:cNvPr id="8" name="Freeform 33">
              <a:extLst>
                <a:ext uri="{FF2B5EF4-FFF2-40B4-BE49-F238E27FC236}">
                  <a16:creationId xmlns:a16="http://schemas.microsoft.com/office/drawing/2014/main" id="{FB007C44-CA5E-747F-537B-FA8B422F6EF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4">
              <a:extLst>
                <a:ext uri="{FF2B5EF4-FFF2-40B4-BE49-F238E27FC236}">
                  <a16:creationId xmlns:a16="http://schemas.microsoft.com/office/drawing/2014/main" id="{ACD5E94E-82F7-2222-8DA7-BF2F4217D47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3" name="Freeform 35">
              <a:extLst>
                <a:ext uri="{FF2B5EF4-FFF2-40B4-BE49-F238E27FC236}">
                  <a16:creationId xmlns:a16="http://schemas.microsoft.com/office/drawing/2014/main" id="{3422F086-3538-B59C-A13B-E07C6B18072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6">
              <a:extLst>
                <a:ext uri="{FF2B5EF4-FFF2-40B4-BE49-F238E27FC236}">
                  <a16:creationId xmlns:a16="http://schemas.microsoft.com/office/drawing/2014/main" id="{64270631-5CE7-99C0-6E82-FDECFC1D363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7">
              <a:extLst>
                <a:ext uri="{FF2B5EF4-FFF2-40B4-BE49-F238E27FC236}">
                  <a16:creationId xmlns:a16="http://schemas.microsoft.com/office/drawing/2014/main" id="{AEC4CD95-FA07-887B-3375-C4368A44AF15}"/>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6" name="TextBox 5">
            <a:extLst>
              <a:ext uri="{FF2B5EF4-FFF2-40B4-BE49-F238E27FC236}">
                <a16:creationId xmlns:a16="http://schemas.microsoft.com/office/drawing/2014/main" id="{1AA40532-F231-EBBB-A8D3-3657B33CB9DA}"/>
              </a:ext>
            </a:extLst>
          </p:cNvPr>
          <p:cNvSpPr txBox="1"/>
          <p:nvPr userDrawn="1"/>
        </p:nvSpPr>
        <p:spPr>
          <a:xfrm>
            <a:off x="10793087"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B509789C-1FE5-7B11-DD63-34E6F72F670E}"/>
              </a:ext>
            </a:extLst>
          </p:cNvPr>
          <p:cNvSpPr txBox="1">
            <a:spLocks/>
          </p:cNvSpPr>
          <p:nvPr userDrawn="1"/>
        </p:nvSpPr>
        <p:spPr>
          <a:xfrm>
            <a:off x="10445185"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7" name="Title 4">
            <a:extLst>
              <a:ext uri="{FF2B5EF4-FFF2-40B4-BE49-F238E27FC236}">
                <a16:creationId xmlns:a16="http://schemas.microsoft.com/office/drawing/2014/main" id="{A1D3EB5E-6B70-AA5A-4340-53F0E0A0646D}"/>
              </a:ext>
            </a:extLst>
          </p:cNvPr>
          <p:cNvSpPr>
            <a:spLocks noGrp="1"/>
          </p:cNvSpPr>
          <p:nvPr>
            <p:ph type="title" hasCustomPrompt="1"/>
          </p:nvPr>
        </p:nvSpPr>
        <p:spPr>
          <a:xfrm>
            <a:off x="5107197" y="959733"/>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8" name="Text Placeholder 3">
            <a:extLst>
              <a:ext uri="{FF2B5EF4-FFF2-40B4-BE49-F238E27FC236}">
                <a16:creationId xmlns:a16="http://schemas.microsoft.com/office/drawing/2014/main" id="{0AF9AF4C-BE87-2184-CAE5-F141A4F930B6}"/>
              </a:ext>
            </a:extLst>
          </p:cNvPr>
          <p:cNvSpPr>
            <a:spLocks noGrp="1"/>
          </p:cNvSpPr>
          <p:nvPr>
            <p:ph type="body" sz="quarter" idx="12" hasCustomPrompt="1"/>
          </p:nvPr>
        </p:nvSpPr>
        <p:spPr>
          <a:xfrm>
            <a:off x="5107199" y="2834798"/>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0921822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2_5 Green blu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0EF89375-E21D-F63F-06A8-C59355F1254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EBD7979C-B9C6-8A09-B241-FD1FED4BAC89}"/>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B7B0CAF0-3BC0-2F0C-A2D6-BD2777136ABD}"/>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5" name="Freeform 11">
              <a:extLst>
                <a:ext uri="{FF2B5EF4-FFF2-40B4-BE49-F238E27FC236}">
                  <a16:creationId xmlns:a16="http://schemas.microsoft.com/office/drawing/2014/main" id="{DFE11313-A28D-C9D5-388D-F3DCE472D73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6" name="Freeform 12">
              <a:extLst>
                <a:ext uri="{FF2B5EF4-FFF2-40B4-BE49-F238E27FC236}">
                  <a16:creationId xmlns:a16="http://schemas.microsoft.com/office/drawing/2014/main" id="{5423B194-3C18-4ED2-C954-ADB91F99CDD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7" name="Freeform 13">
              <a:extLst>
                <a:ext uri="{FF2B5EF4-FFF2-40B4-BE49-F238E27FC236}">
                  <a16:creationId xmlns:a16="http://schemas.microsoft.com/office/drawing/2014/main" id="{3A46B4C4-EAE8-DC64-8EE7-085376B9F0C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8" name="Freeform 14">
              <a:extLst>
                <a:ext uri="{FF2B5EF4-FFF2-40B4-BE49-F238E27FC236}">
                  <a16:creationId xmlns:a16="http://schemas.microsoft.com/office/drawing/2014/main" id="{868AEA7C-4869-2294-8EAF-A87420CD474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spTree>
    <p:extLst>
      <p:ext uri="{BB962C8B-B14F-4D97-AF65-F5344CB8AC3E}">
        <p14:creationId xmlns:p14="http://schemas.microsoft.com/office/powerpoint/2010/main" val="359132296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_5 Blue pink">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39F40A4-C4FE-CE81-4DDE-1096BF05B17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04350EF6-70D2-8CA6-C8B4-23AD48C51B92}"/>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E3C5F24B-DEBE-91F4-60EF-98DB9598FC4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5" name="Freeform 11">
              <a:extLst>
                <a:ext uri="{FF2B5EF4-FFF2-40B4-BE49-F238E27FC236}">
                  <a16:creationId xmlns:a16="http://schemas.microsoft.com/office/drawing/2014/main" id="{0430F02E-A1F8-79E9-1749-B79A96144ED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6" name="Freeform 12">
              <a:extLst>
                <a:ext uri="{FF2B5EF4-FFF2-40B4-BE49-F238E27FC236}">
                  <a16:creationId xmlns:a16="http://schemas.microsoft.com/office/drawing/2014/main" id="{FABBDCAD-55AC-A504-7AB9-9EA8B4E0982A}"/>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7" name="Freeform 13">
              <a:extLst>
                <a:ext uri="{FF2B5EF4-FFF2-40B4-BE49-F238E27FC236}">
                  <a16:creationId xmlns:a16="http://schemas.microsoft.com/office/drawing/2014/main" id="{3870B6CA-17E5-8094-AABA-A4EB4CF4DD7D}"/>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8" name="Freeform 14">
              <a:extLst>
                <a:ext uri="{FF2B5EF4-FFF2-40B4-BE49-F238E27FC236}">
                  <a16:creationId xmlns:a16="http://schemas.microsoft.com/office/drawing/2014/main" id="{AB471460-440F-63D0-B43A-D4E98094F4B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spTree>
    <p:extLst>
      <p:ext uri="{BB962C8B-B14F-4D97-AF65-F5344CB8AC3E}">
        <p14:creationId xmlns:p14="http://schemas.microsoft.com/office/powerpoint/2010/main" val="103350584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_5 Pink">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21011232-FEC1-556E-5D81-2627C46F6D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E305D3B8-631A-ECF6-F436-B2BCDEC1D146}"/>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A5AA4292-461B-4E6C-D0DF-22D79FF5659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5" name="Freeform 11">
              <a:extLst>
                <a:ext uri="{FF2B5EF4-FFF2-40B4-BE49-F238E27FC236}">
                  <a16:creationId xmlns:a16="http://schemas.microsoft.com/office/drawing/2014/main" id="{E83B83EF-F13E-0C9F-A72E-1028FFB5C1A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6" name="Freeform 12">
              <a:extLst>
                <a:ext uri="{FF2B5EF4-FFF2-40B4-BE49-F238E27FC236}">
                  <a16:creationId xmlns:a16="http://schemas.microsoft.com/office/drawing/2014/main" id="{7583F4ED-E4FB-BC79-63D6-917602298C36}"/>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7" name="Freeform 13">
              <a:extLst>
                <a:ext uri="{FF2B5EF4-FFF2-40B4-BE49-F238E27FC236}">
                  <a16:creationId xmlns:a16="http://schemas.microsoft.com/office/drawing/2014/main" id="{D7AF8DF3-63F0-80CE-4E26-5256A0E0248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8" name="Freeform 14">
              <a:extLst>
                <a:ext uri="{FF2B5EF4-FFF2-40B4-BE49-F238E27FC236}">
                  <a16:creationId xmlns:a16="http://schemas.microsoft.com/office/drawing/2014/main" id="{AD0AD8F7-2131-0B88-1728-D3CA421A2D2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spTree>
    <p:extLst>
      <p:ext uri="{BB962C8B-B14F-4D97-AF65-F5344CB8AC3E}">
        <p14:creationId xmlns:p14="http://schemas.microsoft.com/office/powerpoint/2010/main" val="1210482642"/>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_5 Blue purple">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3465075C-3A04-8F21-2D96-F11146239A8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A77D7537-AB6E-150C-8EAC-2488703A5501}"/>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B6DD48B6-4C1B-73D2-03B9-15D30FCE5E9E}"/>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5" name="Freeform 11">
              <a:extLst>
                <a:ext uri="{FF2B5EF4-FFF2-40B4-BE49-F238E27FC236}">
                  <a16:creationId xmlns:a16="http://schemas.microsoft.com/office/drawing/2014/main" id="{64D70B58-DDCB-C449-2352-59773ED88AE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6" name="Freeform 12">
              <a:extLst>
                <a:ext uri="{FF2B5EF4-FFF2-40B4-BE49-F238E27FC236}">
                  <a16:creationId xmlns:a16="http://schemas.microsoft.com/office/drawing/2014/main" id="{609F40CE-5FD9-0148-24E8-B471F0E808B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7" name="Freeform 13">
              <a:extLst>
                <a:ext uri="{FF2B5EF4-FFF2-40B4-BE49-F238E27FC236}">
                  <a16:creationId xmlns:a16="http://schemas.microsoft.com/office/drawing/2014/main" id="{921AF8C9-7D93-7437-46E4-70C04BC1FCD9}"/>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8" name="Freeform 14">
              <a:extLst>
                <a:ext uri="{FF2B5EF4-FFF2-40B4-BE49-F238E27FC236}">
                  <a16:creationId xmlns:a16="http://schemas.microsoft.com/office/drawing/2014/main" id="{A4086F6C-E115-654F-39E3-04AE3FA5602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spTree>
    <p:extLst>
      <p:ext uri="{BB962C8B-B14F-4D97-AF65-F5344CB8AC3E}">
        <p14:creationId xmlns:p14="http://schemas.microsoft.com/office/powerpoint/2010/main" val="27580561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2_5 Orange red">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AC7C13A4-489B-3211-82FF-868A0A256E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7490672C-BECC-A8CE-2FB2-AF9FB16315DB}"/>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A3EA2D57-26D4-3FE7-0AD1-EEED4BE8BED6}"/>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5" name="Freeform 11">
              <a:extLst>
                <a:ext uri="{FF2B5EF4-FFF2-40B4-BE49-F238E27FC236}">
                  <a16:creationId xmlns:a16="http://schemas.microsoft.com/office/drawing/2014/main" id="{3244009B-B9FA-D5C6-D5E3-5563DC7638F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6" name="Freeform 12">
              <a:extLst>
                <a:ext uri="{FF2B5EF4-FFF2-40B4-BE49-F238E27FC236}">
                  <a16:creationId xmlns:a16="http://schemas.microsoft.com/office/drawing/2014/main" id="{2FD42FBA-921E-BB93-CEB5-51CAED5F599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7" name="Freeform 13">
              <a:extLst>
                <a:ext uri="{FF2B5EF4-FFF2-40B4-BE49-F238E27FC236}">
                  <a16:creationId xmlns:a16="http://schemas.microsoft.com/office/drawing/2014/main" id="{DADC54FF-C0E3-D235-2C4E-2FB66C6E9ED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8" name="Freeform 14">
              <a:extLst>
                <a:ext uri="{FF2B5EF4-FFF2-40B4-BE49-F238E27FC236}">
                  <a16:creationId xmlns:a16="http://schemas.microsoft.com/office/drawing/2014/main" id="{8E3A682F-0F88-48F0-97B1-60B5B2477F9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spTree>
    <p:extLst>
      <p:ext uri="{BB962C8B-B14F-4D97-AF65-F5344CB8AC3E}">
        <p14:creationId xmlns:p14="http://schemas.microsoft.com/office/powerpoint/2010/main" val="146615931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_5 Blue green">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3A71822B-C712-A4E6-919B-405BA7F21A5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F113608E-22FD-657F-8D07-CD39EC97958A}"/>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DA917A93-F7DB-3A50-D98B-8185FF15DE00}"/>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5" name="Freeform 11">
              <a:extLst>
                <a:ext uri="{FF2B5EF4-FFF2-40B4-BE49-F238E27FC236}">
                  <a16:creationId xmlns:a16="http://schemas.microsoft.com/office/drawing/2014/main" id="{08D8095F-7FCC-5669-F881-F66619242228}"/>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6" name="Freeform 12">
              <a:extLst>
                <a:ext uri="{FF2B5EF4-FFF2-40B4-BE49-F238E27FC236}">
                  <a16:creationId xmlns:a16="http://schemas.microsoft.com/office/drawing/2014/main" id="{A8F3D3FE-D0C9-59C1-F189-DA228D51A05B}"/>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7" name="Freeform 13">
              <a:extLst>
                <a:ext uri="{FF2B5EF4-FFF2-40B4-BE49-F238E27FC236}">
                  <a16:creationId xmlns:a16="http://schemas.microsoft.com/office/drawing/2014/main" id="{7F167DEA-E276-FD24-54AA-B4A09328CCE6}"/>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8" name="Freeform 14">
              <a:extLst>
                <a:ext uri="{FF2B5EF4-FFF2-40B4-BE49-F238E27FC236}">
                  <a16:creationId xmlns:a16="http://schemas.microsoft.com/office/drawing/2014/main" id="{5BDAA131-A001-A420-C695-237DBC40265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spTree>
    <p:extLst>
      <p:ext uri="{BB962C8B-B14F-4D97-AF65-F5344CB8AC3E}">
        <p14:creationId xmlns:p14="http://schemas.microsoft.com/office/powerpoint/2010/main" val="2028045808"/>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7_1.3 Single colum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4797943-0794-42BB-A5A2-5F7947FE149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tx1"/>
                </a:solidFill>
                <a:latin typeface="Nokia Pure Headline Ultra Light" panose="020B02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2"/>
                </a:solidFill>
                <a:latin typeface="Nokia Pure Headline Ultra Light" panose="020B0204020202020204" pitchFamily="34" charset="0"/>
              </a:defRPr>
            </a:lvl1pPr>
          </a:lstStyle>
          <a:p>
            <a:pPr lvl="0"/>
            <a:r>
              <a:rPr lang="en-US" noProof="0"/>
              <a:t>Click to edit headline</a:t>
            </a:r>
          </a:p>
        </p:txBody>
      </p:sp>
      <p:sp>
        <p:nvSpPr>
          <p:cNvPr id="7" name="TextBox 6">
            <a:extLst>
              <a:ext uri="{FF2B5EF4-FFF2-40B4-BE49-F238E27FC236}">
                <a16:creationId xmlns:a16="http://schemas.microsoft.com/office/drawing/2014/main" id="{C1D82EEC-62DA-4206-A14F-3C37A36EE033}"/>
              </a:ext>
            </a:extLst>
          </p:cNvPr>
          <p:cNvSpPr txBox="1"/>
          <p:nvPr userDrawn="1"/>
        </p:nvSpPr>
        <p:spPr>
          <a:xfrm>
            <a:off x="1007701" y="6421172"/>
            <a:ext cx="2400000" cy="164212"/>
          </a:xfrm>
          <a:prstGeom prst="rect">
            <a:avLst/>
          </a:prstGeom>
          <a:noFill/>
        </p:spPr>
        <p:txBody>
          <a:bodyPr wrap="square" lIns="0" tIns="0" rIns="0" bIns="0" anchor="b">
            <a:spAutoFit/>
          </a:bodyPr>
          <a:lstStyle/>
          <a:p>
            <a:r>
              <a:rPr lang="en-US" sz="1067">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E795313C-2E8E-414B-8DD8-B308C596E634}"/>
              </a:ext>
            </a:extLst>
          </p:cNvPr>
          <p:cNvSpPr txBox="1">
            <a:spLocks/>
          </p:cNvSpPr>
          <p:nvPr userDrawn="1"/>
        </p:nvSpPr>
        <p:spPr>
          <a:xfrm>
            <a:off x="558803" y="6421388"/>
            <a:ext cx="336000" cy="164212"/>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0" name="Footer Placeholder 3">
            <a:extLst>
              <a:ext uri="{FF2B5EF4-FFF2-40B4-BE49-F238E27FC236}">
                <a16:creationId xmlns:a16="http://schemas.microsoft.com/office/drawing/2014/main" id="{A058C78B-B74D-4BDE-A42E-2FA5F58DCE7B}"/>
              </a:ext>
            </a:extLst>
          </p:cNvPr>
          <p:cNvSpPr>
            <a:spLocks noGrp="1"/>
          </p:cNvSpPr>
          <p:nvPr>
            <p:ph type="ftr" sz="quarter" idx="15"/>
          </p:nvPr>
        </p:nvSpPr>
        <p:spPr>
          <a:xfrm>
            <a:off x="3072000" y="6422400"/>
            <a:ext cx="6048000" cy="163200"/>
          </a:xfrm>
        </p:spPr>
        <p:txBody>
          <a:bodyPr/>
          <a:lstStyle>
            <a:lvl1pPr>
              <a:defRPr>
                <a:solidFill>
                  <a:schemeClr val="bg1"/>
                </a:solidFill>
              </a:defRPr>
            </a:lvl1pPr>
          </a:lstStyle>
          <a:p>
            <a:r>
              <a:rPr lang="en-US"/>
              <a:t>Nokia Confidential - FN LT Meeting - May 2023</a:t>
            </a:r>
          </a:p>
        </p:txBody>
      </p:sp>
      <p:pic>
        <p:nvPicPr>
          <p:cNvPr id="3" name="Picture 2">
            <a:extLst>
              <a:ext uri="{FF2B5EF4-FFF2-40B4-BE49-F238E27FC236}">
                <a16:creationId xmlns:a16="http://schemas.microsoft.com/office/drawing/2014/main" id="{B7CAB653-0B58-AB04-C3E0-AA1B85F84B7B}"/>
              </a:ext>
            </a:extLst>
          </p:cNvPr>
          <p:cNvPicPr>
            <a:picLocks noChangeAspect="1"/>
          </p:cNvPicPr>
          <p:nvPr userDrawn="1"/>
        </p:nvPicPr>
        <p:blipFill>
          <a:blip r:embed="rId3"/>
          <a:stretch>
            <a:fillRect/>
          </a:stretch>
        </p:blipFill>
        <p:spPr>
          <a:xfrm>
            <a:off x="0" y="6629401"/>
            <a:ext cx="1935648" cy="201084"/>
          </a:xfrm>
          <a:prstGeom prst="rect">
            <a:avLst/>
          </a:prstGeom>
        </p:spPr>
      </p:pic>
      <p:pic>
        <p:nvPicPr>
          <p:cNvPr id="5" name="Graphic 4">
            <a:extLst>
              <a:ext uri="{FF2B5EF4-FFF2-40B4-BE49-F238E27FC236}">
                <a16:creationId xmlns:a16="http://schemas.microsoft.com/office/drawing/2014/main" id="{85EDF2D1-57C9-C64D-7091-8B58D11F32A2}"/>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36427" y="6320612"/>
            <a:ext cx="1296000" cy="292019"/>
          </a:xfrm>
          <a:prstGeom prst="rect">
            <a:avLst/>
          </a:prstGeom>
        </p:spPr>
      </p:pic>
    </p:spTree>
    <p:extLst>
      <p:ext uri="{BB962C8B-B14F-4D97-AF65-F5344CB8AC3E}">
        <p14:creationId xmlns:p14="http://schemas.microsoft.com/office/powerpoint/2010/main" val="401324799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5 White end slide">
    <p:bg>
      <p:bgPr>
        <a:solidFill>
          <a:schemeClr val="bg1"/>
        </a:solidFill>
        <a:effectLst/>
      </p:bgPr>
    </p:bg>
    <p:spTree>
      <p:nvGrpSpPr>
        <p:cNvPr id="1" name=""/>
        <p:cNvGrpSpPr/>
        <p:nvPr/>
      </p:nvGrpSpPr>
      <p:grpSpPr>
        <a:xfrm>
          <a:off x="0" y="0"/>
          <a:ext cx="0" cy="0"/>
          <a:chOff x="0" y="0"/>
          <a:chExt cx="0" cy="0"/>
        </a:xfrm>
      </p:grpSpPr>
      <p:grpSp>
        <p:nvGrpSpPr>
          <p:cNvPr id="2" name="Graphic 3">
            <a:extLst>
              <a:ext uri="{FF2B5EF4-FFF2-40B4-BE49-F238E27FC236}">
                <a16:creationId xmlns:a16="http://schemas.microsoft.com/office/drawing/2014/main" id="{46DC4F6B-8D28-1514-E83F-9C8BC35CC881}"/>
              </a:ext>
            </a:extLst>
          </p:cNvPr>
          <p:cNvGrpSpPr/>
          <p:nvPr userDrawn="1"/>
        </p:nvGrpSpPr>
        <p:grpSpPr>
          <a:xfrm>
            <a:off x="2444423" y="2606652"/>
            <a:ext cx="7303155" cy="1644697"/>
            <a:chOff x="469958" y="1647414"/>
            <a:chExt cx="8205029" cy="1847802"/>
          </a:xfrm>
          <a:solidFill>
            <a:schemeClr val="accent1"/>
          </a:solidFill>
        </p:grpSpPr>
        <p:sp>
          <p:nvSpPr>
            <p:cNvPr id="3" name="Freeform 10">
              <a:extLst>
                <a:ext uri="{FF2B5EF4-FFF2-40B4-BE49-F238E27FC236}">
                  <a16:creationId xmlns:a16="http://schemas.microsoft.com/office/drawing/2014/main" id="{528AAC0C-F8F7-997C-49C5-2DDCFFEF4C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4" name="Freeform 11">
              <a:extLst>
                <a:ext uri="{FF2B5EF4-FFF2-40B4-BE49-F238E27FC236}">
                  <a16:creationId xmlns:a16="http://schemas.microsoft.com/office/drawing/2014/main" id="{709A296F-6430-7EEE-74D0-2B39CDE8E8CE}"/>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5" name="Freeform 12">
              <a:extLst>
                <a:ext uri="{FF2B5EF4-FFF2-40B4-BE49-F238E27FC236}">
                  <a16:creationId xmlns:a16="http://schemas.microsoft.com/office/drawing/2014/main" id="{98732BD3-7687-3964-C382-BE79A166885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6" name="Freeform 13">
              <a:extLst>
                <a:ext uri="{FF2B5EF4-FFF2-40B4-BE49-F238E27FC236}">
                  <a16:creationId xmlns:a16="http://schemas.microsoft.com/office/drawing/2014/main" id="{9F629670-5E2F-8BFA-0D73-6127F5336BE0}"/>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7" name="Freeform 14">
              <a:extLst>
                <a:ext uri="{FF2B5EF4-FFF2-40B4-BE49-F238E27FC236}">
                  <a16:creationId xmlns:a16="http://schemas.microsoft.com/office/drawing/2014/main" id="{9B99146A-4055-2125-3098-1EF0E51C585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spTree>
    <p:extLst>
      <p:ext uri="{BB962C8B-B14F-4D97-AF65-F5344CB8AC3E}">
        <p14:creationId xmlns:p14="http://schemas.microsoft.com/office/powerpoint/2010/main" val="609997498"/>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2_1.5.3 - Cover O BlueGreen3">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9308199" y="3224293"/>
            <a:ext cx="1817989" cy="409417"/>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6835702" y="-6395"/>
            <a:ext cx="5356300" cy="68592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556709" y="2179566"/>
            <a:ext cx="5213179"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20" name="TextBox 19">
            <a:extLst>
              <a:ext uri="{FF2B5EF4-FFF2-40B4-BE49-F238E27FC236}">
                <a16:creationId xmlns:a16="http://schemas.microsoft.com/office/drawing/2014/main" id="{720759C7-94BC-8FC1-9A43-A40A4BE7AC1D}"/>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83D4680A-11B6-A841-EC68-FFF11409500E}"/>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2" name="Footer Placeholder 2">
            <a:extLst>
              <a:ext uri="{FF2B5EF4-FFF2-40B4-BE49-F238E27FC236}">
                <a16:creationId xmlns:a16="http://schemas.microsoft.com/office/drawing/2014/main" id="{AE485A1C-8A6A-5C51-5E3F-5685AAA904F0}"/>
              </a:ext>
            </a:extLst>
          </p:cNvPr>
          <p:cNvSpPr>
            <a:spLocks noGrp="1"/>
          </p:cNvSpPr>
          <p:nvPr>
            <p:ph type="ftr" sz="quarter" idx="3"/>
          </p:nvPr>
        </p:nvSpPr>
        <p:spPr>
          <a:xfrm>
            <a:off x="2006147" y="6478073"/>
            <a:ext cx="3840000" cy="163200"/>
          </a:xfrm>
          <a:prstGeom prst="rect">
            <a:avLst/>
          </a:prstGeom>
        </p:spPr>
        <p:txBody>
          <a:bodyPr vert="horz" wrap="none" lIns="0" tIns="0" rIns="0" bIns="0" rtlCol="0" anchor="b" anchorCtr="0">
            <a:noAutofit/>
          </a:bodyPr>
          <a:lstStyle>
            <a:lvl1pPr marL="0" algn="l" defTabSz="609570" rtl="0" eaLnBrk="1" latinLnBrk="0" hangingPunct="1">
              <a:defRPr lang="en-GB" sz="1067"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p>
        </p:txBody>
      </p:sp>
      <p:cxnSp>
        <p:nvCxnSpPr>
          <p:cNvPr id="2" name="Straight Connector 1">
            <a:extLst>
              <a:ext uri="{FF2B5EF4-FFF2-40B4-BE49-F238E27FC236}">
                <a16:creationId xmlns:a16="http://schemas.microsoft.com/office/drawing/2014/main" id="{97FF23FE-4D10-4C29-7B09-1D707687BDB0}"/>
              </a:ext>
            </a:extLst>
          </p:cNvPr>
          <p:cNvCxnSpPr>
            <a:cxnSpLocks/>
          </p:cNvCxnSpPr>
          <p:nvPr userDrawn="1"/>
        </p:nvCxnSpPr>
        <p:spPr>
          <a:xfrm>
            <a:off x="1871480" y="6457200"/>
            <a:ext cx="0" cy="192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23311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4_1.3 Single colum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4797943-0794-42BB-A5A2-5F7947FE149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tx1"/>
                </a:solidFill>
                <a:latin typeface="Nokia Pure Headline Ultra Light" panose="020B02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2"/>
                </a:solidFill>
                <a:latin typeface="Nokia Pure Headline Ultra Light" panose="020B0204020202020204" pitchFamily="34" charset="0"/>
              </a:defRPr>
            </a:lvl1pPr>
          </a:lstStyle>
          <a:p>
            <a:pPr lvl="0"/>
            <a:r>
              <a:rPr lang="en-US" noProof="0"/>
              <a:t>Click to edit headline</a:t>
            </a:r>
          </a:p>
        </p:txBody>
      </p:sp>
      <p:sp>
        <p:nvSpPr>
          <p:cNvPr id="7" name="TextBox 6">
            <a:extLst>
              <a:ext uri="{FF2B5EF4-FFF2-40B4-BE49-F238E27FC236}">
                <a16:creationId xmlns:a16="http://schemas.microsoft.com/office/drawing/2014/main" id="{C1D82EEC-62DA-4206-A14F-3C37A36EE033}"/>
              </a:ext>
            </a:extLst>
          </p:cNvPr>
          <p:cNvSpPr txBox="1"/>
          <p:nvPr userDrawn="1"/>
        </p:nvSpPr>
        <p:spPr>
          <a:xfrm>
            <a:off x="1007701" y="6421173"/>
            <a:ext cx="2400000" cy="164212"/>
          </a:xfrm>
          <a:prstGeom prst="rect">
            <a:avLst/>
          </a:prstGeom>
          <a:noFill/>
        </p:spPr>
        <p:txBody>
          <a:bodyPr wrap="square" lIns="0" tIns="0" rIns="0" bIns="0" anchor="b">
            <a:spAutoFit/>
          </a:bodyPr>
          <a:lstStyle/>
          <a:p>
            <a:r>
              <a:rPr lang="en-US" sz="1067">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E795313C-2E8E-414B-8DD8-B308C596E634}"/>
              </a:ext>
            </a:extLst>
          </p:cNvPr>
          <p:cNvSpPr txBox="1">
            <a:spLocks/>
          </p:cNvSpPr>
          <p:nvPr userDrawn="1"/>
        </p:nvSpPr>
        <p:spPr>
          <a:xfrm>
            <a:off x="558803" y="6421389"/>
            <a:ext cx="336000" cy="164212"/>
          </a:xfrm>
          <a:prstGeom prst="rect">
            <a:avLst/>
          </a:prstGeom>
        </p:spPr>
        <p:txBody>
          <a:bodyPr wrap="square"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0" name="Footer Placeholder 3">
            <a:extLst>
              <a:ext uri="{FF2B5EF4-FFF2-40B4-BE49-F238E27FC236}">
                <a16:creationId xmlns:a16="http://schemas.microsoft.com/office/drawing/2014/main" id="{A058C78B-B74D-4BDE-A42E-2FA5F58DCE7B}"/>
              </a:ext>
            </a:extLst>
          </p:cNvPr>
          <p:cNvSpPr>
            <a:spLocks noGrp="1"/>
          </p:cNvSpPr>
          <p:nvPr>
            <p:ph type="ftr" sz="quarter" idx="15"/>
          </p:nvPr>
        </p:nvSpPr>
        <p:spPr>
          <a:xfrm>
            <a:off x="3072000" y="6422400"/>
            <a:ext cx="6048000" cy="163200"/>
          </a:xfrm>
        </p:spPr>
        <p:txBody>
          <a:bodyPr/>
          <a:lstStyle>
            <a:lvl1pPr>
              <a:defRPr>
                <a:solidFill>
                  <a:schemeClr val="bg1"/>
                </a:solidFill>
              </a:defRPr>
            </a:lvl1pPr>
          </a:lstStyle>
          <a:p>
            <a:r>
              <a:rPr lang="en-US"/>
              <a:t>Nokia Confidential - FN LT Meeting - May 2023</a:t>
            </a:r>
          </a:p>
        </p:txBody>
      </p:sp>
      <p:pic>
        <p:nvPicPr>
          <p:cNvPr id="3" name="Picture 2">
            <a:extLst>
              <a:ext uri="{FF2B5EF4-FFF2-40B4-BE49-F238E27FC236}">
                <a16:creationId xmlns:a16="http://schemas.microsoft.com/office/drawing/2014/main" id="{B7CAB653-0B58-AB04-C3E0-AA1B85F84B7B}"/>
              </a:ext>
            </a:extLst>
          </p:cNvPr>
          <p:cNvPicPr>
            <a:picLocks noChangeAspect="1"/>
          </p:cNvPicPr>
          <p:nvPr userDrawn="1"/>
        </p:nvPicPr>
        <p:blipFill>
          <a:blip r:embed="rId3"/>
          <a:stretch>
            <a:fillRect/>
          </a:stretch>
        </p:blipFill>
        <p:spPr>
          <a:xfrm>
            <a:off x="0" y="6629402"/>
            <a:ext cx="1935648" cy="201084"/>
          </a:xfrm>
          <a:prstGeom prst="rect">
            <a:avLst/>
          </a:prstGeom>
        </p:spPr>
      </p:pic>
      <p:pic>
        <p:nvPicPr>
          <p:cNvPr id="5" name="Graphic 4">
            <a:extLst>
              <a:ext uri="{FF2B5EF4-FFF2-40B4-BE49-F238E27FC236}">
                <a16:creationId xmlns:a16="http://schemas.microsoft.com/office/drawing/2014/main" id="{85EDF2D1-57C9-C64D-7091-8B58D11F32A2}"/>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36427" y="6320613"/>
            <a:ext cx="1296000" cy="292019"/>
          </a:xfrm>
          <a:prstGeom prst="rect">
            <a:avLst/>
          </a:prstGeom>
        </p:spPr>
      </p:pic>
    </p:spTree>
    <p:extLst>
      <p:ext uri="{BB962C8B-B14F-4D97-AF65-F5344CB8AC3E}">
        <p14:creationId xmlns:p14="http://schemas.microsoft.com/office/powerpoint/2010/main" val="11055484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N Pink">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C7D16BB-9265-7D3A-E136-8F028A9F86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0" name="Graphic 19">
            <a:extLst>
              <a:ext uri="{FF2B5EF4-FFF2-40B4-BE49-F238E27FC236}">
                <a16:creationId xmlns:a16="http://schemas.microsoft.com/office/drawing/2014/main" id="{A7536232-7B28-DCFA-37A3-EEBA7365A53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6859200" cy="6859200"/>
          </a:xfrm>
          <a:prstGeom prst="rect">
            <a:avLst/>
          </a:prstGeom>
        </p:spPr>
      </p:pic>
      <p:grpSp>
        <p:nvGrpSpPr>
          <p:cNvPr id="12" name="Graphic 3">
            <a:extLst>
              <a:ext uri="{FF2B5EF4-FFF2-40B4-BE49-F238E27FC236}">
                <a16:creationId xmlns:a16="http://schemas.microsoft.com/office/drawing/2014/main" id="{BBCFFB55-AEE0-B60F-9245-9C27632712D3}"/>
              </a:ext>
            </a:extLst>
          </p:cNvPr>
          <p:cNvGrpSpPr/>
          <p:nvPr userDrawn="1"/>
        </p:nvGrpSpPr>
        <p:grpSpPr>
          <a:xfrm>
            <a:off x="1649971" y="5976900"/>
            <a:ext cx="1817989" cy="409417"/>
            <a:chOff x="469958" y="1647414"/>
            <a:chExt cx="8205029" cy="1847802"/>
          </a:xfrm>
          <a:solidFill>
            <a:schemeClr val="bg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18" name="TextBox 17">
            <a:extLst>
              <a:ext uri="{FF2B5EF4-FFF2-40B4-BE49-F238E27FC236}">
                <a16:creationId xmlns:a16="http://schemas.microsoft.com/office/drawing/2014/main" id="{B3045E81-706E-BB14-3DDB-AC56D9F33518}"/>
              </a:ext>
            </a:extLst>
          </p:cNvPr>
          <p:cNvSpPr txBox="1"/>
          <p:nvPr userDrawn="1"/>
        </p:nvSpPr>
        <p:spPr>
          <a:xfrm>
            <a:off x="10793087"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B1E5D1B-6D7F-C600-7828-022D4F5709B7}"/>
              </a:ext>
            </a:extLst>
          </p:cNvPr>
          <p:cNvSpPr txBox="1">
            <a:spLocks/>
          </p:cNvSpPr>
          <p:nvPr userDrawn="1"/>
        </p:nvSpPr>
        <p:spPr>
          <a:xfrm>
            <a:off x="10445185"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Title 4">
            <a:extLst>
              <a:ext uri="{FF2B5EF4-FFF2-40B4-BE49-F238E27FC236}">
                <a16:creationId xmlns:a16="http://schemas.microsoft.com/office/drawing/2014/main" id="{F0180981-7B7F-4D9A-87AD-960857227942}"/>
              </a:ext>
            </a:extLst>
          </p:cNvPr>
          <p:cNvSpPr>
            <a:spLocks noGrp="1"/>
          </p:cNvSpPr>
          <p:nvPr>
            <p:ph type="title" hasCustomPrompt="1"/>
          </p:nvPr>
        </p:nvSpPr>
        <p:spPr>
          <a:xfrm>
            <a:off x="5107197" y="959733"/>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22" name="Text Placeholder 3">
            <a:extLst>
              <a:ext uri="{FF2B5EF4-FFF2-40B4-BE49-F238E27FC236}">
                <a16:creationId xmlns:a16="http://schemas.microsoft.com/office/drawing/2014/main" id="{5C555545-3487-5A2F-B887-81AE17C8067F}"/>
              </a:ext>
            </a:extLst>
          </p:cNvPr>
          <p:cNvSpPr>
            <a:spLocks noGrp="1"/>
          </p:cNvSpPr>
          <p:nvPr>
            <p:ph type="body" sz="quarter" idx="12" hasCustomPrompt="1"/>
          </p:nvPr>
        </p:nvSpPr>
        <p:spPr>
          <a:xfrm>
            <a:off x="5107199" y="2834798"/>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001659954"/>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4_3 N Blue green">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A97BECFD-8EA7-0689-338E-FF79734814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Graphic 5">
            <a:extLst>
              <a:ext uri="{FF2B5EF4-FFF2-40B4-BE49-F238E27FC236}">
                <a16:creationId xmlns:a16="http://schemas.microsoft.com/office/drawing/2014/main" id="{B8976C7B-2688-70F3-77A4-4D1113FB54E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6859200" cy="6859200"/>
          </a:xfrm>
          <a:prstGeom prst="rect">
            <a:avLst/>
          </a:prstGeom>
        </p:spPr>
      </p:pic>
      <p:grpSp>
        <p:nvGrpSpPr>
          <p:cNvPr id="10" name="Graphic 3">
            <a:extLst>
              <a:ext uri="{FF2B5EF4-FFF2-40B4-BE49-F238E27FC236}">
                <a16:creationId xmlns:a16="http://schemas.microsoft.com/office/drawing/2014/main" id="{49D9392C-9E29-427F-3C29-C64146E898C7}"/>
              </a:ext>
            </a:extLst>
          </p:cNvPr>
          <p:cNvGrpSpPr/>
          <p:nvPr userDrawn="1"/>
        </p:nvGrpSpPr>
        <p:grpSpPr>
          <a:xfrm>
            <a:off x="1649971" y="5976900"/>
            <a:ext cx="1817989" cy="409417"/>
            <a:chOff x="469958" y="1647414"/>
            <a:chExt cx="8205029" cy="1847802"/>
          </a:xfrm>
          <a:solidFill>
            <a:schemeClr val="bg1"/>
          </a:solidFill>
        </p:grpSpPr>
        <p:sp>
          <p:nvSpPr>
            <p:cNvPr id="11" name="Freeform 33">
              <a:extLst>
                <a:ext uri="{FF2B5EF4-FFF2-40B4-BE49-F238E27FC236}">
                  <a16:creationId xmlns:a16="http://schemas.microsoft.com/office/drawing/2014/main" id="{86483177-9ABF-3F5C-ED1D-16C01EEE37C3}"/>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4">
              <a:extLst>
                <a:ext uri="{FF2B5EF4-FFF2-40B4-BE49-F238E27FC236}">
                  <a16:creationId xmlns:a16="http://schemas.microsoft.com/office/drawing/2014/main" id="{97C96119-D9F7-8022-5694-A13E7950B52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3" name="Freeform 35">
              <a:extLst>
                <a:ext uri="{FF2B5EF4-FFF2-40B4-BE49-F238E27FC236}">
                  <a16:creationId xmlns:a16="http://schemas.microsoft.com/office/drawing/2014/main" id="{247CB589-C660-36A6-BF29-1327034A981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4" name="Freeform 36">
              <a:extLst>
                <a:ext uri="{FF2B5EF4-FFF2-40B4-BE49-F238E27FC236}">
                  <a16:creationId xmlns:a16="http://schemas.microsoft.com/office/drawing/2014/main" id="{2B915696-0B26-9206-B2E7-93708805BDBC}"/>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5" name="Freeform 37">
              <a:extLst>
                <a:ext uri="{FF2B5EF4-FFF2-40B4-BE49-F238E27FC236}">
                  <a16:creationId xmlns:a16="http://schemas.microsoft.com/office/drawing/2014/main" id="{AA3A0836-5277-7254-E598-6DE9FA1A526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5" name="Title 4">
            <a:extLst>
              <a:ext uri="{FF2B5EF4-FFF2-40B4-BE49-F238E27FC236}">
                <a16:creationId xmlns:a16="http://schemas.microsoft.com/office/drawing/2014/main" id="{1EF87F37-41EC-F109-B4C3-D44EE53A0A05}"/>
              </a:ext>
            </a:extLst>
          </p:cNvPr>
          <p:cNvSpPr>
            <a:spLocks noGrp="1"/>
          </p:cNvSpPr>
          <p:nvPr>
            <p:ph type="title" hasCustomPrompt="1"/>
          </p:nvPr>
        </p:nvSpPr>
        <p:spPr>
          <a:xfrm>
            <a:off x="5107197" y="959733"/>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7" name="Text Placeholder 3">
            <a:extLst>
              <a:ext uri="{FF2B5EF4-FFF2-40B4-BE49-F238E27FC236}">
                <a16:creationId xmlns:a16="http://schemas.microsoft.com/office/drawing/2014/main" id="{3D32AC0D-5511-1F2D-2A28-C259AC8BC58A}"/>
              </a:ext>
            </a:extLst>
          </p:cNvPr>
          <p:cNvSpPr>
            <a:spLocks noGrp="1"/>
          </p:cNvSpPr>
          <p:nvPr>
            <p:ph type="body" sz="quarter" idx="12" hasCustomPrompt="1"/>
          </p:nvPr>
        </p:nvSpPr>
        <p:spPr>
          <a:xfrm>
            <a:off x="5107199" y="2834798"/>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8" name="TextBox 17">
            <a:extLst>
              <a:ext uri="{FF2B5EF4-FFF2-40B4-BE49-F238E27FC236}">
                <a16:creationId xmlns:a16="http://schemas.microsoft.com/office/drawing/2014/main" id="{3CB10A0F-2286-895A-B579-CB5D4386A2B7}"/>
              </a:ext>
            </a:extLst>
          </p:cNvPr>
          <p:cNvSpPr txBox="1"/>
          <p:nvPr userDrawn="1"/>
        </p:nvSpPr>
        <p:spPr>
          <a:xfrm>
            <a:off x="10793087"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AAD2976-396D-426A-A7C0-2D53F71491E3}"/>
              </a:ext>
            </a:extLst>
          </p:cNvPr>
          <p:cNvSpPr txBox="1">
            <a:spLocks/>
          </p:cNvSpPr>
          <p:nvPr userDrawn="1"/>
        </p:nvSpPr>
        <p:spPr>
          <a:xfrm>
            <a:off x="10445185"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08685115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4_3 N Purple blue">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81E104F6-2E1E-CFDD-A69D-C115384F159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0E27FD93-255E-C585-12C2-E99681C9BE5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1201"/>
            <a:ext cx="6859200" cy="6859200"/>
          </a:xfrm>
          <a:prstGeom prst="rect">
            <a:avLst/>
          </a:prstGeom>
        </p:spPr>
      </p:pic>
      <p:grpSp>
        <p:nvGrpSpPr>
          <p:cNvPr id="7" name="Graphic 3">
            <a:extLst>
              <a:ext uri="{FF2B5EF4-FFF2-40B4-BE49-F238E27FC236}">
                <a16:creationId xmlns:a16="http://schemas.microsoft.com/office/drawing/2014/main" id="{AC803887-2AFC-DF73-DE60-1BE27DDE158C}"/>
              </a:ext>
            </a:extLst>
          </p:cNvPr>
          <p:cNvGrpSpPr/>
          <p:nvPr userDrawn="1"/>
        </p:nvGrpSpPr>
        <p:grpSpPr>
          <a:xfrm>
            <a:off x="1649971" y="5976900"/>
            <a:ext cx="1817989" cy="409417"/>
            <a:chOff x="469958" y="1647414"/>
            <a:chExt cx="8205029" cy="1847802"/>
          </a:xfrm>
          <a:solidFill>
            <a:schemeClr val="bg1"/>
          </a:solidFill>
        </p:grpSpPr>
        <p:sp>
          <p:nvSpPr>
            <p:cNvPr id="8" name="Freeform 33">
              <a:extLst>
                <a:ext uri="{FF2B5EF4-FFF2-40B4-BE49-F238E27FC236}">
                  <a16:creationId xmlns:a16="http://schemas.microsoft.com/office/drawing/2014/main" id="{FB007C44-CA5E-747F-537B-FA8B422F6EF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9" name="Freeform 34">
              <a:extLst>
                <a:ext uri="{FF2B5EF4-FFF2-40B4-BE49-F238E27FC236}">
                  <a16:creationId xmlns:a16="http://schemas.microsoft.com/office/drawing/2014/main" id="{ACD5E94E-82F7-2222-8DA7-BF2F4217D47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3" name="Freeform 35">
              <a:extLst>
                <a:ext uri="{FF2B5EF4-FFF2-40B4-BE49-F238E27FC236}">
                  <a16:creationId xmlns:a16="http://schemas.microsoft.com/office/drawing/2014/main" id="{3422F086-3538-B59C-A13B-E07C6B18072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4" name="Freeform 36">
              <a:extLst>
                <a:ext uri="{FF2B5EF4-FFF2-40B4-BE49-F238E27FC236}">
                  <a16:creationId xmlns:a16="http://schemas.microsoft.com/office/drawing/2014/main" id="{64270631-5CE7-99C0-6E82-FDECFC1D363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5" name="Freeform 37">
              <a:extLst>
                <a:ext uri="{FF2B5EF4-FFF2-40B4-BE49-F238E27FC236}">
                  <a16:creationId xmlns:a16="http://schemas.microsoft.com/office/drawing/2014/main" id="{AEC4CD95-FA07-887B-3375-C4368A44AF15}"/>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6" name="TextBox 5">
            <a:extLst>
              <a:ext uri="{FF2B5EF4-FFF2-40B4-BE49-F238E27FC236}">
                <a16:creationId xmlns:a16="http://schemas.microsoft.com/office/drawing/2014/main" id="{1AA40532-F231-EBBB-A8D3-3657B33CB9DA}"/>
              </a:ext>
            </a:extLst>
          </p:cNvPr>
          <p:cNvSpPr txBox="1"/>
          <p:nvPr userDrawn="1"/>
        </p:nvSpPr>
        <p:spPr>
          <a:xfrm>
            <a:off x="10793087"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B509789C-1FE5-7B11-DD63-34E6F72F670E}"/>
              </a:ext>
            </a:extLst>
          </p:cNvPr>
          <p:cNvSpPr txBox="1">
            <a:spLocks/>
          </p:cNvSpPr>
          <p:nvPr userDrawn="1"/>
        </p:nvSpPr>
        <p:spPr>
          <a:xfrm>
            <a:off x="10445185"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7" name="Title 4">
            <a:extLst>
              <a:ext uri="{FF2B5EF4-FFF2-40B4-BE49-F238E27FC236}">
                <a16:creationId xmlns:a16="http://schemas.microsoft.com/office/drawing/2014/main" id="{A1D3EB5E-6B70-AA5A-4340-53F0E0A0646D}"/>
              </a:ext>
            </a:extLst>
          </p:cNvPr>
          <p:cNvSpPr>
            <a:spLocks noGrp="1"/>
          </p:cNvSpPr>
          <p:nvPr>
            <p:ph type="title" hasCustomPrompt="1"/>
          </p:nvPr>
        </p:nvSpPr>
        <p:spPr>
          <a:xfrm>
            <a:off x="5107197" y="959733"/>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8" name="Text Placeholder 3">
            <a:extLst>
              <a:ext uri="{FF2B5EF4-FFF2-40B4-BE49-F238E27FC236}">
                <a16:creationId xmlns:a16="http://schemas.microsoft.com/office/drawing/2014/main" id="{0AF9AF4C-BE87-2184-CAE5-F141A4F930B6}"/>
              </a:ext>
            </a:extLst>
          </p:cNvPr>
          <p:cNvSpPr>
            <a:spLocks noGrp="1"/>
          </p:cNvSpPr>
          <p:nvPr>
            <p:ph type="body" sz="quarter" idx="12" hasCustomPrompt="1"/>
          </p:nvPr>
        </p:nvSpPr>
        <p:spPr>
          <a:xfrm>
            <a:off x="5107199" y="2834798"/>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116505261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4_3 N Pink">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C7D16BB-9265-7D3A-E136-8F028A9F86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0" name="Graphic 19">
            <a:extLst>
              <a:ext uri="{FF2B5EF4-FFF2-40B4-BE49-F238E27FC236}">
                <a16:creationId xmlns:a16="http://schemas.microsoft.com/office/drawing/2014/main" id="{A7536232-7B28-DCFA-37A3-EEBA7365A53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6859200" cy="6859200"/>
          </a:xfrm>
          <a:prstGeom prst="rect">
            <a:avLst/>
          </a:prstGeom>
        </p:spPr>
      </p:pic>
      <p:grpSp>
        <p:nvGrpSpPr>
          <p:cNvPr id="12" name="Graphic 3">
            <a:extLst>
              <a:ext uri="{FF2B5EF4-FFF2-40B4-BE49-F238E27FC236}">
                <a16:creationId xmlns:a16="http://schemas.microsoft.com/office/drawing/2014/main" id="{BBCFFB55-AEE0-B60F-9245-9C27632712D3}"/>
              </a:ext>
            </a:extLst>
          </p:cNvPr>
          <p:cNvGrpSpPr/>
          <p:nvPr userDrawn="1"/>
        </p:nvGrpSpPr>
        <p:grpSpPr>
          <a:xfrm>
            <a:off x="1649971" y="5976900"/>
            <a:ext cx="1817989" cy="409417"/>
            <a:chOff x="469958" y="1647414"/>
            <a:chExt cx="8205029" cy="1847802"/>
          </a:xfrm>
          <a:solidFill>
            <a:schemeClr val="bg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18" name="TextBox 17">
            <a:extLst>
              <a:ext uri="{FF2B5EF4-FFF2-40B4-BE49-F238E27FC236}">
                <a16:creationId xmlns:a16="http://schemas.microsoft.com/office/drawing/2014/main" id="{B3045E81-706E-BB14-3DDB-AC56D9F33518}"/>
              </a:ext>
            </a:extLst>
          </p:cNvPr>
          <p:cNvSpPr txBox="1"/>
          <p:nvPr userDrawn="1"/>
        </p:nvSpPr>
        <p:spPr>
          <a:xfrm>
            <a:off x="10793087"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B1E5D1B-6D7F-C600-7828-022D4F5709B7}"/>
              </a:ext>
            </a:extLst>
          </p:cNvPr>
          <p:cNvSpPr txBox="1">
            <a:spLocks/>
          </p:cNvSpPr>
          <p:nvPr userDrawn="1"/>
        </p:nvSpPr>
        <p:spPr>
          <a:xfrm>
            <a:off x="10445185"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Title 4">
            <a:extLst>
              <a:ext uri="{FF2B5EF4-FFF2-40B4-BE49-F238E27FC236}">
                <a16:creationId xmlns:a16="http://schemas.microsoft.com/office/drawing/2014/main" id="{F0180981-7B7F-4D9A-87AD-960857227942}"/>
              </a:ext>
            </a:extLst>
          </p:cNvPr>
          <p:cNvSpPr>
            <a:spLocks noGrp="1"/>
          </p:cNvSpPr>
          <p:nvPr>
            <p:ph type="title" hasCustomPrompt="1"/>
          </p:nvPr>
        </p:nvSpPr>
        <p:spPr>
          <a:xfrm>
            <a:off x="5107197" y="959733"/>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22" name="Text Placeholder 3">
            <a:extLst>
              <a:ext uri="{FF2B5EF4-FFF2-40B4-BE49-F238E27FC236}">
                <a16:creationId xmlns:a16="http://schemas.microsoft.com/office/drawing/2014/main" id="{5C555545-3487-5A2F-B887-81AE17C8067F}"/>
              </a:ext>
            </a:extLst>
          </p:cNvPr>
          <p:cNvSpPr>
            <a:spLocks noGrp="1"/>
          </p:cNvSpPr>
          <p:nvPr>
            <p:ph type="body" sz="quarter" idx="12" hasCustomPrompt="1"/>
          </p:nvPr>
        </p:nvSpPr>
        <p:spPr>
          <a:xfrm>
            <a:off x="5107199" y="2834798"/>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52911100"/>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8_1.4 Bulletpoint text 1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Box 1">
            <a:extLst>
              <a:ext uri="{FF2B5EF4-FFF2-40B4-BE49-F238E27FC236}">
                <a16:creationId xmlns:a16="http://schemas.microsoft.com/office/drawing/2014/main" id="{FD95910B-6C91-D297-584C-3D1533AECBE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7" name="Slide Number Placeholder 5">
            <a:extLst>
              <a:ext uri="{FF2B5EF4-FFF2-40B4-BE49-F238E27FC236}">
                <a16:creationId xmlns:a16="http://schemas.microsoft.com/office/drawing/2014/main" id="{C76EFBCA-F2A9-DB62-4D3E-60E897B89B56}"/>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5E7D3F5-04E5-7DAF-AB76-2DAC95AB476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7D61FF18-0BA2-46E4-85DF-332117D1237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17497699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8_1.12 Title slide with media 2">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5" name="TextBox 4">
            <a:extLst>
              <a:ext uri="{FF2B5EF4-FFF2-40B4-BE49-F238E27FC236}">
                <a16:creationId xmlns:a16="http://schemas.microsoft.com/office/drawing/2014/main" id="{44F7A0E6-27FB-B6FF-2E31-5A6107DF4D1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7" name="Slide Number Placeholder 5">
            <a:extLst>
              <a:ext uri="{FF2B5EF4-FFF2-40B4-BE49-F238E27FC236}">
                <a16:creationId xmlns:a16="http://schemas.microsoft.com/office/drawing/2014/main" id="{0F2544C4-9B73-80CB-B1AE-384180132B7C}"/>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612FBD75-FC64-31E3-3F75-9DAE4224DD4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ECE578A4-6CB9-C574-603A-6A6E64EB149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424566957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5_3 N Blue green">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A97BECFD-8EA7-0689-338E-FF79734814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Graphic 5">
            <a:extLst>
              <a:ext uri="{FF2B5EF4-FFF2-40B4-BE49-F238E27FC236}">
                <a16:creationId xmlns:a16="http://schemas.microsoft.com/office/drawing/2014/main" id="{B8976C7B-2688-70F3-77A4-4D1113FB54E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6859200" cy="6859200"/>
          </a:xfrm>
          <a:prstGeom prst="rect">
            <a:avLst/>
          </a:prstGeom>
        </p:spPr>
      </p:pic>
      <p:grpSp>
        <p:nvGrpSpPr>
          <p:cNvPr id="10" name="Graphic 3">
            <a:extLst>
              <a:ext uri="{FF2B5EF4-FFF2-40B4-BE49-F238E27FC236}">
                <a16:creationId xmlns:a16="http://schemas.microsoft.com/office/drawing/2014/main" id="{49D9392C-9E29-427F-3C29-C64146E898C7}"/>
              </a:ext>
            </a:extLst>
          </p:cNvPr>
          <p:cNvGrpSpPr/>
          <p:nvPr userDrawn="1"/>
        </p:nvGrpSpPr>
        <p:grpSpPr>
          <a:xfrm>
            <a:off x="1649972" y="5976901"/>
            <a:ext cx="1817989" cy="409417"/>
            <a:chOff x="469958" y="1647414"/>
            <a:chExt cx="8205029" cy="1847802"/>
          </a:xfrm>
          <a:solidFill>
            <a:schemeClr val="bg1"/>
          </a:solidFill>
        </p:grpSpPr>
        <p:sp>
          <p:nvSpPr>
            <p:cNvPr id="11" name="Freeform 33">
              <a:extLst>
                <a:ext uri="{FF2B5EF4-FFF2-40B4-BE49-F238E27FC236}">
                  <a16:creationId xmlns:a16="http://schemas.microsoft.com/office/drawing/2014/main" id="{86483177-9ABF-3F5C-ED1D-16C01EEE37C3}"/>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4">
              <a:extLst>
                <a:ext uri="{FF2B5EF4-FFF2-40B4-BE49-F238E27FC236}">
                  <a16:creationId xmlns:a16="http://schemas.microsoft.com/office/drawing/2014/main" id="{97C96119-D9F7-8022-5694-A13E7950B52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3" name="Freeform 35">
              <a:extLst>
                <a:ext uri="{FF2B5EF4-FFF2-40B4-BE49-F238E27FC236}">
                  <a16:creationId xmlns:a16="http://schemas.microsoft.com/office/drawing/2014/main" id="{247CB589-C660-36A6-BF29-1327034A981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4" name="Freeform 36">
              <a:extLst>
                <a:ext uri="{FF2B5EF4-FFF2-40B4-BE49-F238E27FC236}">
                  <a16:creationId xmlns:a16="http://schemas.microsoft.com/office/drawing/2014/main" id="{2B915696-0B26-9206-B2E7-93708805BDBC}"/>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5" name="Freeform 37">
              <a:extLst>
                <a:ext uri="{FF2B5EF4-FFF2-40B4-BE49-F238E27FC236}">
                  <a16:creationId xmlns:a16="http://schemas.microsoft.com/office/drawing/2014/main" id="{AA3A0836-5277-7254-E598-6DE9FA1A526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5" name="Title 4">
            <a:extLst>
              <a:ext uri="{FF2B5EF4-FFF2-40B4-BE49-F238E27FC236}">
                <a16:creationId xmlns:a16="http://schemas.microsoft.com/office/drawing/2014/main" id="{1EF87F37-41EC-F109-B4C3-D44EE53A0A05}"/>
              </a:ext>
            </a:extLst>
          </p:cNvPr>
          <p:cNvSpPr>
            <a:spLocks noGrp="1"/>
          </p:cNvSpPr>
          <p:nvPr>
            <p:ph type="title" hasCustomPrompt="1"/>
          </p:nvPr>
        </p:nvSpPr>
        <p:spPr>
          <a:xfrm>
            <a:off x="5107197" y="959734"/>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7" name="Text Placeholder 3">
            <a:extLst>
              <a:ext uri="{FF2B5EF4-FFF2-40B4-BE49-F238E27FC236}">
                <a16:creationId xmlns:a16="http://schemas.microsoft.com/office/drawing/2014/main" id="{3D32AC0D-5511-1F2D-2A28-C259AC8BC58A}"/>
              </a:ext>
            </a:extLst>
          </p:cNvPr>
          <p:cNvSpPr>
            <a:spLocks noGrp="1"/>
          </p:cNvSpPr>
          <p:nvPr>
            <p:ph type="body" sz="quarter" idx="12" hasCustomPrompt="1"/>
          </p:nvPr>
        </p:nvSpPr>
        <p:spPr>
          <a:xfrm>
            <a:off x="5107199" y="2834800"/>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8" name="TextBox 17">
            <a:extLst>
              <a:ext uri="{FF2B5EF4-FFF2-40B4-BE49-F238E27FC236}">
                <a16:creationId xmlns:a16="http://schemas.microsoft.com/office/drawing/2014/main" id="{3CB10A0F-2286-895A-B579-CB5D4386A2B7}"/>
              </a:ext>
            </a:extLst>
          </p:cNvPr>
          <p:cNvSpPr txBox="1"/>
          <p:nvPr userDrawn="1"/>
        </p:nvSpPr>
        <p:spPr>
          <a:xfrm>
            <a:off x="10793089"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AAD2976-396D-426A-A7C0-2D53F71491E3}"/>
              </a:ext>
            </a:extLst>
          </p:cNvPr>
          <p:cNvSpPr txBox="1">
            <a:spLocks/>
          </p:cNvSpPr>
          <p:nvPr userDrawn="1"/>
        </p:nvSpPr>
        <p:spPr>
          <a:xfrm>
            <a:off x="10445185"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727222322"/>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5_3 N Purple blue">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81E104F6-2E1E-CFDD-A69D-C115384F159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0E27FD93-255E-C585-12C2-E99681C9BE5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1201"/>
            <a:ext cx="6859200" cy="6859200"/>
          </a:xfrm>
          <a:prstGeom prst="rect">
            <a:avLst/>
          </a:prstGeom>
        </p:spPr>
      </p:pic>
      <p:grpSp>
        <p:nvGrpSpPr>
          <p:cNvPr id="7" name="Graphic 3">
            <a:extLst>
              <a:ext uri="{FF2B5EF4-FFF2-40B4-BE49-F238E27FC236}">
                <a16:creationId xmlns:a16="http://schemas.microsoft.com/office/drawing/2014/main" id="{AC803887-2AFC-DF73-DE60-1BE27DDE158C}"/>
              </a:ext>
            </a:extLst>
          </p:cNvPr>
          <p:cNvGrpSpPr/>
          <p:nvPr userDrawn="1"/>
        </p:nvGrpSpPr>
        <p:grpSpPr>
          <a:xfrm>
            <a:off x="1649972" y="5976901"/>
            <a:ext cx="1817989" cy="409417"/>
            <a:chOff x="469958" y="1647414"/>
            <a:chExt cx="8205029" cy="1847802"/>
          </a:xfrm>
          <a:solidFill>
            <a:schemeClr val="bg1"/>
          </a:solidFill>
        </p:grpSpPr>
        <p:sp>
          <p:nvSpPr>
            <p:cNvPr id="8" name="Freeform 33">
              <a:extLst>
                <a:ext uri="{FF2B5EF4-FFF2-40B4-BE49-F238E27FC236}">
                  <a16:creationId xmlns:a16="http://schemas.microsoft.com/office/drawing/2014/main" id="{FB007C44-CA5E-747F-537B-FA8B422F6EF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9" name="Freeform 34">
              <a:extLst>
                <a:ext uri="{FF2B5EF4-FFF2-40B4-BE49-F238E27FC236}">
                  <a16:creationId xmlns:a16="http://schemas.microsoft.com/office/drawing/2014/main" id="{ACD5E94E-82F7-2222-8DA7-BF2F4217D47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3" name="Freeform 35">
              <a:extLst>
                <a:ext uri="{FF2B5EF4-FFF2-40B4-BE49-F238E27FC236}">
                  <a16:creationId xmlns:a16="http://schemas.microsoft.com/office/drawing/2014/main" id="{3422F086-3538-B59C-A13B-E07C6B18072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4" name="Freeform 36">
              <a:extLst>
                <a:ext uri="{FF2B5EF4-FFF2-40B4-BE49-F238E27FC236}">
                  <a16:creationId xmlns:a16="http://schemas.microsoft.com/office/drawing/2014/main" id="{64270631-5CE7-99C0-6E82-FDECFC1D363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5" name="Freeform 37">
              <a:extLst>
                <a:ext uri="{FF2B5EF4-FFF2-40B4-BE49-F238E27FC236}">
                  <a16:creationId xmlns:a16="http://schemas.microsoft.com/office/drawing/2014/main" id="{AEC4CD95-FA07-887B-3375-C4368A44AF15}"/>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6" name="TextBox 5">
            <a:extLst>
              <a:ext uri="{FF2B5EF4-FFF2-40B4-BE49-F238E27FC236}">
                <a16:creationId xmlns:a16="http://schemas.microsoft.com/office/drawing/2014/main" id="{1AA40532-F231-EBBB-A8D3-3657B33CB9DA}"/>
              </a:ext>
            </a:extLst>
          </p:cNvPr>
          <p:cNvSpPr txBox="1"/>
          <p:nvPr userDrawn="1"/>
        </p:nvSpPr>
        <p:spPr>
          <a:xfrm>
            <a:off x="10793089"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B509789C-1FE5-7B11-DD63-34E6F72F670E}"/>
              </a:ext>
            </a:extLst>
          </p:cNvPr>
          <p:cNvSpPr txBox="1">
            <a:spLocks/>
          </p:cNvSpPr>
          <p:nvPr userDrawn="1"/>
        </p:nvSpPr>
        <p:spPr>
          <a:xfrm>
            <a:off x="10445185"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7" name="Title 4">
            <a:extLst>
              <a:ext uri="{FF2B5EF4-FFF2-40B4-BE49-F238E27FC236}">
                <a16:creationId xmlns:a16="http://schemas.microsoft.com/office/drawing/2014/main" id="{A1D3EB5E-6B70-AA5A-4340-53F0E0A0646D}"/>
              </a:ext>
            </a:extLst>
          </p:cNvPr>
          <p:cNvSpPr>
            <a:spLocks noGrp="1"/>
          </p:cNvSpPr>
          <p:nvPr>
            <p:ph type="title" hasCustomPrompt="1"/>
          </p:nvPr>
        </p:nvSpPr>
        <p:spPr>
          <a:xfrm>
            <a:off x="5107197" y="959734"/>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8" name="Text Placeholder 3">
            <a:extLst>
              <a:ext uri="{FF2B5EF4-FFF2-40B4-BE49-F238E27FC236}">
                <a16:creationId xmlns:a16="http://schemas.microsoft.com/office/drawing/2014/main" id="{0AF9AF4C-BE87-2184-CAE5-F141A4F930B6}"/>
              </a:ext>
            </a:extLst>
          </p:cNvPr>
          <p:cNvSpPr>
            <a:spLocks noGrp="1"/>
          </p:cNvSpPr>
          <p:nvPr>
            <p:ph type="body" sz="quarter" idx="12" hasCustomPrompt="1"/>
          </p:nvPr>
        </p:nvSpPr>
        <p:spPr>
          <a:xfrm>
            <a:off x="5107199" y="2834800"/>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08686773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5_3 N Pink">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C7D16BB-9265-7D3A-E136-8F028A9F86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0" name="Graphic 19">
            <a:extLst>
              <a:ext uri="{FF2B5EF4-FFF2-40B4-BE49-F238E27FC236}">
                <a16:creationId xmlns:a16="http://schemas.microsoft.com/office/drawing/2014/main" id="{A7536232-7B28-DCFA-37A3-EEBA7365A53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6859200" cy="6859200"/>
          </a:xfrm>
          <a:prstGeom prst="rect">
            <a:avLst/>
          </a:prstGeom>
        </p:spPr>
      </p:pic>
      <p:grpSp>
        <p:nvGrpSpPr>
          <p:cNvPr id="12" name="Graphic 3">
            <a:extLst>
              <a:ext uri="{FF2B5EF4-FFF2-40B4-BE49-F238E27FC236}">
                <a16:creationId xmlns:a16="http://schemas.microsoft.com/office/drawing/2014/main" id="{BBCFFB55-AEE0-B60F-9245-9C27632712D3}"/>
              </a:ext>
            </a:extLst>
          </p:cNvPr>
          <p:cNvGrpSpPr/>
          <p:nvPr userDrawn="1"/>
        </p:nvGrpSpPr>
        <p:grpSpPr>
          <a:xfrm>
            <a:off x="1649972" y="5976901"/>
            <a:ext cx="1817989" cy="409417"/>
            <a:chOff x="469958" y="1647414"/>
            <a:chExt cx="8205029" cy="1847802"/>
          </a:xfrm>
          <a:solidFill>
            <a:schemeClr val="bg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18" name="TextBox 17">
            <a:extLst>
              <a:ext uri="{FF2B5EF4-FFF2-40B4-BE49-F238E27FC236}">
                <a16:creationId xmlns:a16="http://schemas.microsoft.com/office/drawing/2014/main" id="{B3045E81-706E-BB14-3DDB-AC56D9F33518}"/>
              </a:ext>
            </a:extLst>
          </p:cNvPr>
          <p:cNvSpPr txBox="1"/>
          <p:nvPr userDrawn="1"/>
        </p:nvSpPr>
        <p:spPr>
          <a:xfrm>
            <a:off x="10793089"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B1E5D1B-6D7F-C600-7828-022D4F5709B7}"/>
              </a:ext>
            </a:extLst>
          </p:cNvPr>
          <p:cNvSpPr txBox="1">
            <a:spLocks/>
          </p:cNvSpPr>
          <p:nvPr userDrawn="1"/>
        </p:nvSpPr>
        <p:spPr>
          <a:xfrm>
            <a:off x="10445185"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Title 4">
            <a:extLst>
              <a:ext uri="{FF2B5EF4-FFF2-40B4-BE49-F238E27FC236}">
                <a16:creationId xmlns:a16="http://schemas.microsoft.com/office/drawing/2014/main" id="{F0180981-7B7F-4D9A-87AD-960857227942}"/>
              </a:ext>
            </a:extLst>
          </p:cNvPr>
          <p:cNvSpPr>
            <a:spLocks noGrp="1"/>
          </p:cNvSpPr>
          <p:nvPr>
            <p:ph type="title" hasCustomPrompt="1"/>
          </p:nvPr>
        </p:nvSpPr>
        <p:spPr>
          <a:xfrm>
            <a:off x="5107197" y="959734"/>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22" name="Text Placeholder 3">
            <a:extLst>
              <a:ext uri="{FF2B5EF4-FFF2-40B4-BE49-F238E27FC236}">
                <a16:creationId xmlns:a16="http://schemas.microsoft.com/office/drawing/2014/main" id="{5C555545-3487-5A2F-B887-81AE17C8067F}"/>
              </a:ext>
            </a:extLst>
          </p:cNvPr>
          <p:cNvSpPr>
            <a:spLocks noGrp="1"/>
          </p:cNvSpPr>
          <p:nvPr>
            <p:ph type="body" sz="quarter" idx="12" hasCustomPrompt="1"/>
          </p:nvPr>
        </p:nvSpPr>
        <p:spPr>
          <a:xfrm>
            <a:off x="5107199" y="2834800"/>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80538548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3_1.5.3 - Cover O BlueGreen3">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9308198" y="3224292"/>
            <a:ext cx="1817989" cy="409417"/>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6835701" y="-6395"/>
            <a:ext cx="5356300" cy="68592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556708" y="2179565"/>
            <a:ext cx="5213179"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20" name="TextBox 19">
            <a:extLst>
              <a:ext uri="{FF2B5EF4-FFF2-40B4-BE49-F238E27FC236}">
                <a16:creationId xmlns:a16="http://schemas.microsoft.com/office/drawing/2014/main" id="{720759C7-94BC-8FC1-9A43-A40A4BE7AC1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83D4680A-11B6-A841-EC68-FFF11409500E}"/>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2" name="Footer Placeholder 2">
            <a:extLst>
              <a:ext uri="{FF2B5EF4-FFF2-40B4-BE49-F238E27FC236}">
                <a16:creationId xmlns:a16="http://schemas.microsoft.com/office/drawing/2014/main" id="{AE485A1C-8A6A-5C51-5E3F-5685AAA904F0}"/>
              </a:ext>
            </a:extLst>
          </p:cNvPr>
          <p:cNvSpPr>
            <a:spLocks noGrp="1"/>
          </p:cNvSpPr>
          <p:nvPr>
            <p:ph type="ftr" sz="quarter" idx="3"/>
          </p:nvPr>
        </p:nvSpPr>
        <p:spPr>
          <a:xfrm>
            <a:off x="2006147" y="6478073"/>
            <a:ext cx="3840000" cy="163200"/>
          </a:xfrm>
          <a:prstGeom prst="rect">
            <a:avLst/>
          </a:prstGeom>
        </p:spPr>
        <p:txBody>
          <a:bodyPr vert="horz" wrap="none" lIns="0" tIns="0" rIns="0" bIns="0" rtlCol="0" anchor="b" anchorCtr="0">
            <a:noAutofit/>
          </a:bodyPr>
          <a:lstStyle>
            <a:lvl1pPr marL="0" algn="l" defTabSz="609585" rtl="0" eaLnBrk="1" latinLnBrk="0" hangingPunct="1">
              <a:defRPr lang="en-GB" sz="1067"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p>
        </p:txBody>
      </p:sp>
      <p:cxnSp>
        <p:nvCxnSpPr>
          <p:cNvPr id="2" name="Straight Connector 1">
            <a:extLst>
              <a:ext uri="{FF2B5EF4-FFF2-40B4-BE49-F238E27FC236}">
                <a16:creationId xmlns:a16="http://schemas.microsoft.com/office/drawing/2014/main" id="{97FF23FE-4D10-4C29-7B09-1D707687BDB0}"/>
              </a:ext>
            </a:extLst>
          </p:cNvPr>
          <p:cNvCxnSpPr>
            <a:cxnSpLocks/>
          </p:cNvCxnSpPr>
          <p:nvPr userDrawn="1"/>
        </p:nvCxnSpPr>
        <p:spPr>
          <a:xfrm>
            <a:off x="1871480" y="6457200"/>
            <a:ext cx="0" cy="192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9595926"/>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4_1.5.3 - Cover O BlueGreen3">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9308199" y="3224293"/>
            <a:ext cx="1817989" cy="409417"/>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6835702" y="-6395"/>
            <a:ext cx="5356300" cy="68592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556709" y="2179566"/>
            <a:ext cx="5213179"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556709" y="4079616"/>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20" name="TextBox 19">
            <a:extLst>
              <a:ext uri="{FF2B5EF4-FFF2-40B4-BE49-F238E27FC236}">
                <a16:creationId xmlns:a16="http://schemas.microsoft.com/office/drawing/2014/main" id="{720759C7-94BC-8FC1-9A43-A40A4BE7AC1D}"/>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83D4680A-11B6-A841-EC68-FFF11409500E}"/>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2" name="Footer Placeholder 2">
            <a:extLst>
              <a:ext uri="{FF2B5EF4-FFF2-40B4-BE49-F238E27FC236}">
                <a16:creationId xmlns:a16="http://schemas.microsoft.com/office/drawing/2014/main" id="{AE485A1C-8A6A-5C51-5E3F-5685AAA904F0}"/>
              </a:ext>
            </a:extLst>
          </p:cNvPr>
          <p:cNvSpPr>
            <a:spLocks noGrp="1"/>
          </p:cNvSpPr>
          <p:nvPr>
            <p:ph type="ftr" sz="quarter" idx="3"/>
          </p:nvPr>
        </p:nvSpPr>
        <p:spPr>
          <a:xfrm>
            <a:off x="2006147" y="6478073"/>
            <a:ext cx="3840000" cy="163200"/>
          </a:xfrm>
          <a:prstGeom prst="rect">
            <a:avLst/>
          </a:prstGeom>
        </p:spPr>
        <p:txBody>
          <a:bodyPr vert="horz" wrap="none" lIns="0" tIns="0" rIns="0" bIns="0" rtlCol="0" anchor="b" anchorCtr="0">
            <a:noAutofit/>
          </a:bodyPr>
          <a:lstStyle>
            <a:lvl1pPr marL="0" algn="l" defTabSz="609570" rtl="0" eaLnBrk="1" latinLnBrk="0" hangingPunct="1">
              <a:defRPr lang="en-GB" sz="1067"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p>
        </p:txBody>
      </p:sp>
      <p:cxnSp>
        <p:nvCxnSpPr>
          <p:cNvPr id="2" name="Straight Connector 1">
            <a:extLst>
              <a:ext uri="{FF2B5EF4-FFF2-40B4-BE49-F238E27FC236}">
                <a16:creationId xmlns:a16="http://schemas.microsoft.com/office/drawing/2014/main" id="{97FF23FE-4D10-4C29-7B09-1D707687BDB0}"/>
              </a:ext>
            </a:extLst>
          </p:cNvPr>
          <p:cNvCxnSpPr>
            <a:cxnSpLocks/>
          </p:cNvCxnSpPr>
          <p:nvPr userDrawn="1"/>
        </p:nvCxnSpPr>
        <p:spPr>
          <a:xfrm>
            <a:off x="1871480" y="6457200"/>
            <a:ext cx="0" cy="192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23661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N White">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674FB718-4590-313D-1532-FE817A22ACB4}"/>
              </a:ext>
            </a:extLst>
          </p:cNvPr>
          <p:cNvSpPr/>
          <p:nvPr/>
        </p:nvSpPr>
        <p:spPr>
          <a:xfrm>
            <a:off x="0" y="0"/>
            <a:ext cx="6859200" cy="6859200"/>
          </a:xfrm>
          <a:custGeom>
            <a:avLst/>
            <a:gdLst>
              <a:gd name="connsiteX0" fmla="*/ 0 w 5144400"/>
              <a:gd name="connsiteY0" fmla="*/ 0 h 5144400"/>
              <a:gd name="connsiteX1" fmla="*/ 5144400 w 5144400"/>
              <a:gd name="connsiteY1" fmla="*/ 0 h 5144400"/>
              <a:gd name="connsiteX2" fmla="*/ 5144400 w 5144400"/>
              <a:gd name="connsiteY2" fmla="*/ 5144400 h 5144400"/>
              <a:gd name="connsiteX3" fmla="*/ 0 w 5144400"/>
              <a:gd name="connsiteY3" fmla="*/ 5144400 h 5144400"/>
            </a:gdLst>
            <a:ahLst/>
            <a:cxnLst>
              <a:cxn ang="0">
                <a:pos x="connsiteX0" y="connsiteY0"/>
              </a:cxn>
              <a:cxn ang="0">
                <a:pos x="connsiteX1" y="connsiteY1"/>
              </a:cxn>
              <a:cxn ang="0">
                <a:pos x="connsiteX2" y="connsiteY2"/>
              </a:cxn>
              <a:cxn ang="0">
                <a:pos x="connsiteX3" y="connsiteY3"/>
              </a:cxn>
            </a:cxnLst>
            <a:rect l="l" t="t" r="r" b="b"/>
            <a:pathLst>
              <a:path w="5144400" h="5144400">
                <a:moveTo>
                  <a:pt x="0" y="0"/>
                </a:moveTo>
                <a:lnTo>
                  <a:pt x="5144400" y="0"/>
                </a:lnTo>
                <a:lnTo>
                  <a:pt x="5144400" y="5144400"/>
                </a:lnTo>
                <a:lnTo>
                  <a:pt x="0" y="5144400"/>
                </a:lnTo>
                <a:close/>
              </a:path>
            </a:pathLst>
          </a:custGeom>
          <a:noFill/>
          <a:ln w="26789" cap="flat">
            <a:noFill/>
            <a:prstDash val="solid"/>
            <a:miter/>
          </a:ln>
        </p:spPr>
        <p:txBody>
          <a:bodyPr rtlCol="0" anchor="ctr"/>
          <a:lstStyle/>
          <a:p>
            <a:endParaRPr lang="en-US" sz="2400"/>
          </a:p>
        </p:txBody>
      </p:sp>
      <p:sp>
        <p:nvSpPr>
          <p:cNvPr id="5" name="Freeform: Shape 4">
            <a:extLst>
              <a:ext uri="{FF2B5EF4-FFF2-40B4-BE49-F238E27FC236}">
                <a16:creationId xmlns:a16="http://schemas.microsoft.com/office/drawing/2014/main" id="{6585F427-7AA2-BA79-9FAB-3B20B348D66A}"/>
              </a:ext>
            </a:extLst>
          </p:cNvPr>
          <p:cNvSpPr/>
          <p:nvPr/>
        </p:nvSpPr>
        <p:spPr>
          <a:xfrm>
            <a:off x="0" y="-1200"/>
            <a:ext cx="6859200" cy="6859200"/>
          </a:xfrm>
          <a:custGeom>
            <a:avLst/>
            <a:gdLst>
              <a:gd name="connsiteX0" fmla="*/ 0 w 5144400"/>
              <a:gd name="connsiteY0" fmla="*/ 0 h 5144400"/>
              <a:gd name="connsiteX1" fmla="*/ 0 w 5144400"/>
              <a:gd name="connsiteY1" fmla="*/ 5144400 h 5144400"/>
              <a:gd name="connsiteX2" fmla="*/ 794971 w 5144400"/>
              <a:gd name="connsiteY2" fmla="*/ 5144400 h 5144400"/>
              <a:gd name="connsiteX3" fmla="*/ 794971 w 5144400"/>
              <a:gd name="connsiteY3" fmla="*/ 1741594 h 5144400"/>
              <a:gd name="connsiteX4" fmla="*/ 5144400 w 5144400"/>
              <a:gd name="connsiteY4" fmla="*/ 5144400 h 5144400"/>
              <a:gd name="connsiteX5" fmla="*/ 5144400 w 5144400"/>
              <a:gd name="connsiteY5" fmla="*/ 4142850 h 5144400"/>
              <a:gd name="connsiteX6" fmla="*/ 0 w 5144400"/>
              <a:gd name="connsiteY6" fmla="*/ 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4400" h="5144400">
                <a:moveTo>
                  <a:pt x="0" y="0"/>
                </a:moveTo>
                <a:lnTo>
                  <a:pt x="0" y="5144400"/>
                </a:lnTo>
                <a:cubicBezTo>
                  <a:pt x="0" y="5144400"/>
                  <a:pt x="794971" y="5144400"/>
                  <a:pt x="794971" y="5144400"/>
                </a:cubicBezTo>
                <a:lnTo>
                  <a:pt x="794971" y="1741594"/>
                </a:lnTo>
                <a:cubicBezTo>
                  <a:pt x="794971" y="1741594"/>
                  <a:pt x="5144400" y="5144400"/>
                  <a:pt x="5144400" y="5144400"/>
                </a:cubicBezTo>
                <a:lnTo>
                  <a:pt x="5144400" y="4142850"/>
                </a:lnTo>
                <a:lnTo>
                  <a:pt x="0" y="0"/>
                </a:lnTo>
                <a:close/>
              </a:path>
            </a:pathLst>
          </a:custGeom>
          <a:solidFill>
            <a:schemeClr val="accent1"/>
          </a:solidFill>
          <a:ln w="26789" cap="flat">
            <a:noFill/>
            <a:prstDash val="solid"/>
            <a:miter/>
          </a:ln>
        </p:spPr>
        <p:txBody>
          <a:bodyPr rtlCol="0" anchor="ctr"/>
          <a:lstStyle/>
          <a:p>
            <a:endParaRPr lang="en-US" sz="2400"/>
          </a:p>
        </p:txBody>
      </p:sp>
      <p:grpSp>
        <p:nvGrpSpPr>
          <p:cNvPr id="12" name="Graphic 3">
            <a:extLst>
              <a:ext uri="{FF2B5EF4-FFF2-40B4-BE49-F238E27FC236}">
                <a16:creationId xmlns:a16="http://schemas.microsoft.com/office/drawing/2014/main" id="{BBCFFB55-AEE0-B60F-9245-9C27632712D3}"/>
              </a:ext>
            </a:extLst>
          </p:cNvPr>
          <p:cNvGrpSpPr/>
          <p:nvPr userDrawn="1"/>
        </p:nvGrpSpPr>
        <p:grpSpPr>
          <a:xfrm>
            <a:off x="1649971" y="5976900"/>
            <a:ext cx="1817989" cy="409417"/>
            <a:chOff x="469958" y="1647414"/>
            <a:chExt cx="8205029" cy="1847802"/>
          </a:xfrm>
          <a:solidFill>
            <a:schemeClr val="accent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19" name="TextBox 18">
            <a:extLst>
              <a:ext uri="{FF2B5EF4-FFF2-40B4-BE49-F238E27FC236}">
                <a16:creationId xmlns:a16="http://schemas.microsoft.com/office/drawing/2014/main" id="{41F7AE0E-D196-9918-5EDB-E9F6D1F5BFCD}"/>
              </a:ext>
            </a:extLst>
          </p:cNvPr>
          <p:cNvSpPr txBox="1"/>
          <p:nvPr userDrawn="1"/>
        </p:nvSpPr>
        <p:spPr>
          <a:xfrm>
            <a:off x="10793087"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0" name="Slide Number Placeholder 5">
            <a:extLst>
              <a:ext uri="{FF2B5EF4-FFF2-40B4-BE49-F238E27FC236}">
                <a16:creationId xmlns:a16="http://schemas.microsoft.com/office/drawing/2014/main" id="{CE77B206-49F7-2B3D-46F6-5783EB06549D}"/>
              </a:ext>
            </a:extLst>
          </p:cNvPr>
          <p:cNvSpPr txBox="1">
            <a:spLocks/>
          </p:cNvSpPr>
          <p:nvPr userDrawn="1"/>
        </p:nvSpPr>
        <p:spPr>
          <a:xfrm>
            <a:off x="10445185"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Title 4">
            <a:extLst>
              <a:ext uri="{FF2B5EF4-FFF2-40B4-BE49-F238E27FC236}">
                <a16:creationId xmlns:a16="http://schemas.microsoft.com/office/drawing/2014/main" id="{D3CDCE65-9D09-8014-E0D4-FA37C5A40921}"/>
              </a:ext>
            </a:extLst>
          </p:cNvPr>
          <p:cNvSpPr>
            <a:spLocks noGrp="1"/>
          </p:cNvSpPr>
          <p:nvPr>
            <p:ph type="title" hasCustomPrompt="1"/>
          </p:nvPr>
        </p:nvSpPr>
        <p:spPr>
          <a:xfrm>
            <a:off x="5107197" y="959733"/>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22" name="Text Placeholder 3">
            <a:extLst>
              <a:ext uri="{FF2B5EF4-FFF2-40B4-BE49-F238E27FC236}">
                <a16:creationId xmlns:a16="http://schemas.microsoft.com/office/drawing/2014/main" id="{450AD0AE-26A9-7041-BAC9-7726260DC45A}"/>
              </a:ext>
            </a:extLst>
          </p:cNvPr>
          <p:cNvSpPr>
            <a:spLocks noGrp="1"/>
          </p:cNvSpPr>
          <p:nvPr>
            <p:ph type="body" sz="quarter" idx="12" hasCustomPrompt="1"/>
          </p:nvPr>
        </p:nvSpPr>
        <p:spPr>
          <a:xfrm>
            <a:off x="5107199" y="2834798"/>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68699330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6_1.3 Single colum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4797943-0794-42BB-A5A2-5F7947FE149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tx1"/>
                </a:solidFill>
                <a:latin typeface="Nokia Pure Headline Ultra Light" panose="020B02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2"/>
                </a:solidFill>
                <a:latin typeface="Nokia Pure Headline Ultra Light" panose="020B0204020202020204" pitchFamily="34" charset="0"/>
              </a:defRPr>
            </a:lvl1pPr>
          </a:lstStyle>
          <a:p>
            <a:pPr lvl="0"/>
            <a:r>
              <a:rPr lang="en-US" noProof="0"/>
              <a:t>Click to edit headline</a:t>
            </a:r>
          </a:p>
        </p:txBody>
      </p:sp>
      <p:sp>
        <p:nvSpPr>
          <p:cNvPr id="7" name="TextBox 6">
            <a:extLst>
              <a:ext uri="{FF2B5EF4-FFF2-40B4-BE49-F238E27FC236}">
                <a16:creationId xmlns:a16="http://schemas.microsoft.com/office/drawing/2014/main" id="{C1D82EEC-62DA-4206-A14F-3C37A36EE033}"/>
              </a:ext>
            </a:extLst>
          </p:cNvPr>
          <p:cNvSpPr txBox="1"/>
          <p:nvPr userDrawn="1"/>
        </p:nvSpPr>
        <p:spPr>
          <a:xfrm>
            <a:off x="1007701" y="6421173"/>
            <a:ext cx="2400000" cy="164212"/>
          </a:xfrm>
          <a:prstGeom prst="rect">
            <a:avLst/>
          </a:prstGeom>
          <a:noFill/>
        </p:spPr>
        <p:txBody>
          <a:bodyPr wrap="square" lIns="0" tIns="0" rIns="0" bIns="0" anchor="b">
            <a:spAutoFit/>
          </a:bodyPr>
          <a:lstStyle/>
          <a:p>
            <a:r>
              <a:rPr lang="en-US" sz="1067">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E795313C-2E8E-414B-8DD8-B308C596E634}"/>
              </a:ext>
            </a:extLst>
          </p:cNvPr>
          <p:cNvSpPr txBox="1">
            <a:spLocks/>
          </p:cNvSpPr>
          <p:nvPr userDrawn="1"/>
        </p:nvSpPr>
        <p:spPr>
          <a:xfrm>
            <a:off x="558803" y="6421389"/>
            <a:ext cx="336000" cy="164212"/>
          </a:xfrm>
          <a:prstGeom prst="rect">
            <a:avLst/>
          </a:prstGeom>
        </p:spPr>
        <p:txBody>
          <a:bodyPr wrap="square"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0" name="Footer Placeholder 3">
            <a:extLst>
              <a:ext uri="{FF2B5EF4-FFF2-40B4-BE49-F238E27FC236}">
                <a16:creationId xmlns:a16="http://schemas.microsoft.com/office/drawing/2014/main" id="{A058C78B-B74D-4BDE-A42E-2FA5F58DCE7B}"/>
              </a:ext>
            </a:extLst>
          </p:cNvPr>
          <p:cNvSpPr>
            <a:spLocks noGrp="1"/>
          </p:cNvSpPr>
          <p:nvPr>
            <p:ph type="ftr" sz="quarter" idx="15"/>
          </p:nvPr>
        </p:nvSpPr>
        <p:spPr>
          <a:xfrm>
            <a:off x="3072000" y="6422400"/>
            <a:ext cx="6048000" cy="163200"/>
          </a:xfrm>
        </p:spPr>
        <p:txBody>
          <a:bodyPr/>
          <a:lstStyle>
            <a:lvl1pPr>
              <a:defRPr>
                <a:solidFill>
                  <a:schemeClr val="bg1"/>
                </a:solidFill>
              </a:defRPr>
            </a:lvl1pPr>
          </a:lstStyle>
          <a:p>
            <a:r>
              <a:rPr lang="en-US"/>
              <a:t>Nokia Confidential - FN LT Meeting - May 2023</a:t>
            </a:r>
          </a:p>
        </p:txBody>
      </p:sp>
      <p:pic>
        <p:nvPicPr>
          <p:cNvPr id="3" name="Picture 2">
            <a:extLst>
              <a:ext uri="{FF2B5EF4-FFF2-40B4-BE49-F238E27FC236}">
                <a16:creationId xmlns:a16="http://schemas.microsoft.com/office/drawing/2014/main" id="{B7CAB653-0B58-AB04-C3E0-AA1B85F84B7B}"/>
              </a:ext>
            </a:extLst>
          </p:cNvPr>
          <p:cNvPicPr>
            <a:picLocks noChangeAspect="1"/>
          </p:cNvPicPr>
          <p:nvPr userDrawn="1"/>
        </p:nvPicPr>
        <p:blipFill>
          <a:blip r:embed="rId3"/>
          <a:stretch>
            <a:fillRect/>
          </a:stretch>
        </p:blipFill>
        <p:spPr>
          <a:xfrm>
            <a:off x="0" y="6629402"/>
            <a:ext cx="1935648" cy="201084"/>
          </a:xfrm>
          <a:prstGeom prst="rect">
            <a:avLst/>
          </a:prstGeom>
        </p:spPr>
      </p:pic>
      <p:pic>
        <p:nvPicPr>
          <p:cNvPr id="5" name="Graphic 4">
            <a:extLst>
              <a:ext uri="{FF2B5EF4-FFF2-40B4-BE49-F238E27FC236}">
                <a16:creationId xmlns:a16="http://schemas.microsoft.com/office/drawing/2014/main" id="{85EDF2D1-57C9-C64D-7091-8B58D11F32A2}"/>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36427" y="6320613"/>
            <a:ext cx="1296000" cy="292019"/>
          </a:xfrm>
          <a:prstGeom prst="rect">
            <a:avLst/>
          </a:prstGeom>
        </p:spPr>
      </p:pic>
    </p:spTree>
    <p:extLst>
      <p:ext uri="{BB962C8B-B14F-4D97-AF65-F5344CB8AC3E}">
        <p14:creationId xmlns:p14="http://schemas.microsoft.com/office/powerpoint/2010/main" val="1587118808"/>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1_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3"/>
            <a:ext cx="1296000" cy="292019"/>
          </a:xfrm>
          <a:prstGeom prst="rect">
            <a:avLst/>
          </a:prstGeom>
        </p:spPr>
      </p:pic>
      <p:sp>
        <p:nvSpPr>
          <p:cNvPr id="12" name="Text Placeholder 42">
            <a:extLst>
              <a:ext uri="{FF2B5EF4-FFF2-40B4-BE49-F238E27FC236}">
                <a16:creationId xmlns:a16="http://schemas.microsoft.com/office/drawing/2014/main" id="{E8A36BB1-1CB4-70E4-B774-36E6FFADAD7B}"/>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5990E264-5D0F-60E1-079B-4D9441DFD2FA}"/>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8" name="Slide Number Placeholder 5">
            <a:extLst>
              <a:ext uri="{FF2B5EF4-FFF2-40B4-BE49-F238E27FC236}">
                <a16:creationId xmlns:a16="http://schemas.microsoft.com/office/drawing/2014/main" id="{1F513913-81F1-BE35-BEE1-E4F3B331C19E}"/>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5A2E6516-E21C-B9AB-D96C-01D89E1C188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FC57D9E6-836B-E344-7053-C5B54572FBF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91637232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9_1.4 Bulletpoint text 1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FD95910B-6C91-D297-584C-3D1533AECBE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7" name="Slide Number Placeholder 5">
            <a:extLst>
              <a:ext uri="{FF2B5EF4-FFF2-40B4-BE49-F238E27FC236}">
                <a16:creationId xmlns:a16="http://schemas.microsoft.com/office/drawing/2014/main" id="{C76EFBCA-F2A9-DB62-4D3E-60E897B89B5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5E7D3F5-04E5-7DAF-AB76-2DAC95AB476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7D61FF18-0BA2-46E4-85DF-332117D1237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92026584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9_1.12 Title slide with media 2">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Box 4">
            <a:extLst>
              <a:ext uri="{FF2B5EF4-FFF2-40B4-BE49-F238E27FC236}">
                <a16:creationId xmlns:a16="http://schemas.microsoft.com/office/drawing/2014/main" id="{44F7A0E6-27FB-B6FF-2E31-5A6107DF4D1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7" name="Slide Number Placeholder 5">
            <a:extLst>
              <a:ext uri="{FF2B5EF4-FFF2-40B4-BE49-F238E27FC236}">
                <a16:creationId xmlns:a16="http://schemas.microsoft.com/office/drawing/2014/main" id="{0F2544C4-9B73-80CB-B1AE-384180132B7C}"/>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612FBD75-FC64-31E3-3F75-9DAE4224DD4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ECE578A4-6CB9-C574-603A-6A6E64EB149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4072492631"/>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5_2.13 Title slide with media 4 dark">
    <p:bg>
      <p:bgPr>
        <a:solidFill>
          <a:schemeClr val="tx1"/>
        </a:solidFill>
        <a:effectLst/>
      </p:bgPr>
    </p:bg>
    <p:spTree>
      <p:nvGrpSpPr>
        <p:cNvPr id="1" name=""/>
        <p:cNvGrpSpPr/>
        <p:nvPr/>
      </p:nvGrpSpPr>
      <p:grpSpPr>
        <a:xfrm>
          <a:off x="0" y="0"/>
          <a:ext cx="0" cy="0"/>
          <a:chOff x="0" y="0"/>
          <a:chExt cx="0" cy="0"/>
        </a:xfrm>
      </p:grpSpPr>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556801" y="527928"/>
            <a:ext cx="3294188"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556801" y="1019360"/>
            <a:ext cx="3294188"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556453" y="1680000"/>
            <a:ext cx="329418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sz="1600">
                <a:solidFill>
                  <a:schemeClr val="bg1"/>
                </a:solidFill>
              </a:defRPr>
            </a:lvl4pPr>
            <a:lvl5pPr marL="1199970" indent="-239994">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C663BDD0-396A-C130-FA04-231CB3C74388}"/>
              </a:ext>
            </a:extLst>
          </p:cNvPr>
          <p:cNvSpPr>
            <a:spLocks noGrp="1"/>
          </p:cNvSpPr>
          <p:nvPr>
            <p:ph type="pic" sz="quarter" idx="16" hasCustomPrompt="1"/>
          </p:nvPr>
        </p:nvSpPr>
        <p:spPr>
          <a:xfrm>
            <a:off x="4267200" y="0"/>
            <a:ext cx="79248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pic>
        <p:nvPicPr>
          <p:cNvPr id="3" name="Graphic 2">
            <a:extLst>
              <a:ext uri="{FF2B5EF4-FFF2-40B4-BE49-F238E27FC236}">
                <a16:creationId xmlns:a16="http://schemas.microsoft.com/office/drawing/2014/main" id="{E89A3CCB-3818-87A8-9032-448C77F620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6" name="TextBox 5">
            <a:extLst>
              <a:ext uri="{FF2B5EF4-FFF2-40B4-BE49-F238E27FC236}">
                <a16:creationId xmlns:a16="http://schemas.microsoft.com/office/drawing/2014/main" id="{2108539B-21D0-85E7-AB77-143ABD40EEB1}"/>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3F76E50B-EEF8-724F-1802-0488D70A46F4}"/>
              </a:ext>
            </a:extLst>
          </p:cNvPr>
          <p:cNvSpPr txBox="1">
            <a:spLocks/>
          </p:cNvSpPr>
          <p:nvPr userDrawn="1"/>
        </p:nvSpPr>
        <p:spPr>
          <a:xfrm>
            <a:off x="558803" y="6478009"/>
            <a:ext cx="160300"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7FC0E722-8D59-61D9-391E-65CCE154F81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0CF5A558-51C2-73A4-9D8C-5A3B7422BE46}"/>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324085025"/>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0_1.4 Bulletpoint text 1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Box 1">
            <a:extLst>
              <a:ext uri="{FF2B5EF4-FFF2-40B4-BE49-F238E27FC236}">
                <a16:creationId xmlns:a16="http://schemas.microsoft.com/office/drawing/2014/main" id="{FD95910B-6C91-D297-584C-3D1533AECBE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7" name="Slide Number Placeholder 5">
            <a:extLst>
              <a:ext uri="{FF2B5EF4-FFF2-40B4-BE49-F238E27FC236}">
                <a16:creationId xmlns:a16="http://schemas.microsoft.com/office/drawing/2014/main" id="{C76EFBCA-F2A9-DB62-4D3E-60E897B89B56}"/>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5E7D3F5-04E5-7DAF-AB76-2DAC95AB476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7D61FF18-0BA2-46E4-85DF-332117D1237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72627529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10_1.12 Title slide with media 2">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5" name="TextBox 4">
            <a:extLst>
              <a:ext uri="{FF2B5EF4-FFF2-40B4-BE49-F238E27FC236}">
                <a16:creationId xmlns:a16="http://schemas.microsoft.com/office/drawing/2014/main" id="{44F7A0E6-27FB-B6FF-2E31-5A6107DF4D1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7" name="Slide Number Placeholder 5">
            <a:extLst>
              <a:ext uri="{FF2B5EF4-FFF2-40B4-BE49-F238E27FC236}">
                <a16:creationId xmlns:a16="http://schemas.microsoft.com/office/drawing/2014/main" id="{0F2544C4-9B73-80CB-B1AE-384180132B7C}"/>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612FBD75-FC64-31E3-3F75-9DAE4224DD4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ECE578A4-6CB9-C574-603A-6A6E64EB149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57680411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6_3 N Blue green">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A97BECFD-8EA7-0689-338E-FF79734814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Graphic 5">
            <a:extLst>
              <a:ext uri="{FF2B5EF4-FFF2-40B4-BE49-F238E27FC236}">
                <a16:creationId xmlns:a16="http://schemas.microsoft.com/office/drawing/2014/main" id="{B8976C7B-2688-70F3-77A4-4D1113FB54E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6859200" cy="6859200"/>
          </a:xfrm>
          <a:prstGeom prst="rect">
            <a:avLst/>
          </a:prstGeom>
        </p:spPr>
      </p:pic>
      <p:grpSp>
        <p:nvGrpSpPr>
          <p:cNvPr id="10" name="Graphic 3">
            <a:extLst>
              <a:ext uri="{FF2B5EF4-FFF2-40B4-BE49-F238E27FC236}">
                <a16:creationId xmlns:a16="http://schemas.microsoft.com/office/drawing/2014/main" id="{49D9392C-9E29-427F-3C29-C64146E898C7}"/>
              </a:ext>
            </a:extLst>
          </p:cNvPr>
          <p:cNvGrpSpPr/>
          <p:nvPr userDrawn="1"/>
        </p:nvGrpSpPr>
        <p:grpSpPr>
          <a:xfrm>
            <a:off x="1649972" y="5976901"/>
            <a:ext cx="1817989" cy="409417"/>
            <a:chOff x="469958" y="1647414"/>
            <a:chExt cx="8205029" cy="1847802"/>
          </a:xfrm>
          <a:solidFill>
            <a:schemeClr val="bg1"/>
          </a:solidFill>
        </p:grpSpPr>
        <p:sp>
          <p:nvSpPr>
            <p:cNvPr id="11" name="Freeform 33">
              <a:extLst>
                <a:ext uri="{FF2B5EF4-FFF2-40B4-BE49-F238E27FC236}">
                  <a16:creationId xmlns:a16="http://schemas.microsoft.com/office/drawing/2014/main" id="{86483177-9ABF-3F5C-ED1D-16C01EEE37C3}"/>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12" name="Freeform 34">
              <a:extLst>
                <a:ext uri="{FF2B5EF4-FFF2-40B4-BE49-F238E27FC236}">
                  <a16:creationId xmlns:a16="http://schemas.microsoft.com/office/drawing/2014/main" id="{97C96119-D9F7-8022-5694-A13E7950B52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3" name="Freeform 35">
              <a:extLst>
                <a:ext uri="{FF2B5EF4-FFF2-40B4-BE49-F238E27FC236}">
                  <a16:creationId xmlns:a16="http://schemas.microsoft.com/office/drawing/2014/main" id="{247CB589-C660-36A6-BF29-1327034A981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4" name="Freeform 36">
              <a:extLst>
                <a:ext uri="{FF2B5EF4-FFF2-40B4-BE49-F238E27FC236}">
                  <a16:creationId xmlns:a16="http://schemas.microsoft.com/office/drawing/2014/main" id="{2B915696-0B26-9206-B2E7-93708805BDBC}"/>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5" name="Freeform 37">
              <a:extLst>
                <a:ext uri="{FF2B5EF4-FFF2-40B4-BE49-F238E27FC236}">
                  <a16:creationId xmlns:a16="http://schemas.microsoft.com/office/drawing/2014/main" id="{AA3A0836-5277-7254-E598-6DE9FA1A526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5" name="Title 4">
            <a:extLst>
              <a:ext uri="{FF2B5EF4-FFF2-40B4-BE49-F238E27FC236}">
                <a16:creationId xmlns:a16="http://schemas.microsoft.com/office/drawing/2014/main" id="{1EF87F37-41EC-F109-B4C3-D44EE53A0A05}"/>
              </a:ext>
            </a:extLst>
          </p:cNvPr>
          <p:cNvSpPr>
            <a:spLocks noGrp="1"/>
          </p:cNvSpPr>
          <p:nvPr>
            <p:ph type="title" hasCustomPrompt="1"/>
          </p:nvPr>
        </p:nvSpPr>
        <p:spPr>
          <a:xfrm>
            <a:off x="5107197" y="959734"/>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7" name="Text Placeholder 3">
            <a:extLst>
              <a:ext uri="{FF2B5EF4-FFF2-40B4-BE49-F238E27FC236}">
                <a16:creationId xmlns:a16="http://schemas.microsoft.com/office/drawing/2014/main" id="{3D32AC0D-5511-1F2D-2A28-C259AC8BC58A}"/>
              </a:ext>
            </a:extLst>
          </p:cNvPr>
          <p:cNvSpPr>
            <a:spLocks noGrp="1"/>
          </p:cNvSpPr>
          <p:nvPr>
            <p:ph type="body" sz="quarter" idx="12" hasCustomPrompt="1"/>
          </p:nvPr>
        </p:nvSpPr>
        <p:spPr>
          <a:xfrm>
            <a:off x="5107199" y="2834800"/>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8" name="TextBox 17">
            <a:extLst>
              <a:ext uri="{FF2B5EF4-FFF2-40B4-BE49-F238E27FC236}">
                <a16:creationId xmlns:a16="http://schemas.microsoft.com/office/drawing/2014/main" id="{3CB10A0F-2286-895A-B579-CB5D4386A2B7}"/>
              </a:ext>
            </a:extLst>
          </p:cNvPr>
          <p:cNvSpPr txBox="1"/>
          <p:nvPr userDrawn="1"/>
        </p:nvSpPr>
        <p:spPr>
          <a:xfrm>
            <a:off x="10793089"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AAD2976-396D-426A-A7C0-2D53F71491E3}"/>
              </a:ext>
            </a:extLst>
          </p:cNvPr>
          <p:cNvSpPr txBox="1">
            <a:spLocks/>
          </p:cNvSpPr>
          <p:nvPr userDrawn="1"/>
        </p:nvSpPr>
        <p:spPr>
          <a:xfrm>
            <a:off x="10445185"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239973818"/>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6_3 N Purple blue">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81E104F6-2E1E-CFDD-A69D-C115384F159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0E27FD93-255E-C585-12C2-E99681C9BE5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1201"/>
            <a:ext cx="6859200" cy="6859200"/>
          </a:xfrm>
          <a:prstGeom prst="rect">
            <a:avLst/>
          </a:prstGeom>
        </p:spPr>
      </p:pic>
      <p:grpSp>
        <p:nvGrpSpPr>
          <p:cNvPr id="7" name="Graphic 3">
            <a:extLst>
              <a:ext uri="{FF2B5EF4-FFF2-40B4-BE49-F238E27FC236}">
                <a16:creationId xmlns:a16="http://schemas.microsoft.com/office/drawing/2014/main" id="{AC803887-2AFC-DF73-DE60-1BE27DDE158C}"/>
              </a:ext>
            </a:extLst>
          </p:cNvPr>
          <p:cNvGrpSpPr/>
          <p:nvPr userDrawn="1"/>
        </p:nvGrpSpPr>
        <p:grpSpPr>
          <a:xfrm>
            <a:off x="1649972" y="5976901"/>
            <a:ext cx="1817989" cy="409417"/>
            <a:chOff x="469958" y="1647414"/>
            <a:chExt cx="8205029" cy="1847802"/>
          </a:xfrm>
          <a:solidFill>
            <a:schemeClr val="bg1"/>
          </a:solidFill>
        </p:grpSpPr>
        <p:sp>
          <p:nvSpPr>
            <p:cNvPr id="8" name="Freeform 33">
              <a:extLst>
                <a:ext uri="{FF2B5EF4-FFF2-40B4-BE49-F238E27FC236}">
                  <a16:creationId xmlns:a16="http://schemas.microsoft.com/office/drawing/2014/main" id="{FB007C44-CA5E-747F-537B-FA8B422F6EF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9" name="Freeform 34">
              <a:extLst>
                <a:ext uri="{FF2B5EF4-FFF2-40B4-BE49-F238E27FC236}">
                  <a16:creationId xmlns:a16="http://schemas.microsoft.com/office/drawing/2014/main" id="{ACD5E94E-82F7-2222-8DA7-BF2F4217D47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3" name="Freeform 35">
              <a:extLst>
                <a:ext uri="{FF2B5EF4-FFF2-40B4-BE49-F238E27FC236}">
                  <a16:creationId xmlns:a16="http://schemas.microsoft.com/office/drawing/2014/main" id="{3422F086-3538-B59C-A13B-E07C6B18072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4" name="Freeform 36">
              <a:extLst>
                <a:ext uri="{FF2B5EF4-FFF2-40B4-BE49-F238E27FC236}">
                  <a16:creationId xmlns:a16="http://schemas.microsoft.com/office/drawing/2014/main" id="{64270631-5CE7-99C0-6E82-FDECFC1D363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5" name="Freeform 37">
              <a:extLst>
                <a:ext uri="{FF2B5EF4-FFF2-40B4-BE49-F238E27FC236}">
                  <a16:creationId xmlns:a16="http://schemas.microsoft.com/office/drawing/2014/main" id="{AEC4CD95-FA07-887B-3375-C4368A44AF15}"/>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6" name="TextBox 5">
            <a:extLst>
              <a:ext uri="{FF2B5EF4-FFF2-40B4-BE49-F238E27FC236}">
                <a16:creationId xmlns:a16="http://schemas.microsoft.com/office/drawing/2014/main" id="{1AA40532-F231-EBBB-A8D3-3657B33CB9DA}"/>
              </a:ext>
            </a:extLst>
          </p:cNvPr>
          <p:cNvSpPr txBox="1"/>
          <p:nvPr userDrawn="1"/>
        </p:nvSpPr>
        <p:spPr>
          <a:xfrm>
            <a:off x="10793089"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B509789C-1FE5-7B11-DD63-34E6F72F670E}"/>
              </a:ext>
            </a:extLst>
          </p:cNvPr>
          <p:cNvSpPr txBox="1">
            <a:spLocks/>
          </p:cNvSpPr>
          <p:nvPr userDrawn="1"/>
        </p:nvSpPr>
        <p:spPr>
          <a:xfrm>
            <a:off x="10445185"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7" name="Title 4">
            <a:extLst>
              <a:ext uri="{FF2B5EF4-FFF2-40B4-BE49-F238E27FC236}">
                <a16:creationId xmlns:a16="http://schemas.microsoft.com/office/drawing/2014/main" id="{A1D3EB5E-6B70-AA5A-4340-53F0E0A0646D}"/>
              </a:ext>
            </a:extLst>
          </p:cNvPr>
          <p:cNvSpPr>
            <a:spLocks noGrp="1"/>
          </p:cNvSpPr>
          <p:nvPr>
            <p:ph type="title" hasCustomPrompt="1"/>
          </p:nvPr>
        </p:nvSpPr>
        <p:spPr>
          <a:xfrm>
            <a:off x="5107197" y="959734"/>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8" name="Text Placeholder 3">
            <a:extLst>
              <a:ext uri="{FF2B5EF4-FFF2-40B4-BE49-F238E27FC236}">
                <a16:creationId xmlns:a16="http://schemas.microsoft.com/office/drawing/2014/main" id="{0AF9AF4C-BE87-2184-CAE5-F141A4F930B6}"/>
              </a:ext>
            </a:extLst>
          </p:cNvPr>
          <p:cNvSpPr>
            <a:spLocks noGrp="1"/>
          </p:cNvSpPr>
          <p:nvPr>
            <p:ph type="body" sz="quarter" idx="12" hasCustomPrompt="1"/>
          </p:nvPr>
        </p:nvSpPr>
        <p:spPr>
          <a:xfrm>
            <a:off x="5107199" y="2834800"/>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61712490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6_3 N Pink">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C7D16BB-9265-7D3A-E136-8F028A9F86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0" name="Graphic 19">
            <a:extLst>
              <a:ext uri="{FF2B5EF4-FFF2-40B4-BE49-F238E27FC236}">
                <a16:creationId xmlns:a16="http://schemas.microsoft.com/office/drawing/2014/main" id="{A7536232-7B28-DCFA-37A3-EEBA7365A53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6859200" cy="6859200"/>
          </a:xfrm>
          <a:prstGeom prst="rect">
            <a:avLst/>
          </a:prstGeom>
        </p:spPr>
      </p:pic>
      <p:grpSp>
        <p:nvGrpSpPr>
          <p:cNvPr id="12" name="Graphic 3">
            <a:extLst>
              <a:ext uri="{FF2B5EF4-FFF2-40B4-BE49-F238E27FC236}">
                <a16:creationId xmlns:a16="http://schemas.microsoft.com/office/drawing/2014/main" id="{BBCFFB55-AEE0-B60F-9245-9C27632712D3}"/>
              </a:ext>
            </a:extLst>
          </p:cNvPr>
          <p:cNvGrpSpPr/>
          <p:nvPr userDrawn="1"/>
        </p:nvGrpSpPr>
        <p:grpSpPr>
          <a:xfrm>
            <a:off x="1649972" y="5976901"/>
            <a:ext cx="1817989" cy="409417"/>
            <a:chOff x="469958" y="1647414"/>
            <a:chExt cx="8205029" cy="1847802"/>
          </a:xfrm>
          <a:solidFill>
            <a:schemeClr val="bg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solidFill>
                  <a:schemeClr val="tx2"/>
                </a:solidFill>
              </a:endParaRPr>
            </a:p>
          </p:txBody>
        </p:sp>
      </p:grpSp>
      <p:sp>
        <p:nvSpPr>
          <p:cNvPr id="18" name="TextBox 17">
            <a:extLst>
              <a:ext uri="{FF2B5EF4-FFF2-40B4-BE49-F238E27FC236}">
                <a16:creationId xmlns:a16="http://schemas.microsoft.com/office/drawing/2014/main" id="{B3045E81-706E-BB14-3DDB-AC56D9F33518}"/>
              </a:ext>
            </a:extLst>
          </p:cNvPr>
          <p:cNvSpPr txBox="1"/>
          <p:nvPr userDrawn="1"/>
        </p:nvSpPr>
        <p:spPr>
          <a:xfrm>
            <a:off x="10793089"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B1E5D1B-6D7F-C600-7828-022D4F5709B7}"/>
              </a:ext>
            </a:extLst>
          </p:cNvPr>
          <p:cNvSpPr txBox="1">
            <a:spLocks/>
          </p:cNvSpPr>
          <p:nvPr userDrawn="1"/>
        </p:nvSpPr>
        <p:spPr>
          <a:xfrm>
            <a:off x="10445185"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Title 4">
            <a:extLst>
              <a:ext uri="{FF2B5EF4-FFF2-40B4-BE49-F238E27FC236}">
                <a16:creationId xmlns:a16="http://schemas.microsoft.com/office/drawing/2014/main" id="{F0180981-7B7F-4D9A-87AD-960857227942}"/>
              </a:ext>
            </a:extLst>
          </p:cNvPr>
          <p:cNvSpPr>
            <a:spLocks noGrp="1"/>
          </p:cNvSpPr>
          <p:nvPr>
            <p:ph type="title" hasCustomPrompt="1"/>
          </p:nvPr>
        </p:nvSpPr>
        <p:spPr>
          <a:xfrm>
            <a:off x="5107197" y="959734"/>
            <a:ext cx="6528000" cy="1659287"/>
          </a:xfrm>
          <a:prstGeom prst="rect">
            <a:avLst/>
          </a:prstGeom>
        </p:spPr>
        <p:txBody>
          <a:bodyPr lIns="0" tIns="0" rIns="0" bIns="0">
            <a:noAutofit/>
          </a:bodyPr>
          <a:lstStyle>
            <a:lvl1pPr marL="0" indent="0" algn="l" defTabSz="121914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22" name="Text Placeholder 3">
            <a:extLst>
              <a:ext uri="{FF2B5EF4-FFF2-40B4-BE49-F238E27FC236}">
                <a16:creationId xmlns:a16="http://schemas.microsoft.com/office/drawing/2014/main" id="{5C555545-3487-5A2F-B887-81AE17C8067F}"/>
              </a:ext>
            </a:extLst>
          </p:cNvPr>
          <p:cNvSpPr>
            <a:spLocks noGrp="1"/>
          </p:cNvSpPr>
          <p:nvPr>
            <p:ph type="body" sz="quarter" idx="12" hasCustomPrompt="1"/>
          </p:nvPr>
        </p:nvSpPr>
        <p:spPr>
          <a:xfrm>
            <a:off x="5107199" y="2834800"/>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84"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70"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54"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3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24"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09"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693"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1325882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O Blue green">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8A7CBB0-A767-7247-8638-81BC366967B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7BBDEA00-FE7A-639E-C16F-BC5E3DBD8FD3}"/>
              </a:ext>
            </a:extLst>
          </p:cNvPr>
          <p:cNvGrpSpPr/>
          <p:nvPr userDrawn="1"/>
        </p:nvGrpSpPr>
        <p:grpSpPr>
          <a:xfrm>
            <a:off x="9308198" y="3224292"/>
            <a:ext cx="1817989" cy="409417"/>
            <a:chOff x="469958" y="1647414"/>
            <a:chExt cx="8205029" cy="1847802"/>
          </a:xfrm>
          <a:solidFill>
            <a:schemeClr val="bg1"/>
          </a:solidFill>
        </p:grpSpPr>
        <p:sp>
          <p:nvSpPr>
            <p:cNvPr id="4" name="Freeform 24">
              <a:extLst>
                <a:ext uri="{FF2B5EF4-FFF2-40B4-BE49-F238E27FC236}">
                  <a16:creationId xmlns:a16="http://schemas.microsoft.com/office/drawing/2014/main" id="{0B5F76F9-295B-59E5-BDCF-8B6840E5B5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25">
              <a:extLst>
                <a:ext uri="{FF2B5EF4-FFF2-40B4-BE49-F238E27FC236}">
                  <a16:creationId xmlns:a16="http://schemas.microsoft.com/office/drawing/2014/main" id="{B473941B-CE77-6414-782E-B5933651166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26">
              <a:extLst>
                <a:ext uri="{FF2B5EF4-FFF2-40B4-BE49-F238E27FC236}">
                  <a16:creationId xmlns:a16="http://schemas.microsoft.com/office/drawing/2014/main" id="{03FCE4B1-384C-92A9-F114-45634B67A11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8" name="Freeform 27">
              <a:extLst>
                <a:ext uri="{FF2B5EF4-FFF2-40B4-BE49-F238E27FC236}">
                  <a16:creationId xmlns:a16="http://schemas.microsoft.com/office/drawing/2014/main" id="{16718376-BEBA-6EC2-B9BA-05AEA785303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2" name="Freeform 28">
              <a:extLst>
                <a:ext uri="{FF2B5EF4-FFF2-40B4-BE49-F238E27FC236}">
                  <a16:creationId xmlns:a16="http://schemas.microsoft.com/office/drawing/2014/main" id="{55E96EEC-F984-9065-5EAC-AF9297B31DF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3" name="Graphic 12">
            <a:extLst>
              <a:ext uri="{FF2B5EF4-FFF2-40B4-BE49-F238E27FC236}">
                <a16:creationId xmlns:a16="http://schemas.microsoft.com/office/drawing/2014/main" id="{8CEF710E-39E1-082B-B52C-E37B4EEF550E}"/>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1" y="-6395"/>
            <a:ext cx="5356300" cy="6859200"/>
          </a:xfrm>
          <a:prstGeom prst="rect">
            <a:avLst/>
          </a:prstGeom>
        </p:spPr>
      </p:pic>
      <p:sp>
        <p:nvSpPr>
          <p:cNvPr id="9" name="Title 4">
            <a:extLst>
              <a:ext uri="{FF2B5EF4-FFF2-40B4-BE49-F238E27FC236}">
                <a16:creationId xmlns:a16="http://schemas.microsoft.com/office/drawing/2014/main" id="{9A3B12B3-A799-7EB4-75DA-BC0A7D70161D}"/>
              </a:ext>
            </a:extLst>
          </p:cNvPr>
          <p:cNvSpPr>
            <a:spLocks noGrp="1"/>
          </p:cNvSpPr>
          <p:nvPr>
            <p:ph type="title" hasCustomPrompt="1"/>
          </p:nvPr>
        </p:nvSpPr>
        <p:spPr>
          <a:xfrm>
            <a:off x="556708" y="1200000"/>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0" name="Text Placeholder 3">
            <a:extLst>
              <a:ext uri="{FF2B5EF4-FFF2-40B4-BE49-F238E27FC236}">
                <a16:creationId xmlns:a16="http://schemas.microsoft.com/office/drawing/2014/main" id="{BEDD8338-5A64-469A-E2DB-DF91FC185624}"/>
              </a:ext>
            </a:extLst>
          </p:cNvPr>
          <p:cNvSpPr>
            <a:spLocks noGrp="1"/>
          </p:cNvSpPr>
          <p:nvPr>
            <p:ph type="body" sz="quarter" idx="12" hasCustomPrompt="1"/>
          </p:nvPr>
        </p:nvSpPr>
        <p:spPr>
          <a:xfrm>
            <a:off x="556708" y="3120001"/>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8" name="TextBox 17">
            <a:extLst>
              <a:ext uri="{FF2B5EF4-FFF2-40B4-BE49-F238E27FC236}">
                <a16:creationId xmlns:a16="http://schemas.microsoft.com/office/drawing/2014/main" id="{8BB79C81-C7D6-4DE3-0A04-D7E02DD8C66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A910EA0-FECD-D7DE-120C-8BC301ED58FF}"/>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655621271"/>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5557" y="0"/>
            <a:ext cx="9942443" cy="1938130"/>
          </a:xfrm>
        </p:spPr>
        <p:txBody>
          <a:bodyPr anchor="b">
            <a:normAutofit/>
          </a:bodyPr>
          <a:lstStyle>
            <a:lvl1pPr algn="l">
              <a:defRPr sz="4000" b="1" baseline="0">
                <a:solidFill>
                  <a:srgbClr val="003C71"/>
                </a:solidFill>
                <a:latin typeface="+mj-lt"/>
              </a:defRPr>
            </a:lvl1pPr>
          </a:lstStyle>
          <a:p>
            <a:r>
              <a:rPr lang="en-US"/>
              <a:t>Click to Edit Master Title Style</a:t>
            </a:r>
          </a:p>
        </p:txBody>
      </p:sp>
      <p:sp>
        <p:nvSpPr>
          <p:cNvPr id="3" name="Subtitle 2"/>
          <p:cNvSpPr>
            <a:spLocks noGrp="1"/>
          </p:cNvSpPr>
          <p:nvPr>
            <p:ph type="subTitle" idx="1" hasCustomPrompt="1"/>
          </p:nvPr>
        </p:nvSpPr>
        <p:spPr>
          <a:xfrm>
            <a:off x="725557" y="1938131"/>
            <a:ext cx="9942443" cy="983974"/>
          </a:xfrm>
        </p:spPr>
        <p:txBody>
          <a:bodyPr>
            <a:normAutofit/>
          </a:bodyPr>
          <a:lstStyle>
            <a:lvl1pPr marL="0" indent="0" algn="l">
              <a:buNone/>
              <a:defRPr sz="2400" cap="small" baseline="0">
                <a:solidFill>
                  <a:schemeClr val="bg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a:t>
            </a:r>
          </a:p>
        </p:txBody>
      </p:sp>
      <p:sp>
        <p:nvSpPr>
          <p:cNvPr id="4" name="Date Placeholder 3"/>
          <p:cNvSpPr>
            <a:spLocks noGrp="1"/>
          </p:cNvSpPr>
          <p:nvPr>
            <p:ph type="dt" sz="half" idx="10"/>
          </p:nvPr>
        </p:nvSpPr>
        <p:spPr>
          <a:xfrm>
            <a:off x="725557" y="6356350"/>
            <a:ext cx="2743200" cy="365125"/>
          </a:xfrm>
        </p:spPr>
        <p:txBody>
          <a:bodyPr/>
          <a:lstStyle>
            <a:lvl1pPr>
              <a:defRPr sz="1600">
                <a:solidFill>
                  <a:schemeClr val="tx1"/>
                </a:solidFill>
              </a:defRPr>
            </a:lvl1p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0F17FB2-492B-4E29-A2B9-10838F426D13}" type="slidenum">
              <a:rPr lang="en-US" smtClean="0"/>
              <a:t>‹#›</a:t>
            </a:fld>
            <a:endParaRPr lang="en-US"/>
          </a:p>
        </p:txBody>
      </p:sp>
      <p:sp>
        <p:nvSpPr>
          <p:cNvPr id="12" name="Text Placeholder 11">
            <a:extLst>
              <a:ext uri="{FF2B5EF4-FFF2-40B4-BE49-F238E27FC236}">
                <a16:creationId xmlns:a16="http://schemas.microsoft.com/office/drawing/2014/main" id="{1B623F53-7E80-41F8-85AC-E47E7B7924C2}"/>
              </a:ext>
            </a:extLst>
          </p:cNvPr>
          <p:cNvSpPr>
            <a:spLocks noGrp="1"/>
          </p:cNvSpPr>
          <p:nvPr>
            <p:ph type="body" sz="quarter" idx="13" hasCustomPrompt="1"/>
          </p:nvPr>
        </p:nvSpPr>
        <p:spPr>
          <a:xfrm>
            <a:off x="725488" y="3200401"/>
            <a:ext cx="9942512" cy="822960"/>
          </a:xfrm>
        </p:spPr>
        <p:txBody>
          <a:bodyPr>
            <a:normAutofit/>
          </a:bodyPr>
          <a:lstStyle>
            <a:lvl1pPr marL="0" indent="0">
              <a:buFontTx/>
              <a:buNone/>
              <a:defRPr sz="2000">
                <a:solidFill>
                  <a:schemeClr val="accent1"/>
                </a:solidFill>
              </a:defRPr>
            </a:lvl1pPr>
          </a:lstStyle>
          <a:p>
            <a:pPr lvl="0"/>
            <a:r>
              <a:rPr lang="en-US"/>
              <a:t>Audio Information</a:t>
            </a:r>
          </a:p>
        </p:txBody>
      </p:sp>
      <p:sp>
        <p:nvSpPr>
          <p:cNvPr id="16" name="Text Placeholder 15">
            <a:extLst>
              <a:ext uri="{FF2B5EF4-FFF2-40B4-BE49-F238E27FC236}">
                <a16:creationId xmlns:a16="http://schemas.microsoft.com/office/drawing/2014/main" id="{B1A82A95-1E91-4B3C-8F04-A4A4E622C229}"/>
              </a:ext>
            </a:extLst>
          </p:cNvPr>
          <p:cNvSpPr>
            <a:spLocks noGrp="1"/>
          </p:cNvSpPr>
          <p:nvPr>
            <p:ph type="body" sz="quarter" idx="14" hasCustomPrompt="1"/>
          </p:nvPr>
        </p:nvSpPr>
        <p:spPr>
          <a:xfrm>
            <a:off x="725488" y="5104014"/>
            <a:ext cx="2906712" cy="515388"/>
          </a:xfrm>
        </p:spPr>
        <p:txBody>
          <a:bodyPr>
            <a:normAutofit/>
          </a:bodyPr>
          <a:lstStyle>
            <a:lvl1pPr marL="0" indent="0">
              <a:buNone/>
              <a:defRPr sz="1600">
                <a:solidFill>
                  <a:schemeClr val="tx1"/>
                </a:solidFill>
              </a:defRPr>
            </a:lvl1pPr>
          </a:lstStyle>
          <a:p>
            <a:pPr lvl="0"/>
            <a:r>
              <a:rPr lang="en-US"/>
              <a:t>Date</a:t>
            </a:r>
          </a:p>
        </p:txBody>
      </p:sp>
    </p:spTree>
    <p:extLst>
      <p:ext uri="{BB962C8B-B14F-4D97-AF65-F5344CB8AC3E}">
        <p14:creationId xmlns:p14="http://schemas.microsoft.com/office/powerpoint/2010/main" val="29794937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marL="341313" indent="-341313">
              <a:lnSpc>
                <a:spcPct val="100000"/>
              </a:lnSpc>
              <a:spcAft>
                <a:spcPts val="600"/>
              </a:spcAft>
              <a:buFont typeface="Wingdings" panose="05000000000000000000" pitchFamily="2" charset="2"/>
              <a:buChar char="§"/>
              <a:defRPr>
                <a:solidFill>
                  <a:schemeClr val="tx1"/>
                </a:solidFill>
              </a:defRPr>
            </a:lvl1pPr>
            <a:lvl2pPr marL="804863" indent="-347663">
              <a:lnSpc>
                <a:spcPct val="100000"/>
              </a:lnSpc>
              <a:spcAft>
                <a:spcPts val="600"/>
              </a:spcAft>
              <a:buClr>
                <a:schemeClr val="accent3"/>
              </a:buClr>
              <a:buFont typeface="Courier New" panose="02070309020205020404" pitchFamily="49" charset="0"/>
              <a:buChar char="-"/>
              <a:defRPr>
                <a:solidFill>
                  <a:schemeClr val="tx1"/>
                </a:solidFill>
              </a:defRPr>
            </a:lvl2pPr>
            <a:lvl3pPr marL="1255713" indent="-341313">
              <a:lnSpc>
                <a:spcPct val="100000"/>
              </a:lnSpc>
              <a:spcAft>
                <a:spcPts val="600"/>
              </a:spcAft>
              <a:buClr>
                <a:schemeClr val="accent2"/>
              </a:buClr>
              <a:buSzPct val="100000"/>
              <a:buFont typeface="Courier New" panose="02070309020205020404" pitchFamily="49" charset="0"/>
              <a:buChar char="-"/>
              <a:defRPr>
                <a:solidFill>
                  <a:schemeClr val="tx1"/>
                </a:solidFill>
              </a:defRPr>
            </a:lvl3pPr>
            <a:lvl4pPr marL="1719263" indent="-347663">
              <a:lnSpc>
                <a:spcPct val="100000"/>
              </a:lnSpc>
              <a:spcAft>
                <a:spcPts val="600"/>
              </a:spcAft>
              <a:buClr>
                <a:schemeClr val="accent5"/>
              </a:buClr>
              <a:buFont typeface="Courier New" panose="02070309020205020404" pitchFamily="49" charset="0"/>
              <a:buChar char="-"/>
              <a:defRPr>
                <a:solidFill>
                  <a:schemeClr val="tx1"/>
                </a:solidFill>
              </a:defRPr>
            </a:lvl4pPr>
            <a:lvl5pPr marL="2170113" indent="-341313">
              <a:lnSpc>
                <a:spcPct val="100000"/>
              </a:lnSpc>
              <a:spcAft>
                <a:spcPts val="600"/>
              </a:spcAft>
              <a:buClr>
                <a:schemeClr val="accent4"/>
              </a:buClr>
              <a:buFont typeface="Courier New" panose="02070309020205020404" pitchFamily="49"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1C60976-FA77-4CED-9B86-5FF71B41B8F1}" type="datetimeFigureOut">
              <a:rPr lang="en-US" smtClean="0"/>
              <a:t>7/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0F17FB2-492B-4E29-A2B9-10838F426D13}" type="slidenum">
              <a:rPr lang="en-US" smtClean="0"/>
              <a:t>‹#›</a:t>
            </a:fld>
            <a:endParaRPr lang="en-US"/>
          </a:p>
        </p:txBody>
      </p:sp>
    </p:spTree>
    <p:extLst>
      <p:ext uri="{BB962C8B-B14F-4D97-AF65-F5344CB8AC3E}">
        <p14:creationId xmlns:p14="http://schemas.microsoft.com/office/powerpoint/2010/main" val="2705787654"/>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1 Blank">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0FF79836-BBB3-F465-E1C5-425AB4A83E4B}"/>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3" name="Slide Number Placeholder 5">
            <a:extLst>
              <a:ext uri="{FF2B5EF4-FFF2-40B4-BE49-F238E27FC236}">
                <a16:creationId xmlns:a16="http://schemas.microsoft.com/office/drawing/2014/main" id="{D4E9A04A-3145-3809-19A7-33EF3021A9A7}"/>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E5C3DF80-A3E4-DDDB-D584-7BEE3A84C96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16E76675-E286-0D90-FB5C-6C963712349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54664612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2 Titl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3" name="TextBox 12">
            <a:extLst>
              <a:ext uri="{FF2B5EF4-FFF2-40B4-BE49-F238E27FC236}">
                <a16:creationId xmlns:a16="http://schemas.microsoft.com/office/drawing/2014/main" id="{7F7DE4C9-FBB8-8A4B-2DB4-4E815C009D5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4" name="Slide Number Placeholder 5">
            <a:extLst>
              <a:ext uri="{FF2B5EF4-FFF2-40B4-BE49-F238E27FC236}">
                <a16:creationId xmlns:a16="http://schemas.microsoft.com/office/drawing/2014/main" id="{AB509751-E824-3979-F221-A742B654E0CF}"/>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0DEEAF58-9B69-8065-447C-1BD11A04A742}"/>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EDDFD53A-DF6B-C791-DBA9-4B63437DA8D3}"/>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471033180"/>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3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0" indent="0">
              <a:lnSpc>
                <a:spcPct val="100000"/>
              </a:lnSpc>
              <a:spcBef>
                <a:spcPts val="0"/>
              </a:spcBef>
              <a:spcAft>
                <a:spcPts val="800"/>
              </a:spcAft>
              <a:buSzPct val="70000"/>
              <a:buNone/>
              <a:defRPr sz="1600">
                <a:solidFill>
                  <a:schemeClr val="tx1"/>
                </a:solidFill>
              </a:defRPr>
            </a:lvl1pPr>
            <a:lvl2pPr marL="239994" indent="0">
              <a:lnSpc>
                <a:spcPct val="100000"/>
              </a:lnSpc>
              <a:spcBef>
                <a:spcPts val="0"/>
              </a:spcBef>
              <a:spcAft>
                <a:spcPts val="800"/>
              </a:spcAft>
              <a:buSzPct val="70000"/>
              <a:buNone/>
              <a:defRPr sz="1600">
                <a:solidFill>
                  <a:schemeClr val="tx1"/>
                </a:solidFill>
              </a:defRPr>
            </a:lvl2pPr>
            <a:lvl3pPr marL="479988" indent="0">
              <a:lnSpc>
                <a:spcPct val="100000"/>
              </a:lnSpc>
              <a:spcBef>
                <a:spcPts val="0"/>
              </a:spcBef>
              <a:spcAft>
                <a:spcPts val="800"/>
              </a:spcAft>
              <a:buSzPct val="70000"/>
              <a:buNone/>
              <a:defRPr sz="1600">
                <a:solidFill>
                  <a:schemeClr val="tx1"/>
                </a:solidFill>
              </a:defRPr>
            </a:lvl3pPr>
            <a:lvl4pPr marL="719982" indent="0">
              <a:lnSpc>
                <a:spcPct val="100000"/>
              </a:lnSpc>
              <a:spcBef>
                <a:spcPts val="0"/>
              </a:spcBef>
              <a:spcAft>
                <a:spcPts val="800"/>
              </a:spcAft>
              <a:buSzPct val="70000"/>
              <a:buNone/>
              <a:defRPr sz="1600">
                <a:solidFill>
                  <a:schemeClr val="tx1"/>
                </a:solidFill>
              </a:defRPr>
            </a:lvl4pPr>
            <a:lvl5pPr marL="959976" indent="0">
              <a:lnSpc>
                <a:spcPct val="100000"/>
              </a:lnSpc>
              <a:spcBef>
                <a:spcPts val="0"/>
              </a:spcBef>
              <a:spcAft>
                <a:spcPts val="800"/>
              </a:spcAft>
              <a:buSzPct val="70000"/>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0" name="TextBox 9">
            <a:extLst>
              <a:ext uri="{FF2B5EF4-FFF2-40B4-BE49-F238E27FC236}">
                <a16:creationId xmlns:a16="http://schemas.microsoft.com/office/drawing/2014/main" id="{D706B219-6557-5951-F467-43B768A9C96C}"/>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1" name="Slide Number Placeholder 5">
            <a:extLst>
              <a:ext uri="{FF2B5EF4-FFF2-40B4-BE49-F238E27FC236}">
                <a16:creationId xmlns:a16="http://schemas.microsoft.com/office/drawing/2014/main" id="{4FF66938-CF4B-D097-1BC6-18EB230030F4}"/>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CB929F03-682A-4566-CF9F-D3B71DB4575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E177B5-71D7-398C-03E7-932A701525D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03682846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4 Bulletpoint text 1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FD95910B-6C91-D297-584C-3D1533AECBE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7" name="Slide Number Placeholder 5">
            <a:extLst>
              <a:ext uri="{FF2B5EF4-FFF2-40B4-BE49-F238E27FC236}">
                <a16:creationId xmlns:a16="http://schemas.microsoft.com/office/drawing/2014/main" id="{C76EFBCA-F2A9-DB62-4D3E-60E897B89B5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5E7D3F5-04E5-7DAF-AB76-2DAC95AB476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7D61FF18-0BA2-46E4-85DF-332117D1237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664468542"/>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5 Bulletpoint text 2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5424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6211552" y="1680000"/>
            <a:ext cx="5424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E3A67328-00EF-5713-CA06-6BF95B775913}"/>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8" name="Slide Number Placeholder 5">
            <a:extLst>
              <a:ext uri="{FF2B5EF4-FFF2-40B4-BE49-F238E27FC236}">
                <a16:creationId xmlns:a16="http://schemas.microsoft.com/office/drawing/2014/main" id="{CED75580-5FAF-E6C5-DFED-1F462D82E3A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1E21FDDB-B801-EAA3-9D13-40103E7AC2C1}"/>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65EB5894-B0A6-D8F1-AD97-D6E4D056DDA6}"/>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993472114"/>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6 Bulletpoint text 3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360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4296000" y="1680000"/>
            <a:ext cx="360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8035550" y="1680000"/>
            <a:ext cx="3596877"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BF8E66B8-C798-B992-2C68-B85351E1170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3" name="Slide Number Placeholder 5">
            <a:extLst>
              <a:ext uri="{FF2B5EF4-FFF2-40B4-BE49-F238E27FC236}">
                <a16:creationId xmlns:a16="http://schemas.microsoft.com/office/drawing/2014/main" id="{6CA67C43-66D6-847E-98DC-61F9029ECC0B}"/>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323A8A5F-292F-2AC1-C1B0-A59D33F93A2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A1277FE0-ECBC-0B62-6936-4A9C8E1CE894}"/>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74683251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7 Bulletpoint text 4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368443"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180435"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8992427"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93DA646D-5F97-9D8A-4598-A0C98D4634E0}"/>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0" name="Slide Number Placeholder 5">
            <a:extLst>
              <a:ext uri="{FF2B5EF4-FFF2-40B4-BE49-F238E27FC236}">
                <a16:creationId xmlns:a16="http://schemas.microsoft.com/office/drawing/2014/main" id="{9115B87B-934C-0F92-5F93-D343BD44B66C}"/>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7428D676-DD53-1C54-82A5-88434E06B3E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45A16F44-B403-571B-AD0A-B6A86614B77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64118565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8 Numbered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556800" y="1680000"/>
            <a:ext cx="11078400" cy="4158640"/>
          </a:xfrm>
          <a:prstGeom prst="rect">
            <a:avLst/>
          </a:prstGeom>
        </p:spPr>
        <p:txBody>
          <a:bodyPr lIns="0" tIns="0" rIns="0" bIns="0"/>
          <a:lstStyle>
            <a:lvl1pPr marL="304792" indent="-304792">
              <a:lnSpc>
                <a:spcPct val="100000"/>
              </a:lnSpc>
              <a:spcBef>
                <a:spcPts val="0"/>
              </a:spcBef>
              <a:spcAft>
                <a:spcPts val="800"/>
              </a:spcAft>
              <a:buFont typeface="+mj-lt"/>
              <a:buAutoNum type="arabicPeriod"/>
              <a:defRPr sz="1600">
                <a:solidFill>
                  <a:schemeClr val="tx1"/>
                </a:solidFill>
              </a:defRPr>
            </a:lvl1pPr>
            <a:lvl2pPr marL="544786" indent="-304792">
              <a:lnSpc>
                <a:spcPct val="100000"/>
              </a:lnSpc>
              <a:spcBef>
                <a:spcPts val="0"/>
              </a:spcBef>
              <a:spcAft>
                <a:spcPts val="800"/>
              </a:spcAft>
              <a:buFont typeface="+mj-lt"/>
              <a:buAutoNum type="arabicPeriod" startAt="2"/>
              <a:defRPr sz="1600">
                <a:solidFill>
                  <a:schemeClr val="tx1"/>
                </a:solidFill>
              </a:defRPr>
            </a:lvl2pPr>
            <a:lvl3pPr marL="784780" indent="-304792">
              <a:lnSpc>
                <a:spcPct val="100000"/>
              </a:lnSpc>
              <a:spcBef>
                <a:spcPts val="0"/>
              </a:spcBef>
              <a:spcAft>
                <a:spcPts val="800"/>
              </a:spcAft>
              <a:buFont typeface="+mj-lt"/>
              <a:buAutoNum type="arabicPeriod" startAt="3"/>
              <a:defRPr sz="1600">
                <a:solidFill>
                  <a:schemeClr val="tx1"/>
                </a:solidFill>
              </a:defRPr>
            </a:lvl3pPr>
            <a:lvl4pPr marL="1024774" indent="-304792">
              <a:lnSpc>
                <a:spcPct val="100000"/>
              </a:lnSpc>
              <a:spcBef>
                <a:spcPts val="0"/>
              </a:spcBef>
              <a:spcAft>
                <a:spcPts val="800"/>
              </a:spcAft>
              <a:buFont typeface="+mj-lt"/>
              <a:buAutoNum type="arabicPeriod" startAt="4"/>
              <a:defRPr sz="1600">
                <a:solidFill>
                  <a:schemeClr val="tx1"/>
                </a:solidFill>
              </a:defRPr>
            </a:lvl4pPr>
            <a:lvl5pPr marL="1276168" indent="-304792">
              <a:lnSpc>
                <a:spcPct val="100000"/>
              </a:lnSpc>
              <a:spcBef>
                <a:spcPts val="0"/>
              </a:spcBef>
              <a:spcAft>
                <a:spcPts val="800"/>
              </a:spcAft>
              <a:buFont typeface="+mj-lt"/>
              <a:buAutoNum type="arabicPeriod" startAt="5"/>
              <a:defRPr sz="1600">
                <a:solidFill>
                  <a:schemeClr val="tx1"/>
                </a:solidFill>
              </a:defRPr>
            </a:lvl5pPr>
          </a:lstStyle>
          <a:p>
            <a:pPr lvl="0"/>
            <a:r>
              <a:rPr lang="en-US"/>
              <a:t>Text here</a:t>
            </a:r>
          </a:p>
          <a:p>
            <a:pPr lvl="1"/>
            <a:r>
              <a:rPr lang="en-US"/>
              <a:t>Text here</a:t>
            </a:r>
          </a:p>
          <a:p>
            <a:pPr lvl="2"/>
            <a:r>
              <a:rPr lang="en-US"/>
              <a:t>Text here</a:t>
            </a:r>
          </a:p>
          <a:p>
            <a:pPr lvl="3"/>
            <a:r>
              <a:rPr lang="en-US"/>
              <a:t>Text here</a:t>
            </a:r>
          </a:p>
          <a:p>
            <a:pPr marL="1276168" marR="0" lvl="4" indent="-304792" algn="l" defTabSz="914377" rtl="0" eaLnBrk="1" fontAlgn="auto" latinLnBrk="0" hangingPunct="1">
              <a:lnSpc>
                <a:spcPct val="100000"/>
              </a:lnSpc>
              <a:spcBef>
                <a:spcPts val="0"/>
              </a:spcBef>
              <a:spcAft>
                <a:spcPts val="400"/>
              </a:spcAft>
              <a:buClrTx/>
              <a:buSzTx/>
              <a:tabLst/>
              <a:defRPr/>
            </a:pPr>
            <a:r>
              <a:rPr lang="en-US"/>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BB696985-1EFA-02D0-106A-9F81CEBC3FA1}"/>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7" name="Slide Number Placeholder 5">
            <a:extLst>
              <a:ext uri="{FF2B5EF4-FFF2-40B4-BE49-F238E27FC236}">
                <a16:creationId xmlns:a16="http://schemas.microsoft.com/office/drawing/2014/main" id="{1AF7E5B4-21F0-0696-BF4F-8AFCA8103CD7}"/>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87755C10-FC21-4D9F-8DA4-A30B437ABD12}"/>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DDC4B182-BD0E-D0F1-793C-A6CE500EA3BD}"/>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0572622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O Blue pink">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6" name="Graphic 3">
            <a:extLst>
              <a:ext uri="{FF2B5EF4-FFF2-40B4-BE49-F238E27FC236}">
                <a16:creationId xmlns:a16="http://schemas.microsoft.com/office/drawing/2014/main" id="{7ADBC276-24FC-31B1-198D-D0A0EB5188BB}"/>
              </a:ext>
            </a:extLst>
          </p:cNvPr>
          <p:cNvGrpSpPr/>
          <p:nvPr userDrawn="1"/>
        </p:nvGrpSpPr>
        <p:grpSpPr>
          <a:xfrm>
            <a:off x="9308198" y="3224292"/>
            <a:ext cx="1817989" cy="409417"/>
            <a:chOff x="469958" y="1647414"/>
            <a:chExt cx="8205029" cy="1847802"/>
          </a:xfrm>
          <a:solidFill>
            <a:schemeClr val="bg1"/>
          </a:solidFill>
        </p:grpSpPr>
        <p:sp>
          <p:nvSpPr>
            <p:cNvPr id="7" name="Freeform 24">
              <a:extLst>
                <a:ext uri="{FF2B5EF4-FFF2-40B4-BE49-F238E27FC236}">
                  <a16:creationId xmlns:a16="http://schemas.microsoft.com/office/drawing/2014/main" id="{CDDE8834-7F71-A488-29A8-540395324479}"/>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8" name="Freeform 25">
              <a:extLst>
                <a:ext uri="{FF2B5EF4-FFF2-40B4-BE49-F238E27FC236}">
                  <a16:creationId xmlns:a16="http://schemas.microsoft.com/office/drawing/2014/main" id="{FEFA04F6-2C3F-3E38-9E08-D6990D946A8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9" name="Freeform 26">
              <a:extLst>
                <a:ext uri="{FF2B5EF4-FFF2-40B4-BE49-F238E27FC236}">
                  <a16:creationId xmlns:a16="http://schemas.microsoft.com/office/drawing/2014/main" id="{54253727-9053-862A-19CB-32DD1616812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12" name="Freeform 27">
              <a:extLst>
                <a:ext uri="{FF2B5EF4-FFF2-40B4-BE49-F238E27FC236}">
                  <a16:creationId xmlns:a16="http://schemas.microsoft.com/office/drawing/2014/main" id="{6E5204B2-3785-90DB-45F2-F73CC497595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3" name="Freeform 28">
              <a:extLst>
                <a:ext uri="{FF2B5EF4-FFF2-40B4-BE49-F238E27FC236}">
                  <a16:creationId xmlns:a16="http://schemas.microsoft.com/office/drawing/2014/main" id="{95BC05DD-4D63-F05A-843F-EE491020FFD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4" name="Graphic 13">
            <a:extLst>
              <a:ext uri="{FF2B5EF4-FFF2-40B4-BE49-F238E27FC236}">
                <a16:creationId xmlns:a16="http://schemas.microsoft.com/office/drawing/2014/main" id="{F41E3DBD-A4E2-6EF5-8073-EED87395D745}"/>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1" y="-6395"/>
            <a:ext cx="5356300" cy="6859200"/>
          </a:xfrm>
          <a:prstGeom prst="rect">
            <a:avLst/>
          </a:prstGeom>
        </p:spPr>
      </p:pic>
      <p:sp>
        <p:nvSpPr>
          <p:cNvPr id="11" name="TextBox 10">
            <a:extLst>
              <a:ext uri="{FF2B5EF4-FFF2-40B4-BE49-F238E27FC236}">
                <a16:creationId xmlns:a16="http://schemas.microsoft.com/office/drawing/2014/main" id="{79647D8A-35E4-5375-137D-AE3FBB59F9F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17E9E3A5-43FE-813E-B36E-00A287E16B3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Title 4">
            <a:extLst>
              <a:ext uri="{FF2B5EF4-FFF2-40B4-BE49-F238E27FC236}">
                <a16:creationId xmlns:a16="http://schemas.microsoft.com/office/drawing/2014/main" id="{CA265AEB-E893-7C5A-2089-F8668DD28ED9}"/>
              </a:ext>
            </a:extLst>
          </p:cNvPr>
          <p:cNvSpPr>
            <a:spLocks noGrp="1"/>
          </p:cNvSpPr>
          <p:nvPr>
            <p:ph type="title" hasCustomPrompt="1"/>
          </p:nvPr>
        </p:nvSpPr>
        <p:spPr>
          <a:xfrm>
            <a:off x="556708" y="1200000"/>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9" name="Text Placeholder 3">
            <a:extLst>
              <a:ext uri="{FF2B5EF4-FFF2-40B4-BE49-F238E27FC236}">
                <a16:creationId xmlns:a16="http://schemas.microsoft.com/office/drawing/2014/main" id="{89A21839-5A3E-48C8-8C8A-66E6CF919C97}"/>
              </a:ext>
            </a:extLst>
          </p:cNvPr>
          <p:cNvSpPr>
            <a:spLocks noGrp="1"/>
          </p:cNvSpPr>
          <p:nvPr>
            <p:ph type="body" sz="quarter" idx="12" hasCustomPrompt="1"/>
          </p:nvPr>
        </p:nvSpPr>
        <p:spPr>
          <a:xfrm>
            <a:off x="556708" y="3120001"/>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688570795"/>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9 Title slid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accent1"/>
                </a:solidFill>
                <a:latin typeface="Nokia Pure Headline Light" panose="020B0304020202020204" pitchFamily="34" charset="0"/>
              </a:defRPr>
            </a:lvl1pPr>
          </a:lstStyle>
          <a:p>
            <a:pPr lvl="0"/>
            <a:r>
              <a:rPr lang="en-US"/>
              <a:t>Click to edit headline</a:t>
            </a:r>
          </a:p>
        </p:txBody>
      </p:sp>
      <p:sp>
        <p:nvSpPr>
          <p:cNvPr id="3" name="TextBox 2">
            <a:extLst>
              <a:ext uri="{FF2B5EF4-FFF2-40B4-BE49-F238E27FC236}">
                <a16:creationId xmlns:a16="http://schemas.microsoft.com/office/drawing/2014/main" id="{3306DFA0-C2BA-C581-C314-740F6D8A7079}"/>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4" name="Slide Number Placeholder 5">
            <a:extLst>
              <a:ext uri="{FF2B5EF4-FFF2-40B4-BE49-F238E27FC236}">
                <a16:creationId xmlns:a16="http://schemas.microsoft.com/office/drawing/2014/main" id="{AB1F327B-603C-86B8-9F24-AB86561B3C0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FB24B9E5-9DF5-72DD-49F0-33455A6A12D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5D779461-EFB5-C35B-DE08-509687C8261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80857524"/>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10 Title slide with media 1">
    <p:spTree>
      <p:nvGrpSpPr>
        <p:cNvPr id="1" name=""/>
        <p:cNvGrpSpPr/>
        <p:nvPr/>
      </p:nvGrpSpPr>
      <p:grpSpPr>
        <a:xfrm>
          <a:off x="0" y="0"/>
          <a:ext cx="0" cy="0"/>
          <a:chOff x="0" y="0"/>
          <a:chExt cx="0" cy="0"/>
        </a:xfrm>
      </p:grpSpPr>
      <p:sp>
        <p:nvSpPr>
          <p:cNvPr id="3" name="Media Placeholder 6">
            <a:extLst>
              <a:ext uri="{FF2B5EF4-FFF2-40B4-BE49-F238E27FC236}">
                <a16:creationId xmlns:a16="http://schemas.microsoft.com/office/drawing/2014/main" id="{BB2531A6-B2AF-8CE3-D4E6-FFA2A6F43CBA}"/>
              </a:ext>
            </a:extLst>
          </p:cNvPr>
          <p:cNvSpPr>
            <a:spLocks noGrp="1"/>
          </p:cNvSpPr>
          <p:nvPr>
            <p:ph type="media" sz="quarter" idx="12"/>
          </p:nvPr>
        </p:nvSpPr>
        <p:spPr>
          <a:xfrm>
            <a:off x="0" y="0"/>
            <a:ext cx="12192000" cy="6858000"/>
          </a:xfrm>
          <a:prstGeom prst="rect">
            <a:avLst/>
          </a:prstGeom>
        </p:spPr>
        <p:txBody>
          <a:bodyPr/>
          <a:lstStyle>
            <a:lvl1pPr marL="0" indent="0">
              <a:buNone/>
              <a:defRPr>
                <a:solidFill>
                  <a:schemeClr val="accent4"/>
                </a:solidFill>
              </a:defRPr>
            </a:lvl1pPr>
          </a:lstStyle>
          <a:p>
            <a:r>
              <a:rPr lang="en-US"/>
              <a:t>Click icon to add media</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4" name="Text Placeholder 42">
            <a:extLst>
              <a:ext uri="{FF2B5EF4-FFF2-40B4-BE49-F238E27FC236}">
                <a16:creationId xmlns:a16="http://schemas.microsoft.com/office/drawing/2014/main" id="{294B94FF-B007-7648-0008-A471B34C4CB3}"/>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accent1"/>
                </a:solidFill>
                <a:latin typeface="Nokia Pure Headline Light" panose="020B0304020202020204" pitchFamily="34" charset="0"/>
              </a:defRPr>
            </a:lvl1pPr>
          </a:lstStyle>
          <a:p>
            <a:pPr lvl="0"/>
            <a:r>
              <a:rPr lang="en-US"/>
              <a:t>Click to edit headline</a:t>
            </a:r>
          </a:p>
        </p:txBody>
      </p:sp>
      <p:sp>
        <p:nvSpPr>
          <p:cNvPr id="4" name="TextBox 3">
            <a:extLst>
              <a:ext uri="{FF2B5EF4-FFF2-40B4-BE49-F238E27FC236}">
                <a16:creationId xmlns:a16="http://schemas.microsoft.com/office/drawing/2014/main" id="{4C9BA26F-4B98-6DDA-4965-A8BCB0A90C5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5" name="Slide Number Placeholder 5">
            <a:extLst>
              <a:ext uri="{FF2B5EF4-FFF2-40B4-BE49-F238E27FC236}">
                <a16:creationId xmlns:a16="http://schemas.microsoft.com/office/drawing/2014/main" id="{2218EC66-6293-FC0C-C8AC-A21153E5703B}"/>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B7316F68-F558-B048-EF20-3133405450BF}"/>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A535B119-5E07-6658-028F-A2E92F84E1E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765083539"/>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11 Title slide with white ">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A9C292-FC1E-4CD0-D1C2-1C1BF0964A4B}"/>
              </a:ext>
            </a:extLst>
          </p:cNvPr>
          <p:cNvSpPr/>
          <p:nvPr userDrawn="1"/>
        </p:nvSpPr>
        <p:spPr>
          <a:xfrm flipH="1">
            <a:off x="-14515" y="0"/>
            <a:ext cx="5080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96000" rIns="96000" bIns="96000" numCol="1" spcCol="0" rtlCol="0" fromWordArt="0" anchor="t" anchorCtr="0" forceAA="0" compatLnSpc="1">
            <a:prstTxWarp prst="textNoShape">
              <a:avLst/>
            </a:prstTxWarp>
            <a:noAutofit/>
          </a:bodyPr>
          <a:lstStyle/>
          <a:p>
            <a:pPr algn="l">
              <a:spcAft>
                <a:spcPts val="400"/>
              </a:spcAft>
              <a:buSzPct val="100000"/>
            </a:pPr>
            <a:endParaRPr lang="en-US" sz="1600">
              <a:solidFill>
                <a:schemeClr val="tx2"/>
              </a:solidFill>
            </a:endParaRPr>
          </a:p>
        </p:txBody>
      </p:sp>
      <p:pic>
        <p:nvPicPr>
          <p:cNvPr id="6" name="Graphic 5">
            <a:extLst>
              <a:ext uri="{FF2B5EF4-FFF2-40B4-BE49-F238E27FC236}">
                <a16:creationId xmlns:a16="http://schemas.microsoft.com/office/drawing/2014/main" id="{9ADE2C08-8C2F-6DA1-140F-78B7C383967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3" name="Text Placeholder 42">
            <a:extLst>
              <a:ext uri="{FF2B5EF4-FFF2-40B4-BE49-F238E27FC236}">
                <a16:creationId xmlns:a16="http://schemas.microsoft.com/office/drawing/2014/main" id="{076F2482-56A5-DF69-EDAB-369E53244A98}"/>
              </a:ext>
            </a:extLst>
          </p:cNvPr>
          <p:cNvSpPr>
            <a:spLocks noGrp="1"/>
          </p:cNvSpPr>
          <p:nvPr>
            <p:ph type="body" sz="quarter" idx="12" hasCustomPrompt="1"/>
          </p:nvPr>
        </p:nvSpPr>
        <p:spPr>
          <a:xfrm>
            <a:off x="556801" y="527928"/>
            <a:ext cx="423872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14" name="Text Placeholder 42">
            <a:extLst>
              <a:ext uri="{FF2B5EF4-FFF2-40B4-BE49-F238E27FC236}">
                <a16:creationId xmlns:a16="http://schemas.microsoft.com/office/drawing/2014/main" id="{9EE67559-07A5-8DC0-5F9E-74889395C505}"/>
              </a:ext>
            </a:extLst>
          </p:cNvPr>
          <p:cNvSpPr>
            <a:spLocks noGrp="1"/>
          </p:cNvSpPr>
          <p:nvPr>
            <p:ph type="body" sz="quarter" idx="13" hasCustomPrompt="1"/>
          </p:nvPr>
        </p:nvSpPr>
        <p:spPr>
          <a:xfrm>
            <a:off x="556801" y="1019360"/>
            <a:ext cx="423872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5" name="TextBox 14">
            <a:extLst>
              <a:ext uri="{FF2B5EF4-FFF2-40B4-BE49-F238E27FC236}">
                <a16:creationId xmlns:a16="http://schemas.microsoft.com/office/drawing/2014/main" id="{888C92FD-B39B-95B0-724C-D1AA2268DE24}"/>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6" name="Slide Number Placeholder 5">
            <a:extLst>
              <a:ext uri="{FF2B5EF4-FFF2-40B4-BE49-F238E27FC236}">
                <a16:creationId xmlns:a16="http://schemas.microsoft.com/office/drawing/2014/main" id="{F172D6B9-A8FE-EBFF-D93D-5EB12C01965D}"/>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Footer Placeholder 2">
            <a:extLst>
              <a:ext uri="{FF2B5EF4-FFF2-40B4-BE49-F238E27FC236}">
                <a16:creationId xmlns:a16="http://schemas.microsoft.com/office/drawing/2014/main" id="{AF35F11C-FBF2-64A9-BC5E-546156F777F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
        <p:nvSpPr>
          <p:cNvPr id="19" name="Text Placeholder 12">
            <a:extLst>
              <a:ext uri="{FF2B5EF4-FFF2-40B4-BE49-F238E27FC236}">
                <a16:creationId xmlns:a16="http://schemas.microsoft.com/office/drawing/2014/main" id="{EFF7564F-7000-1BEA-AD06-C8104C4313E7}"/>
              </a:ext>
            </a:extLst>
          </p:cNvPr>
          <p:cNvSpPr>
            <a:spLocks noGrp="1"/>
          </p:cNvSpPr>
          <p:nvPr>
            <p:ph type="body" sz="quarter" idx="14"/>
          </p:nvPr>
        </p:nvSpPr>
        <p:spPr>
          <a:xfrm>
            <a:off x="556453" y="1680000"/>
            <a:ext cx="423906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4655074"/>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12 Title slide with media 2">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Box 4">
            <a:extLst>
              <a:ext uri="{FF2B5EF4-FFF2-40B4-BE49-F238E27FC236}">
                <a16:creationId xmlns:a16="http://schemas.microsoft.com/office/drawing/2014/main" id="{44F7A0E6-27FB-B6FF-2E31-5A6107DF4D1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7" name="Slide Number Placeholder 5">
            <a:extLst>
              <a:ext uri="{FF2B5EF4-FFF2-40B4-BE49-F238E27FC236}">
                <a16:creationId xmlns:a16="http://schemas.microsoft.com/office/drawing/2014/main" id="{0F2544C4-9B73-80CB-B1AE-384180132B7C}"/>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612FBD75-FC64-31E3-3F75-9DAE4224DD4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ECE578A4-6CB9-C574-603A-6A6E64EB149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663638942"/>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13 Title slide with media 3">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556801" y="527928"/>
            <a:ext cx="455402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556801" y="1019360"/>
            <a:ext cx="4554028"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556453" y="1680000"/>
            <a:ext cx="455402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E7BA896-DC3C-C861-6C89-0401950D7446}"/>
              </a:ext>
            </a:extLst>
          </p:cNvPr>
          <p:cNvSpPr>
            <a:spLocks noGrp="1"/>
          </p:cNvSpPr>
          <p:nvPr>
            <p:ph type="pic" sz="quarter" idx="15" hasCustomPrompt="1"/>
          </p:nvPr>
        </p:nvSpPr>
        <p:spPr>
          <a:xfrm>
            <a:off x="5486400" y="0"/>
            <a:ext cx="67056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4" name="TextBox 3">
            <a:extLst>
              <a:ext uri="{FF2B5EF4-FFF2-40B4-BE49-F238E27FC236}">
                <a16:creationId xmlns:a16="http://schemas.microsoft.com/office/drawing/2014/main" id="{DD05DD94-B1D7-AF62-87C9-7EF3B816BC50}"/>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5" name="Slide Number Placeholder 5">
            <a:extLst>
              <a:ext uri="{FF2B5EF4-FFF2-40B4-BE49-F238E27FC236}">
                <a16:creationId xmlns:a16="http://schemas.microsoft.com/office/drawing/2014/main" id="{4CA45A5E-8155-944F-17C0-E8C2DF0291BF}"/>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6660D9BC-D30D-1466-7616-8C7936E38CF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9FEC4AEB-8265-3816-B1A7-81B4297B51B5}"/>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78401397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14 Title slide with media 4">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556801" y="527928"/>
            <a:ext cx="329418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556801" y="1019360"/>
            <a:ext cx="3294188"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556453" y="1680000"/>
            <a:ext cx="329418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C663BDD0-396A-C130-FA04-231CB3C74388}"/>
              </a:ext>
            </a:extLst>
          </p:cNvPr>
          <p:cNvSpPr>
            <a:spLocks noGrp="1"/>
          </p:cNvSpPr>
          <p:nvPr>
            <p:ph type="pic" sz="quarter" idx="16" hasCustomPrompt="1"/>
          </p:nvPr>
        </p:nvSpPr>
        <p:spPr>
          <a:xfrm>
            <a:off x="4267200" y="0"/>
            <a:ext cx="79248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3" name="TextBox 2">
            <a:extLst>
              <a:ext uri="{FF2B5EF4-FFF2-40B4-BE49-F238E27FC236}">
                <a16:creationId xmlns:a16="http://schemas.microsoft.com/office/drawing/2014/main" id="{2069DAC9-98D0-DE29-0854-C322936DF8E9}"/>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6" name="Slide Number Placeholder 5">
            <a:extLst>
              <a:ext uri="{FF2B5EF4-FFF2-40B4-BE49-F238E27FC236}">
                <a16:creationId xmlns:a16="http://schemas.microsoft.com/office/drawing/2014/main" id="{E3B783F8-E852-2880-7AC7-93C221C8FF1B}"/>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C79725E7-2EC0-E3B5-3DB0-057A690FD95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5F00D657-7150-C4CD-A10F-64140FBB30BD}"/>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420984003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1 Blank dark">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4" name="TextBox 3">
            <a:extLst>
              <a:ext uri="{FF2B5EF4-FFF2-40B4-BE49-F238E27FC236}">
                <a16:creationId xmlns:a16="http://schemas.microsoft.com/office/drawing/2014/main" id="{BB2D48F3-5FAB-7137-F8DD-66420388FACA}"/>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5" name="Slide Number Placeholder 5">
            <a:extLst>
              <a:ext uri="{FF2B5EF4-FFF2-40B4-BE49-F238E27FC236}">
                <a16:creationId xmlns:a16="http://schemas.microsoft.com/office/drawing/2014/main" id="{8A0EFD0E-73A9-D773-3F8A-B9B78A9503C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917EEC03-3391-E652-F649-78782CA24357}"/>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C021FBAF-6C06-6FF4-B424-967A0139D27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41717033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2 Title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pic>
        <p:nvPicPr>
          <p:cNvPr id="3" name="Graphic 2">
            <a:extLst>
              <a:ext uri="{FF2B5EF4-FFF2-40B4-BE49-F238E27FC236}">
                <a16:creationId xmlns:a16="http://schemas.microsoft.com/office/drawing/2014/main" id="{BB937390-63D5-3E5C-5017-6C0EFAC8BC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Box 4">
            <a:extLst>
              <a:ext uri="{FF2B5EF4-FFF2-40B4-BE49-F238E27FC236}">
                <a16:creationId xmlns:a16="http://schemas.microsoft.com/office/drawing/2014/main" id="{1559A584-CCB0-5173-FFC9-AEB0F836BD39}"/>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7" name="Slide Number Placeholder 5">
            <a:extLst>
              <a:ext uri="{FF2B5EF4-FFF2-40B4-BE49-F238E27FC236}">
                <a16:creationId xmlns:a16="http://schemas.microsoft.com/office/drawing/2014/main" id="{68BF3F94-260D-91AB-AFD5-771888AB1171}"/>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706FAA54-0883-2D73-8E0A-88499623B4D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0F66E100-BF7D-D207-D6A5-EB6CBB5DFF34}"/>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251898755"/>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2.3 Text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0" indent="0">
              <a:lnSpc>
                <a:spcPct val="100000"/>
              </a:lnSpc>
              <a:spcBef>
                <a:spcPts val="0"/>
              </a:spcBef>
              <a:spcAft>
                <a:spcPts val="800"/>
              </a:spcAft>
              <a:buSzPct val="70000"/>
              <a:buNone/>
              <a:defRPr sz="1600">
                <a:solidFill>
                  <a:schemeClr val="bg1"/>
                </a:solidFill>
              </a:defRPr>
            </a:lvl1pPr>
            <a:lvl2pPr marL="239994" indent="0">
              <a:lnSpc>
                <a:spcPct val="100000"/>
              </a:lnSpc>
              <a:spcBef>
                <a:spcPts val="0"/>
              </a:spcBef>
              <a:spcAft>
                <a:spcPts val="800"/>
              </a:spcAft>
              <a:buSzPct val="70000"/>
              <a:buNone/>
              <a:defRPr sz="1600">
                <a:solidFill>
                  <a:schemeClr val="bg1"/>
                </a:solidFill>
              </a:defRPr>
            </a:lvl2pPr>
            <a:lvl3pPr marL="479988" indent="0">
              <a:lnSpc>
                <a:spcPct val="100000"/>
              </a:lnSpc>
              <a:spcBef>
                <a:spcPts val="0"/>
              </a:spcBef>
              <a:spcAft>
                <a:spcPts val="800"/>
              </a:spcAft>
              <a:buSzPct val="70000"/>
              <a:buNone/>
              <a:defRPr sz="1600">
                <a:solidFill>
                  <a:schemeClr val="bg1"/>
                </a:solidFill>
              </a:defRPr>
            </a:lvl3pPr>
            <a:lvl4pPr marL="719982" indent="0">
              <a:lnSpc>
                <a:spcPct val="100000"/>
              </a:lnSpc>
              <a:spcBef>
                <a:spcPts val="0"/>
              </a:spcBef>
              <a:spcAft>
                <a:spcPts val="800"/>
              </a:spcAft>
              <a:buSzPct val="70000"/>
              <a:buNone/>
              <a:defRPr sz="1600">
                <a:solidFill>
                  <a:schemeClr val="bg1"/>
                </a:solidFill>
              </a:defRPr>
            </a:lvl4pPr>
            <a:lvl5pPr marL="959976" indent="0">
              <a:lnSpc>
                <a:spcPct val="100000"/>
              </a:lnSpc>
              <a:spcBef>
                <a:spcPts val="0"/>
              </a:spcBef>
              <a:spcAft>
                <a:spcPts val="800"/>
              </a:spcAft>
              <a:buSzPct val="70000"/>
              <a:buNone/>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06C6E69-321F-D4AD-8DE6-1E8BDA99907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EA8F815C-F7BD-B743-55F1-819C90566A64}"/>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8" name="Slide Number Placeholder 5">
            <a:extLst>
              <a:ext uri="{FF2B5EF4-FFF2-40B4-BE49-F238E27FC236}">
                <a16:creationId xmlns:a16="http://schemas.microsoft.com/office/drawing/2014/main" id="{CFE394A0-1BF5-A207-62B2-624B902703EF}"/>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BE42F71C-985A-E2BB-6FBF-54A07A91DCC3}"/>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362F7ED-C2A3-E1DD-8729-A9B3A26605A2}"/>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694124618"/>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4 Bulletpoint text 1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D8AA8973-ED90-DA21-18C7-5D6E292CC82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3" name="TextBox 2">
            <a:extLst>
              <a:ext uri="{FF2B5EF4-FFF2-40B4-BE49-F238E27FC236}">
                <a16:creationId xmlns:a16="http://schemas.microsoft.com/office/drawing/2014/main" id="{9F4D957F-E5DE-27F8-AACE-C02FAE5A4250}"/>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7" name="Slide Number Placeholder 5">
            <a:extLst>
              <a:ext uri="{FF2B5EF4-FFF2-40B4-BE49-F238E27FC236}">
                <a16:creationId xmlns:a16="http://schemas.microsoft.com/office/drawing/2014/main" id="{CC281E37-10DE-9743-87A9-A079EEC7D36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93380BE7-EF71-135D-FC9B-9D9C4CFD066E}"/>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50701039-6E84-E6CE-7E91-BAB5836AA8D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3179826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O Blue green 2">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9308198" y="3224292"/>
            <a:ext cx="1817989" cy="409417"/>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1" y="-6395"/>
            <a:ext cx="5356300" cy="6859200"/>
          </a:xfrm>
          <a:prstGeom prst="rect">
            <a:avLst/>
          </a:prstGeom>
        </p:spPr>
      </p:pic>
      <p:sp>
        <p:nvSpPr>
          <p:cNvPr id="4" name="TextBox 3">
            <a:extLst>
              <a:ext uri="{FF2B5EF4-FFF2-40B4-BE49-F238E27FC236}">
                <a16:creationId xmlns:a16="http://schemas.microsoft.com/office/drawing/2014/main" id="{5054EB9F-8927-A3FE-8B84-2A5DA2E7EB1F}"/>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E1049C86-481E-BCA9-382A-A561EA22CA19}"/>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6" name="Title 4">
            <a:extLst>
              <a:ext uri="{FF2B5EF4-FFF2-40B4-BE49-F238E27FC236}">
                <a16:creationId xmlns:a16="http://schemas.microsoft.com/office/drawing/2014/main" id="{D06AC820-889D-342D-C4F1-65579046FEB3}"/>
              </a:ext>
            </a:extLst>
          </p:cNvPr>
          <p:cNvSpPr>
            <a:spLocks noGrp="1"/>
          </p:cNvSpPr>
          <p:nvPr>
            <p:ph type="title" hasCustomPrompt="1"/>
          </p:nvPr>
        </p:nvSpPr>
        <p:spPr>
          <a:xfrm>
            <a:off x="556708" y="1200000"/>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0" name="Text Placeholder 3">
            <a:extLst>
              <a:ext uri="{FF2B5EF4-FFF2-40B4-BE49-F238E27FC236}">
                <a16:creationId xmlns:a16="http://schemas.microsoft.com/office/drawing/2014/main" id="{38C0E4A4-2F9E-C493-382A-9CBF0ED8AD5E}"/>
              </a:ext>
            </a:extLst>
          </p:cNvPr>
          <p:cNvSpPr>
            <a:spLocks noGrp="1"/>
          </p:cNvSpPr>
          <p:nvPr>
            <p:ph type="body" sz="quarter" idx="12" hasCustomPrompt="1"/>
          </p:nvPr>
        </p:nvSpPr>
        <p:spPr>
          <a:xfrm>
            <a:off x="556708" y="3120001"/>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927867787"/>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5 Bulletpoint text 2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5424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6211552" y="1680000"/>
            <a:ext cx="5424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0988706-2E03-4A9C-79F3-2E7AE15E66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BAB1039B-CAD1-E7A1-9A8E-421F00BB27A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8" name="Slide Number Placeholder 5">
            <a:extLst>
              <a:ext uri="{FF2B5EF4-FFF2-40B4-BE49-F238E27FC236}">
                <a16:creationId xmlns:a16="http://schemas.microsoft.com/office/drawing/2014/main" id="{DA31894B-2ADC-F353-515E-61B978FE204D}"/>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D5288A7-E819-08AD-0192-BAB1AB7959D8}"/>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5176F92-BBFE-DBC8-EAB4-685F805E3A22}"/>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95533998"/>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6 Bulletpoint text 3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360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4296000" y="1680000"/>
            <a:ext cx="360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8035550" y="1680000"/>
            <a:ext cx="3596877"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AB306A2-2949-7644-5CCE-6B01F360075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3" name="TextBox 2">
            <a:extLst>
              <a:ext uri="{FF2B5EF4-FFF2-40B4-BE49-F238E27FC236}">
                <a16:creationId xmlns:a16="http://schemas.microsoft.com/office/drawing/2014/main" id="{4FFAD2D5-5981-9B4A-69C8-3901DF8F846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0" name="Slide Number Placeholder 5">
            <a:extLst>
              <a:ext uri="{FF2B5EF4-FFF2-40B4-BE49-F238E27FC236}">
                <a16:creationId xmlns:a16="http://schemas.microsoft.com/office/drawing/2014/main" id="{2FBD0FB5-5841-7798-81F7-03203504ECC7}"/>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782EBFFC-4C2D-D007-FA55-966B10478527}"/>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9024A70A-45FE-D443-B1F3-C03BAFA27BD1}"/>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4029480724"/>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2.7 Bulletpoint text 4 col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368443"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180435"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8992427"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lang="en-US" sz="1600" kern="1200" dirty="0">
                <a:solidFill>
                  <a:schemeClr val="bg1"/>
                </a:solidFill>
                <a:latin typeface="+mn-lt"/>
                <a:ea typeface="+mn-ea"/>
                <a:cs typeface="+mn-cs"/>
              </a:defRPr>
            </a:lvl4pPr>
            <a:lvl5pPr marL="1199970" indent="-239994">
              <a:lnSpc>
                <a:spcPct val="100000"/>
              </a:lnSpc>
              <a:spcBef>
                <a:spcPts val="0"/>
              </a:spcBef>
              <a:spcAft>
                <a:spcPts val="800"/>
              </a:spcAft>
              <a:buSzPct val="70000"/>
              <a:defRPr sz="1600">
                <a:solidFill>
                  <a:schemeClr val="bg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5E782D2-17EB-7305-867D-635CABCFC87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0" name="TextBox 9">
            <a:extLst>
              <a:ext uri="{FF2B5EF4-FFF2-40B4-BE49-F238E27FC236}">
                <a16:creationId xmlns:a16="http://schemas.microsoft.com/office/drawing/2014/main" id="{DCEB6067-6AAF-DE7E-E481-757CDC1CC59F}"/>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1" name="Slide Number Placeholder 5">
            <a:extLst>
              <a:ext uri="{FF2B5EF4-FFF2-40B4-BE49-F238E27FC236}">
                <a16:creationId xmlns:a16="http://schemas.microsoft.com/office/drawing/2014/main" id="{AC92C61F-FD93-073C-AFAA-3629762CCB45}"/>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7B3E1782-7EA3-5D5C-4FB2-290A89A7E3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422E3335-8FF0-0584-6655-EE052F07292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23372253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8 Numbered text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556800" y="1680000"/>
            <a:ext cx="11078400" cy="4158640"/>
          </a:xfrm>
          <a:prstGeom prst="rect">
            <a:avLst/>
          </a:prstGeom>
        </p:spPr>
        <p:txBody>
          <a:bodyPr lIns="0" tIns="0" rIns="0" bIns="0"/>
          <a:lstStyle>
            <a:lvl1pPr marL="304792" indent="-304792">
              <a:lnSpc>
                <a:spcPct val="100000"/>
              </a:lnSpc>
              <a:spcBef>
                <a:spcPts val="0"/>
              </a:spcBef>
              <a:spcAft>
                <a:spcPts val="800"/>
              </a:spcAft>
              <a:buFont typeface="+mj-lt"/>
              <a:buAutoNum type="arabicPeriod"/>
              <a:defRPr sz="1600">
                <a:solidFill>
                  <a:schemeClr val="bg1"/>
                </a:solidFill>
              </a:defRPr>
            </a:lvl1pPr>
            <a:lvl2pPr marL="544786" indent="-304792">
              <a:lnSpc>
                <a:spcPct val="100000"/>
              </a:lnSpc>
              <a:spcBef>
                <a:spcPts val="0"/>
              </a:spcBef>
              <a:spcAft>
                <a:spcPts val="800"/>
              </a:spcAft>
              <a:buFont typeface="+mj-lt"/>
              <a:buAutoNum type="arabicPeriod" startAt="2"/>
              <a:defRPr sz="1600">
                <a:solidFill>
                  <a:schemeClr val="bg1"/>
                </a:solidFill>
              </a:defRPr>
            </a:lvl2pPr>
            <a:lvl3pPr marL="784780" indent="-304792">
              <a:lnSpc>
                <a:spcPct val="100000"/>
              </a:lnSpc>
              <a:spcBef>
                <a:spcPts val="0"/>
              </a:spcBef>
              <a:spcAft>
                <a:spcPts val="800"/>
              </a:spcAft>
              <a:buFont typeface="+mj-lt"/>
              <a:buAutoNum type="arabicPeriod" startAt="3"/>
              <a:defRPr sz="1600">
                <a:solidFill>
                  <a:schemeClr val="bg1"/>
                </a:solidFill>
              </a:defRPr>
            </a:lvl3pPr>
            <a:lvl4pPr marL="1024774" indent="-304792">
              <a:lnSpc>
                <a:spcPct val="100000"/>
              </a:lnSpc>
              <a:spcBef>
                <a:spcPts val="0"/>
              </a:spcBef>
              <a:spcAft>
                <a:spcPts val="800"/>
              </a:spcAft>
              <a:buFont typeface="+mj-lt"/>
              <a:buAutoNum type="arabicPeriod" startAt="4"/>
              <a:defRPr sz="1600">
                <a:solidFill>
                  <a:schemeClr val="bg1"/>
                </a:solidFill>
              </a:defRPr>
            </a:lvl4pPr>
            <a:lvl5pPr marL="1276168" indent="-304792">
              <a:lnSpc>
                <a:spcPct val="100000"/>
              </a:lnSpc>
              <a:spcBef>
                <a:spcPts val="0"/>
              </a:spcBef>
              <a:spcAft>
                <a:spcPts val="800"/>
              </a:spcAft>
              <a:buFont typeface="+mj-lt"/>
              <a:buAutoNum type="arabicPeriod" startAt="5"/>
              <a:defRPr sz="1600">
                <a:solidFill>
                  <a:schemeClr val="bg1"/>
                </a:solidFill>
              </a:defRPr>
            </a:lvl5pPr>
          </a:lstStyle>
          <a:p>
            <a:pPr lvl="0"/>
            <a:r>
              <a:rPr lang="en-US"/>
              <a:t>Text here</a:t>
            </a:r>
          </a:p>
          <a:p>
            <a:pPr lvl="1"/>
            <a:r>
              <a:rPr lang="en-US"/>
              <a:t>Text here</a:t>
            </a:r>
          </a:p>
          <a:p>
            <a:pPr lvl="2"/>
            <a:r>
              <a:rPr lang="en-US"/>
              <a:t>Text here</a:t>
            </a:r>
          </a:p>
          <a:p>
            <a:pPr lvl="3"/>
            <a:r>
              <a:rPr lang="en-US"/>
              <a:t>Text here</a:t>
            </a:r>
          </a:p>
          <a:p>
            <a:pPr marL="1276168" marR="0" lvl="4" indent="-304792" algn="l" defTabSz="914377" rtl="0" eaLnBrk="1" fontAlgn="auto" latinLnBrk="0" hangingPunct="1">
              <a:lnSpc>
                <a:spcPct val="100000"/>
              </a:lnSpc>
              <a:spcBef>
                <a:spcPts val="0"/>
              </a:spcBef>
              <a:spcAft>
                <a:spcPts val="400"/>
              </a:spcAft>
              <a:buClrTx/>
              <a:buSzTx/>
              <a:tabLst/>
              <a:defRPr/>
            </a:pPr>
            <a:r>
              <a:rPr lang="en-US"/>
              <a:t>Text here</a:t>
            </a:r>
          </a:p>
        </p:txBody>
      </p:sp>
      <p:pic>
        <p:nvPicPr>
          <p:cNvPr id="2" name="Graphic 1">
            <a:extLst>
              <a:ext uri="{FF2B5EF4-FFF2-40B4-BE49-F238E27FC236}">
                <a16:creationId xmlns:a16="http://schemas.microsoft.com/office/drawing/2014/main" id="{B2827D84-480B-22A7-4B2A-BFD3AB9191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8A8B0B3F-161E-8508-3B23-007FE1624352}"/>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8" name="Slide Number Placeholder 5">
            <a:extLst>
              <a:ext uri="{FF2B5EF4-FFF2-40B4-BE49-F238E27FC236}">
                <a16:creationId xmlns:a16="http://schemas.microsoft.com/office/drawing/2014/main" id="{99F8CB66-4F0D-7F21-56F6-56AAA5C02227}"/>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8A760B86-74B6-48A3-CE6D-96096653BF7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DD20D035-9F8D-A232-B41B-0EC79F1159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4166049962"/>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2.9 Title slide dark">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9E545D7-2373-D9BF-1A5C-DDEF3299CD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4" name="Text Placeholder 42">
            <a:extLst>
              <a:ext uri="{FF2B5EF4-FFF2-40B4-BE49-F238E27FC236}">
                <a16:creationId xmlns:a16="http://schemas.microsoft.com/office/drawing/2014/main" id="{1221AC1C-1EF4-5D9A-A440-017C6D790AAE}"/>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Click to edit headline</a:t>
            </a:r>
          </a:p>
        </p:txBody>
      </p:sp>
      <p:sp>
        <p:nvSpPr>
          <p:cNvPr id="4" name="TextBox 3">
            <a:extLst>
              <a:ext uri="{FF2B5EF4-FFF2-40B4-BE49-F238E27FC236}">
                <a16:creationId xmlns:a16="http://schemas.microsoft.com/office/drawing/2014/main" id="{3BAD1F5B-D865-3F9F-4D96-58C6DD62ECDF}"/>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6" name="Slide Number Placeholder 5">
            <a:extLst>
              <a:ext uri="{FF2B5EF4-FFF2-40B4-BE49-F238E27FC236}">
                <a16:creationId xmlns:a16="http://schemas.microsoft.com/office/drawing/2014/main" id="{A66624C8-71C7-7928-25B9-5352C8FD2EBB}"/>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DA75E4B3-EDD4-C5F1-7EF2-8B6126FAC2FC}"/>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34E36D38-263C-DBB6-A0D4-5E9785455C47}"/>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287230560"/>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2.9 Title slide dark">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AF6617-F5BA-5654-EE57-B793E862EB9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2192000" cy="6858001"/>
          </a:xfrm>
          <a:prstGeom prst="rect">
            <a:avLst/>
          </a:prstGeom>
        </p:spPr>
      </p:pic>
      <p:pic>
        <p:nvPicPr>
          <p:cNvPr id="3" name="Graphic 2">
            <a:extLst>
              <a:ext uri="{FF2B5EF4-FFF2-40B4-BE49-F238E27FC236}">
                <a16:creationId xmlns:a16="http://schemas.microsoft.com/office/drawing/2014/main" id="{C9E545D7-2373-D9BF-1A5C-DDEF3299CDE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4" name="Text Placeholder 42">
            <a:extLst>
              <a:ext uri="{FF2B5EF4-FFF2-40B4-BE49-F238E27FC236}">
                <a16:creationId xmlns:a16="http://schemas.microsoft.com/office/drawing/2014/main" id="{1221AC1C-1EF4-5D9A-A440-017C6D790AAE}"/>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Click to edit headline</a:t>
            </a:r>
          </a:p>
        </p:txBody>
      </p:sp>
      <p:sp>
        <p:nvSpPr>
          <p:cNvPr id="4" name="TextBox 3">
            <a:extLst>
              <a:ext uri="{FF2B5EF4-FFF2-40B4-BE49-F238E27FC236}">
                <a16:creationId xmlns:a16="http://schemas.microsoft.com/office/drawing/2014/main" id="{3BAD1F5B-D865-3F9F-4D96-58C6DD62ECDF}"/>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6" name="Slide Number Placeholder 5">
            <a:extLst>
              <a:ext uri="{FF2B5EF4-FFF2-40B4-BE49-F238E27FC236}">
                <a16:creationId xmlns:a16="http://schemas.microsoft.com/office/drawing/2014/main" id="{A66624C8-71C7-7928-25B9-5352C8FD2EBB}"/>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DA75E4B3-EDD4-C5F1-7EF2-8B6126FAC2FC}"/>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34E36D38-263C-DBB6-A0D4-5E9785455C47}"/>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257493543"/>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10 Title slide with media 1 dark">
    <p:bg>
      <p:bgPr>
        <a:solidFill>
          <a:schemeClr val="tx1"/>
        </a:solidFill>
        <a:effectLst/>
      </p:bgPr>
    </p:bg>
    <p:spTree>
      <p:nvGrpSpPr>
        <p:cNvPr id="1" name=""/>
        <p:cNvGrpSpPr/>
        <p:nvPr/>
      </p:nvGrpSpPr>
      <p:grpSpPr>
        <a:xfrm>
          <a:off x="0" y="0"/>
          <a:ext cx="0" cy="0"/>
          <a:chOff x="0" y="0"/>
          <a:chExt cx="0" cy="0"/>
        </a:xfrm>
      </p:grpSpPr>
      <p:sp>
        <p:nvSpPr>
          <p:cNvPr id="3" name="Media Placeholder 6">
            <a:extLst>
              <a:ext uri="{FF2B5EF4-FFF2-40B4-BE49-F238E27FC236}">
                <a16:creationId xmlns:a16="http://schemas.microsoft.com/office/drawing/2014/main" id="{BB2531A6-B2AF-8CE3-D4E6-FFA2A6F43CBA}"/>
              </a:ext>
            </a:extLst>
          </p:cNvPr>
          <p:cNvSpPr>
            <a:spLocks noGrp="1"/>
          </p:cNvSpPr>
          <p:nvPr>
            <p:ph type="media" sz="quarter" idx="12"/>
          </p:nvPr>
        </p:nvSpPr>
        <p:spPr>
          <a:xfrm>
            <a:off x="0" y="0"/>
            <a:ext cx="12192000" cy="6858000"/>
          </a:xfrm>
          <a:prstGeom prst="rect">
            <a:avLst/>
          </a:prstGeom>
        </p:spPr>
        <p:txBody>
          <a:bodyPr/>
          <a:lstStyle>
            <a:lvl1pPr marL="0" indent="0">
              <a:buNone/>
              <a:defRPr>
                <a:solidFill>
                  <a:schemeClr val="bg1"/>
                </a:solidFill>
              </a:defRPr>
            </a:lvl1pPr>
          </a:lstStyle>
          <a:p>
            <a:r>
              <a:rPr lang="en-US"/>
              <a:t>Click icon to add media</a:t>
            </a:r>
          </a:p>
        </p:txBody>
      </p:sp>
      <p:pic>
        <p:nvPicPr>
          <p:cNvPr id="4" name="Graphic 3">
            <a:extLst>
              <a:ext uri="{FF2B5EF4-FFF2-40B4-BE49-F238E27FC236}">
                <a16:creationId xmlns:a16="http://schemas.microsoft.com/office/drawing/2014/main" id="{47292656-5749-2B4B-FA27-42765BDE338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5" name="Text Placeholder 42">
            <a:extLst>
              <a:ext uri="{FF2B5EF4-FFF2-40B4-BE49-F238E27FC236}">
                <a16:creationId xmlns:a16="http://schemas.microsoft.com/office/drawing/2014/main" id="{4F756C8B-0244-6A11-8EC3-4A1D203CDD66}"/>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Click to edit headline</a:t>
            </a:r>
          </a:p>
        </p:txBody>
      </p:sp>
      <p:sp>
        <p:nvSpPr>
          <p:cNvPr id="6" name="TextBox 5">
            <a:extLst>
              <a:ext uri="{FF2B5EF4-FFF2-40B4-BE49-F238E27FC236}">
                <a16:creationId xmlns:a16="http://schemas.microsoft.com/office/drawing/2014/main" id="{BD759CC4-69C8-613F-E557-4E2AEE7B75E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7" name="Slide Number Placeholder 5">
            <a:extLst>
              <a:ext uri="{FF2B5EF4-FFF2-40B4-BE49-F238E27FC236}">
                <a16:creationId xmlns:a16="http://schemas.microsoft.com/office/drawing/2014/main" id="{A40A76AB-576F-2C48-7ED4-0E98A54B99AD}"/>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717253AE-3DDB-8C8A-399D-C55C49CB0832}"/>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0DC17B7D-4E9B-5FAC-1228-C97FB1CFC5A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024862543"/>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11 Title slide with media 2 dark">
    <p:bg>
      <p:bgPr>
        <a:solidFill>
          <a:schemeClr val="tx1"/>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sz="1600">
                <a:solidFill>
                  <a:schemeClr val="bg1"/>
                </a:solidFill>
              </a:defRPr>
            </a:lvl4pPr>
            <a:lvl5pPr marL="1199970" indent="-239994">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C341FE85-3CE7-12FA-3841-D7CC0ABB659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27418BB1-0E7E-AAD3-AD71-82204464918C}"/>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9" name="Slide Number Placeholder 5">
            <a:extLst>
              <a:ext uri="{FF2B5EF4-FFF2-40B4-BE49-F238E27FC236}">
                <a16:creationId xmlns:a16="http://schemas.microsoft.com/office/drawing/2014/main" id="{02B48A79-625E-B973-DCD8-533E86F25072}"/>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DB9A4E9B-BED0-504E-628D-EAD882C392A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742AC6DC-CFBE-F98E-4CC4-2390702BA655}"/>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909625461"/>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2.12 Title slide with media 3 dark">
    <p:bg>
      <p:bgPr>
        <a:solidFill>
          <a:schemeClr val="tx1"/>
        </a:solidFill>
        <a:effectLst/>
      </p:bgPr>
    </p:bg>
    <p:spTree>
      <p:nvGrpSpPr>
        <p:cNvPr id="1" name=""/>
        <p:cNvGrpSpPr/>
        <p:nvPr/>
      </p:nvGrpSpPr>
      <p:grpSpPr>
        <a:xfrm>
          <a:off x="0" y="0"/>
          <a:ext cx="0" cy="0"/>
          <a:chOff x="0" y="0"/>
          <a:chExt cx="0" cy="0"/>
        </a:xfrm>
      </p:grpSpPr>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556801" y="527928"/>
            <a:ext cx="4554028"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556801" y="1019360"/>
            <a:ext cx="4554028"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556453" y="1680000"/>
            <a:ext cx="455402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sz="1600">
                <a:solidFill>
                  <a:schemeClr val="bg1"/>
                </a:solidFill>
              </a:defRPr>
            </a:lvl4pPr>
            <a:lvl5pPr marL="1199970" indent="-239994">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E7BA896-DC3C-C861-6C89-0401950D7446}"/>
              </a:ext>
            </a:extLst>
          </p:cNvPr>
          <p:cNvSpPr>
            <a:spLocks noGrp="1"/>
          </p:cNvSpPr>
          <p:nvPr>
            <p:ph type="pic" sz="quarter" idx="15" hasCustomPrompt="1"/>
          </p:nvPr>
        </p:nvSpPr>
        <p:spPr>
          <a:xfrm>
            <a:off x="5486400" y="0"/>
            <a:ext cx="67056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pic>
        <p:nvPicPr>
          <p:cNvPr id="4" name="Graphic 3">
            <a:extLst>
              <a:ext uri="{FF2B5EF4-FFF2-40B4-BE49-F238E27FC236}">
                <a16:creationId xmlns:a16="http://schemas.microsoft.com/office/drawing/2014/main" id="{2E1E3056-42DC-BA9B-F46D-475E5BE32B9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Box 4">
            <a:extLst>
              <a:ext uri="{FF2B5EF4-FFF2-40B4-BE49-F238E27FC236}">
                <a16:creationId xmlns:a16="http://schemas.microsoft.com/office/drawing/2014/main" id="{B6681D21-FC7E-7F82-9685-4F1EF53B236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6" name="Slide Number Placeholder 5">
            <a:extLst>
              <a:ext uri="{FF2B5EF4-FFF2-40B4-BE49-F238E27FC236}">
                <a16:creationId xmlns:a16="http://schemas.microsoft.com/office/drawing/2014/main" id="{41DBEFAD-5693-7A1A-A64F-C540D390A0B8}"/>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7840E574-42A1-50DE-BFA2-D52D3D35902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DDEF2D02-B6B9-E747-F0EA-9ED48DC28C93}"/>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49832733"/>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2.13 Title slide with media 4 dark">
    <p:bg>
      <p:bgPr>
        <a:solidFill>
          <a:schemeClr val="tx1"/>
        </a:solidFill>
        <a:effectLst/>
      </p:bgPr>
    </p:bg>
    <p:spTree>
      <p:nvGrpSpPr>
        <p:cNvPr id="1" name=""/>
        <p:cNvGrpSpPr/>
        <p:nvPr/>
      </p:nvGrpSpPr>
      <p:grpSpPr>
        <a:xfrm>
          <a:off x="0" y="0"/>
          <a:ext cx="0" cy="0"/>
          <a:chOff x="0" y="0"/>
          <a:chExt cx="0" cy="0"/>
        </a:xfrm>
      </p:grpSpPr>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556801" y="527928"/>
            <a:ext cx="3294188"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556801" y="1019360"/>
            <a:ext cx="3294188"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556453" y="1680000"/>
            <a:ext cx="329418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sz="1600">
                <a:solidFill>
                  <a:schemeClr val="bg1"/>
                </a:solidFill>
              </a:defRPr>
            </a:lvl4pPr>
            <a:lvl5pPr marL="1199970" indent="-239994">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C663BDD0-396A-C130-FA04-231CB3C74388}"/>
              </a:ext>
            </a:extLst>
          </p:cNvPr>
          <p:cNvSpPr>
            <a:spLocks noGrp="1"/>
          </p:cNvSpPr>
          <p:nvPr>
            <p:ph type="pic" sz="quarter" idx="16" hasCustomPrompt="1"/>
          </p:nvPr>
        </p:nvSpPr>
        <p:spPr>
          <a:xfrm>
            <a:off x="4267200" y="0"/>
            <a:ext cx="79248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pic>
        <p:nvPicPr>
          <p:cNvPr id="3" name="Graphic 2">
            <a:extLst>
              <a:ext uri="{FF2B5EF4-FFF2-40B4-BE49-F238E27FC236}">
                <a16:creationId xmlns:a16="http://schemas.microsoft.com/office/drawing/2014/main" id="{E89A3CCB-3818-87A8-9032-448C77F620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6" name="TextBox 5">
            <a:extLst>
              <a:ext uri="{FF2B5EF4-FFF2-40B4-BE49-F238E27FC236}">
                <a16:creationId xmlns:a16="http://schemas.microsoft.com/office/drawing/2014/main" id="{2108539B-21D0-85E7-AB77-143ABD40EEB1}"/>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8" name="Slide Number Placeholder 5">
            <a:extLst>
              <a:ext uri="{FF2B5EF4-FFF2-40B4-BE49-F238E27FC236}">
                <a16:creationId xmlns:a16="http://schemas.microsoft.com/office/drawing/2014/main" id="{3F76E50B-EEF8-724F-1802-0488D70A46F4}"/>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7FC0E722-8D59-61D9-391E-65CCE154F81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0CF5A558-51C2-73A4-9D8C-5A3B7422BE46}"/>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3902804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O White">
    <p:spTree>
      <p:nvGrpSpPr>
        <p:cNvPr id="1" name=""/>
        <p:cNvGrpSpPr/>
        <p:nvPr/>
      </p:nvGrpSpPr>
      <p:grpSpPr>
        <a:xfrm>
          <a:off x="0" y="0"/>
          <a:ext cx="0" cy="0"/>
          <a:chOff x="0" y="0"/>
          <a:chExt cx="0" cy="0"/>
        </a:xfrm>
      </p:grpSpPr>
      <p:grpSp>
        <p:nvGrpSpPr>
          <p:cNvPr id="7" name="Graphic 3">
            <a:extLst>
              <a:ext uri="{FF2B5EF4-FFF2-40B4-BE49-F238E27FC236}">
                <a16:creationId xmlns:a16="http://schemas.microsoft.com/office/drawing/2014/main" id="{57ADD6F0-8A1D-2465-892B-42BFF999186F}"/>
              </a:ext>
            </a:extLst>
          </p:cNvPr>
          <p:cNvGrpSpPr/>
          <p:nvPr userDrawn="1"/>
        </p:nvGrpSpPr>
        <p:grpSpPr>
          <a:xfrm>
            <a:off x="9407771" y="3224292"/>
            <a:ext cx="1817989" cy="409417"/>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pic>
        <p:nvPicPr>
          <p:cNvPr id="20" name="Picture 19" descr="Circle&#10;&#10;Description automatically generated with medium confidence">
            <a:extLst>
              <a:ext uri="{FF2B5EF4-FFF2-40B4-BE49-F238E27FC236}">
                <a16:creationId xmlns:a16="http://schemas.microsoft.com/office/drawing/2014/main" id="{87D5AF06-6AF8-9002-BEDC-176CB57496A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25084"/>
          <a:stretch/>
        </p:blipFill>
        <p:spPr>
          <a:xfrm>
            <a:off x="6835701" y="0"/>
            <a:ext cx="5356300" cy="6858000"/>
          </a:xfrm>
          <a:prstGeom prst="rect">
            <a:avLst/>
          </a:prstGeom>
        </p:spPr>
      </p:pic>
      <p:sp>
        <p:nvSpPr>
          <p:cNvPr id="5" name="TextBox 4">
            <a:extLst>
              <a:ext uri="{FF2B5EF4-FFF2-40B4-BE49-F238E27FC236}">
                <a16:creationId xmlns:a16="http://schemas.microsoft.com/office/drawing/2014/main" id="{0A7A7115-EA83-4FF6-C9AA-23524B051F64}"/>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74832A1-1A29-5A85-3CD7-02108B35D949}"/>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4" name="Title 4">
            <a:extLst>
              <a:ext uri="{FF2B5EF4-FFF2-40B4-BE49-F238E27FC236}">
                <a16:creationId xmlns:a16="http://schemas.microsoft.com/office/drawing/2014/main" id="{2EB43E8F-27C8-8759-7A98-CAA935E7823A}"/>
              </a:ext>
            </a:extLst>
          </p:cNvPr>
          <p:cNvSpPr>
            <a:spLocks noGrp="1"/>
          </p:cNvSpPr>
          <p:nvPr>
            <p:ph type="title" hasCustomPrompt="1"/>
          </p:nvPr>
        </p:nvSpPr>
        <p:spPr>
          <a:xfrm>
            <a:off x="556708" y="1200000"/>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15" name="Text Placeholder 3">
            <a:extLst>
              <a:ext uri="{FF2B5EF4-FFF2-40B4-BE49-F238E27FC236}">
                <a16:creationId xmlns:a16="http://schemas.microsoft.com/office/drawing/2014/main" id="{CE8D2D46-B066-616E-7306-CE64233C730C}"/>
              </a:ext>
            </a:extLst>
          </p:cNvPr>
          <p:cNvSpPr>
            <a:spLocks noGrp="1"/>
          </p:cNvSpPr>
          <p:nvPr>
            <p:ph type="body" sz="quarter" idx="12" hasCustomPrompt="1"/>
          </p:nvPr>
        </p:nvSpPr>
        <p:spPr>
          <a:xfrm>
            <a:off x="556708" y="3120001"/>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1965017481"/>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3 N Blue green">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A97BECFD-8EA7-0689-338E-FF79734814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Graphic 5">
            <a:extLst>
              <a:ext uri="{FF2B5EF4-FFF2-40B4-BE49-F238E27FC236}">
                <a16:creationId xmlns:a16="http://schemas.microsoft.com/office/drawing/2014/main" id="{B8976C7B-2688-70F3-77A4-4D1113FB54E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6859200" cy="6859200"/>
          </a:xfrm>
          <a:prstGeom prst="rect">
            <a:avLst/>
          </a:prstGeom>
        </p:spPr>
      </p:pic>
      <p:grpSp>
        <p:nvGrpSpPr>
          <p:cNvPr id="10" name="Graphic 3">
            <a:extLst>
              <a:ext uri="{FF2B5EF4-FFF2-40B4-BE49-F238E27FC236}">
                <a16:creationId xmlns:a16="http://schemas.microsoft.com/office/drawing/2014/main" id="{49D9392C-9E29-427F-3C29-C64146E898C7}"/>
              </a:ext>
            </a:extLst>
          </p:cNvPr>
          <p:cNvGrpSpPr/>
          <p:nvPr userDrawn="1"/>
        </p:nvGrpSpPr>
        <p:grpSpPr>
          <a:xfrm>
            <a:off x="1649971" y="5976900"/>
            <a:ext cx="1817989" cy="409417"/>
            <a:chOff x="469958" y="1647414"/>
            <a:chExt cx="8205029" cy="1847802"/>
          </a:xfrm>
          <a:solidFill>
            <a:schemeClr val="bg1"/>
          </a:solidFill>
        </p:grpSpPr>
        <p:sp>
          <p:nvSpPr>
            <p:cNvPr id="11" name="Freeform 33">
              <a:extLst>
                <a:ext uri="{FF2B5EF4-FFF2-40B4-BE49-F238E27FC236}">
                  <a16:creationId xmlns:a16="http://schemas.microsoft.com/office/drawing/2014/main" id="{86483177-9ABF-3F5C-ED1D-16C01EEE37C3}"/>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97C96119-D9F7-8022-5694-A13E7950B52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3" name="Freeform 35">
              <a:extLst>
                <a:ext uri="{FF2B5EF4-FFF2-40B4-BE49-F238E27FC236}">
                  <a16:creationId xmlns:a16="http://schemas.microsoft.com/office/drawing/2014/main" id="{247CB589-C660-36A6-BF29-1327034A981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6">
              <a:extLst>
                <a:ext uri="{FF2B5EF4-FFF2-40B4-BE49-F238E27FC236}">
                  <a16:creationId xmlns:a16="http://schemas.microsoft.com/office/drawing/2014/main" id="{2B915696-0B26-9206-B2E7-93708805BDBC}"/>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7">
              <a:extLst>
                <a:ext uri="{FF2B5EF4-FFF2-40B4-BE49-F238E27FC236}">
                  <a16:creationId xmlns:a16="http://schemas.microsoft.com/office/drawing/2014/main" id="{AA3A0836-5277-7254-E598-6DE9FA1A526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5" name="Title 4">
            <a:extLst>
              <a:ext uri="{FF2B5EF4-FFF2-40B4-BE49-F238E27FC236}">
                <a16:creationId xmlns:a16="http://schemas.microsoft.com/office/drawing/2014/main" id="{1EF87F37-41EC-F109-B4C3-D44EE53A0A05}"/>
              </a:ext>
            </a:extLst>
          </p:cNvPr>
          <p:cNvSpPr>
            <a:spLocks noGrp="1"/>
          </p:cNvSpPr>
          <p:nvPr>
            <p:ph type="title" hasCustomPrompt="1"/>
          </p:nvPr>
        </p:nvSpPr>
        <p:spPr>
          <a:xfrm>
            <a:off x="5107197" y="959733"/>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7" name="Text Placeholder 3">
            <a:extLst>
              <a:ext uri="{FF2B5EF4-FFF2-40B4-BE49-F238E27FC236}">
                <a16:creationId xmlns:a16="http://schemas.microsoft.com/office/drawing/2014/main" id="{3D32AC0D-5511-1F2D-2A28-C259AC8BC58A}"/>
              </a:ext>
            </a:extLst>
          </p:cNvPr>
          <p:cNvSpPr>
            <a:spLocks noGrp="1"/>
          </p:cNvSpPr>
          <p:nvPr>
            <p:ph type="body" sz="quarter" idx="12" hasCustomPrompt="1"/>
          </p:nvPr>
        </p:nvSpPr>
        <p:spPr>
          <a:xfrm>
            <a:off x="5107199" y="2834798"/>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8" name="TextBox 17">
            <a:extLst>
              <a:ext uri="{FF2B5EF4-FFF2-40B4-BE49-F238E27FC236}">
                <a16:creationId xmlns:a16="http://schemas.microsoft.com/office/drawing/2014/main" id="{3CB10A0F-2286-895A-B579-CB5D4386A2B7}"/>
              </a:ext>
            </a:extLst>
          </p:cNvPr>
          <p:cNvSpPr txBox="1"/>
          <p:nvPr userDrawn="1"/>
        </p:nvSpPr>
        <p:spPr>
          <a:xfrm>
            <a:off x="10793087"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9" name="Slide Number Placeholder 5">
            <a:extLst>
              <a:ext uri="{FF2B5EF4-FFF2-40B4-BE49-F238E27FC236}">
                <a16:creationId xmlns:a16="http://schemas.microsoft.com/office/drawing/2014/main" id="{0AAD2976-396D-426A-A7C0-2D53F71491E3}"/>
              </a:ext>
            </a:extLst>
          </p:cNvPr>
          <p:cNvSpPr txBox="1">
            <a:spLocks/>
          </p:cNvSpPr>
          <p:nvPr userDrawn="1"/>
        </p:nvSpPr>
        <p:spPr>
          <a:xfrm>
            <a:off x="10445185"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1479477081"/>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3 N Purple blue">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81E104F6-2E1E-CFDD-A69D-C115384F159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0E27FD93-255E-C585-12C2-E99681C9BE5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1201"/>
            <a:ext cx="6859200" cy="6859200"/>
          </a:xfrm>
          <a:prstGeom prst="rect">
            <a:avLst/>
          </a:prstGeom>
        </p:spPr>
      </p:pic>
      <p:grpSp>
        <p:nvGrpSpPr>
          <p:cNvPr id="7" name="Graphic 3">
            <a:extLst>
              <a:ext uri="{FF2B5EF4-FFF2-40B4-BE49-F238E27FC236}">
                <a16:creationId xmlns:a16="http://schemas.microsoft.com/office/drawing/2014/main" id="{AC803887-2AFC-DF73-DE60-1BE27DDE158C}"/>
              </a:ext>
            </a:extLst>
          </p:cNvPr>
          <p:cNvGrpSpPr/>
          <p:nvPr userDrawn="1"/>
        </p:nvGrpSpPr>
        <p:grpSpPr>
          <a:xfrm>
            <a:off x="1649971" y="5976900"/>
            <a:ext cx="1817989" cy="409417"/>
            <a:chOff x="469958" y="1647414"/>
            <a:chExt cx="8205029" cy="1847802"/>
          </a:xfrm>
          <a:solidFill>
            <a:schemeClr val="bg1"/>
          </a:solidFill>
        </p:grpSpPr>
        <p:sp>
          <p:nvSpPr>
            <p:cNvPr id="8" name="Freeform 33">
              <a:extLst>
                <a:ext uri="{FF2B5EF4-FFF2-40B4-BE49-F238E27FC236}">
                  <a16:creationId xmlns:a16="http://schemas.microsoft.com/office/drawing/2014/main" id="{FB007C44-CA5E-747F-537B-FA8B422F6EF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4">
              <a:extLst>
                <a:ext uri="{FF2B5EF4-FFF2-40B4-BE49-F238E27FC236}">
                  <a16:creationId xmlns:a16="http://schemas.microsoft.com/office/drawing/2014/main" id="{ACD5E94E-82F7-2222-8DA7-BF2F4217D47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3" name="Freeform 35">
              <a:extLst>
                <a:ext uri="{FF2B5EF4-FFF2-40B4-BE49-F238E27FC236}">
                  <a16:creationId xmlns:a16="http://schemas.microsoft.com/office/drawing/2014/main" id="{3422F086-3538-B59C-A13B-E07C6B18072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6">
              <a:extLst>
                <a:ext uri="{FF2B5EF4-FFF2-40B4-BE49-F238E27FC236}">
                  <a16:creationId xmlns:a16="http://schemas.microsoft.com/office/drawing/2014/main" id="{64270631-5CE7-99C0-6E82-FDECFC1D363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7">
              <a:extLst>
                <a:ext uri="{FF2B5EF4-FFF2-40B4-BE49-F238E27FC236}">
                  <a16:creationId xmlns:a16="http://schemas.microsoft.com/office/drawing/2014/main" id="{AEC4CD95-FA07-887B-3375-C4368A44AF15}"/>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6" name="TextBox 5">
            <a:extLst>
              <a:ext uri="{FF2B5EF4-FFF2-40B4-BE49-F238E27FC236}">
                <a16:creationId xmlns:a16="http://schemas.microsoft.com/office/drawing/2014/main" id="{1AA40532-F231-EBBB-A8D3-3657B33CB9DA}"/>
              </a:ext>
            </a:extLst>
          </p:cNvPr>
          <p:cNvSpPr txBox="1"/>
          <p:nvPr userDrawn="1"/>
        </p:nvSpPr>
        <p:spPr>
          <a:xfrm>
            <a:off x="10793087"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6" name="Slide Number Placeholder 5">
            <a:extLst>
              <a:ext uri="{FF2B5EF4-FFF2-40B4-BE49-F238E27FC236}">
                <a16:creationId xmlns:a16="http://schemas.microsoft.com/office/drawing/2014/main" id="{B509789C-1FE5-7B11-DD63-34E6F72F670E}"/>
              </a:ext>
            </a:extLst>
          </p:cNvPr>
          <p:cNvSpPr txBox="1">
            <a:spLocks/>
          </p:cNvSpPr>
          <p:nvPr userDrawn="1"/>
        </p:nvSpPr>
        <p:spPr>
          <a:xfrm>
            <a:off x="10445185"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7" name="Title 4">
            <a:extLst>
              <a:ext uri="{FF2B5EF4-FFF2-40B4-BE49-F238E27FC236}">
                <a16:creationId xmlns:a16="http://schemas.microsoft.com/office/drawing/2014/main" id="{A1D3EB5E-6B70-AA5A-4340-53F0E0A0646D}"/>
              </a:ext>
            </a:extLst>
          </p:cNvPr>
          <p:cNvSpPr>
            <a:spLocks noGrp="1"/>
          </p:cNvSpPr>
          <p:nvPr>
            <p:ph type="title" hasCustomPrompt="1"/>
          </p:nvPr>
        </p:nvSpPr>
        <p:spPr>
          <a:xfrm>
            <a:off x="5107197" y="959733"/>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8" name="Text Placeholder 3">
            <a:extLst>
              <a:ext uri="{FF2B5EF4-FFF2-40B4-BE49-F238E27FC236}">
                <a16:creationId xmlns:a16="http://schemas.microsoft.com/office/drawing/2014/main" id="{0AF9AF4C-BE87-2184-CAE5-F141A4F930B6}"/>
              </a:ext>
            </a:extLst>
          </p:cNvPr>
          <p:cNvSpPr>
            <a:spLocks noGrp="1"/>
          </p:cNvSpPr>
          <p:nvPr>
            <p:ph type="body" sz="quarter" idx="12" hasCustomPrompt="1"/>
          </p:nvPr>
        </p:nvSpPr>
        <p:spPr>
          <a:xfrm>
            <a:off x="5107199" y="2834798"/>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361100398"/>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3 N Pink">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C7D16BB-9265-7D3A-E136-8F028A9F86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0" name="Graphic 19">
            <a:extLst>
              <a:ext uri="{FF2B5EF4-FFF2-40B4-BE49-F238E27FC236}">
                <a16:creationId xmlns:a16="http://schemas.microsoft.com/office/drawing/2014/main" id="{A7536232-7B28-DCFA-37A3-EEBA7365A53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6859200" cy="6859200"/>
          </a:xfrm>
          <a:prstGeom prst="rect">
            <a:avLst/>
          </a:prstGeom>
        </p:spPr>
      </p:pic>
      <p:grpSp>
        <p:nvGrpSpPr>
          <p:cNvPr id="12" name="Graphic 3">
            <a:extLst>
              <a:ext uri="{FF2B5EF4-FFF2-40B4-BE49-F238E27FC236}">
                <a16:creationId xmlns:a16="http://schemas.microsoft.com/office/drawing/2014/main" id="{BBCFFB55-AEE0-B60F-9245-9C27632712D3}"/>
              </a:ext>
            </a:extLst>
          </p:cNvPr>
          <p:cNvGrpSpPr/>
          <p:nvPr userDrawn="1"/>
        </p:nvGrpSpPr>
        <p:grpSpPr>
          <a:xfrm>
            <a:off x="1649971" y="5976900"/>
            <a:ext cx="1817989" cy="409417"/>
            <a:chOff x="469958" y="1647414"/>
            <a:chExt cx="8205029" cy="1847802"/>
          </a:xfrm>
          <a:solidFill>
            <a:schemeClr val="bg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18" name="TextBox 17">
            <a:extLst>
              <a:ext uri="{FF2B5EF4-FFF2-40B4-BE49-F238E27FC236}">
                <a16:creationId xmlns:a16="http://schemas.microsoft.com/office/drawing/2014/main" id="{B3045E81-706E-BB14-3DDB-AC56D9F33518}"/>
              </a:ext>
            </a:extLst>
          </p:cNvPr>
          <p:cNvSpPr txBox="1"/>
          <p:nvPr userDrawn="1"/>
        </p:nvSpPr>
        <p:spPr>
          <a:xfrm>
            <a:off x="10793087"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9" name="Slide Number Placeholder 5">
            <a:extLst>
              <a:ext uri="{FF2B5EF4-FFF2-40B4-BE49-F238E27FC236}">
                <a16:creationId xmlns:a16="http://schemas.microsoft.com/office/drawing/2014/main" id="{0B1E5D1B-6D7F-C600-7828-022D4F5709B7}"/>
              </a:ext>
            </a:extLst>
          </p:cNvPr>
          <p:cNvSpPr txBox="1">
            <a:spLocks/>
          </p:cNvSpPr>
          <p:nvPr userDrawn="1"/>
        </p:nvSpPr>
        <p:spPr>
          <a:xfrm>
            <a:off x="10445185"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Title 4">
            <a:extLst>
              <a:ext uri="{FF2B5EF4-FFF2-40B4-BE49-F238E27FC236}">
                <a16:creationId xmlns:a16="http://schemas.microsoft.com/office/drawing/2014/main" id="{F0180981-7B7F-4D9A-87AD-960857227942}"/>
              </a:ext>
            </a:extLst>
          </p:cNvPr>
          <p:cNvSpPr>
            <a:spLocks noGrp="1"/>
          </p:cNvSpPr>
          <p:nvPr>
            <p:ph type="title" hasCustomPrompt="1"/>
          </p:nvPr>
        </p:nvSpPr>
        <p:spPr>
          <a:xfrm>
            <a:off x="5107197" y="959733"/>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22" name="Text Placeholder 3">
            <a:extLst>
              <a:ext uri="{FF2B5EF4-FFF2-40B4-BE49-F238E27FC236}">
                <a16:creationId xmlns:a16="http://schemas.microsoft.com/office/drawing/2014/main" id="{5C555545-3487-5A2F-B887-81AE17C8067F}"/>
              </a:ext>
            </a:extLst>
          </p:cNvPr>
          <p:cNvSpPr>
            <a:spLocks noGrp="1"/>
          </p:cNvSpPr>
          <p:nvPr>
            <p:ph type="body" sz="quarter" idx="12" hasCustomPrompt="1"/>
          </p:nvPr>
        </p:nvSpPr>
        <p:spPr>
          <a:xfrm>
            <a:off x="5107199" y="2834798"/>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10972179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3 N White">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674FB718-4590-313D-1532-FE817A22ACB4}"/>
              </a:ext>
            </a:extLst>
          </p:cNvPr>
          <p:cNvSpPr/>
          <p:nvPr/>
        </p:nvSpPr>
        <p:spPr>
          <a:xfrm>
            <a:off x="0" y="0"/>
            <a:ext cx="6859200" cy="6859200"/>
          </a:xfrm>
          <a:custGeom>
            <a:avLst/>
            <a:gdLst>
              <a:gd name="connsiteX0" fmla="*/ 0 w 5144400"/>
              <a:gd name="connsiteY0" fmla="*/ 0 h 5144400"/>
              <a:gd name="connsiteX1" fmla="*/ 5144400 w 5144400"/>
              <a:gd name="connsiteY1" fmla="*/ 0 h 5144400"/>
              <a:gd name="connsiteX2" fmla="*/ 5144400 w 5144400"/>
              <a:gd name="connsiteY2" fmla="*/ 5144400 h 5144400"/>
              <a:gd name="connsiteX3" fmla="*/ 0 w 5144400"/>
              <a:gd name="connsiteY3" fmla="*/ 5144400 h 5144400"/>
            </a:gdLst>
            <a:ahLst/>
            <a:cxnLst>
              <a:cxn ang="0">
                <a:pos x="connsiteX0" y="connsiteY0"/>
              </a:cxn>
              <a:cxn ang="0">
                <a:pos x="connsiteX1" y="connsiteY1"/>
              </a:cxn>
              <a:cxn ang="0">
                <a:pos x="connsiteX2" y="connsiteY2"/>
              </a:cxn>
              <a:cxn ang="0">
                <a:pos x="connsiteX3" y="connsiteY3"/>
              </a:cxn>
            </a:cxnLst>
            <a:rect l="l" t="t" r="r" b="b"/>
            <a:pathLst>
              <a:path w="5144400" h="5144400">
                <a:moveTo>
                  <a:pt x="0" y="0"/>
                </a:moveTo>
                <a:lnTo>
                  <a:pt x="5144400" y="0"/>
                </a:lnTo>
                <a:lnTo>
                  <a:pt x="5144400" y="5144400"/>
                </a:lnTo>
                <a:lnTo>
                  <a:pt x="0" y="5144400"/>
                </a:lnTo>
                <a:close/>
              </a:path>
            </a:pathLst>
          </a:custGeom>
          <a:noFill/>
          <a:ln w="26789" cap="flat">
            <a:noFill/>
            <a:prstDash val="solid"/>
            <a:miter/>
          </a:ln>
        </p:spPr>
        <p:txBody>
          <a:bodyPr rtlCol="0" anchor="ctr"/>
          <a:lstStyle/>
          <a:p>
            <a:endParaRPr lang="en-US" sz="2400"/>
          </a:p>
        </p:txBody>
      </p:sp>
      <p:sp>
        <p:nvSpPr>
          <p:cNvPr id="5" name="Freeform: Shape 4">
            <a:extLst>
              <a:ext uri="{FF2B5EF4-FFF2-40B4-BE49-F238E27FC236}">
                <a16:creationId xmlns:a16="http://schemas.microsoft.com/office/drawing/2014/main" id="{6585F427-7AA2-BA79-9FAB-3B20B348D66A}"/>
              </a:ext>
            </a:extLst>
          </p:cNvPr>
          <p:cNvSpPr/>
          <p:nvPr/>
        </p:nvSpPr>
        <p:spPr>
          <a:xfrm>
            <a:off x="0" y="-1200"/>
            <a:ext cx="6859200" cy="6859200"/>
          </a:xfrm>
          <a:custGeom>
            <a:avLst/>
            <a:gdLst>
              <a:gd name="connsiteX0" fmla="*/ 0 w 5144400"/>
              <a:gd name="connsiteY0" fmla="*/ 0 h 5144400"/>
              <a:gd name="connsiteX1" fmla="*/ 0 w 5144400"/>
              <a:gd name="connsiteY1" fmla="*/ 5144400 h 5144400"/>
              <a:gd name="connsiteX2" fmla="*/ 794971 w 5144400"/>
              <a:gd name="connsiteY2" fmla="*/ 5144400 h 5144400"/>
              <a:gd name="connsiteX3" fmla="*/ 794971 w 5144400"/>
              <a:gd name="connsiteY3" fmla="*/ 1741594 h 5144400"/>
              <a:gd name="connsiteX4" fmla="*/ 5144400 w 5144400"/>
              <a:gd name="connsiteY4" fmla="*/ 5144400 h 5144400"/>
              <a:gd name="connsiteX5" fmla="*/ 5144400 w 5144400"/>
              <a:gd name="connsiteY5" fmla="*/ 4142850 h 5144400"/>
              <a:gd name="connsiteX6" fmla="*/ 0 w 5144400"/>
              <a:gd name="connsiteY6" fmla="*/ 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4400" h="5144400">
                <a:moveTo>
                  <a:pt x="0" y="0"/>
                </a:moveTo>
                <a:lnTo>
                  <a:pt x="0" y="5144400"/>
                </a:lnTo>
                <a:cubicBezTo>
                  <a:pt x="0" y="5144400"/>
                  <a:pt x="794971" y="5144400"/>
                  <a:pt x="794971" y="5144400"/>
                </a:cubicBezTo>
                <a:lnTo>
                  <a:pt x="794971" y="1741594"/>
                </a:lnTo>
                <a:cubicBezTo>
                  <a:pt x="794971" y="1741594"/>
                  <a:pt x="5144400" y="5144400"/>
                  <a:pt x="5144400" y="5144400"/>
                </a:cubicBezTo>
                <a:lnTo>
                  <a:pt x="5144400" y="4142850"/>
                </a:lnTo>
                <a:lnTo>
                  <a:pt x="0" y="0"/>
                </a:lnTo>
                <a:close/>
              </a:path>
            </a:pathLst>
          </a:custGeom>
          <a:solidFill>
            <a:schemeClr val="accent1"/>
          </a:solidFill>
          <a:ln w="26789" cap="flat">
            <a:noFill/>
            <a:prstDash val="solid"/>
            <a:miter/>
          </a:ln>
        </p:spPr>
        <p:txBody>
          <a:bodyPr rtlCol="0" anchor="ctr"/>
          <a:lstStyle/>
          <a:p>
            <a:endParaRPr lang="en-US" sz="2400"/>
          </a:p>
        </p:txBody>
      </p:sp>
      <p:grpSp>
        <p:nvGrpSpPr>
          <p:cNvPr id="12" name="Graphic 3">
            <a:extLst>
              <a:ext uri="{FF2B5EF4-FFF2-40B4-BE49-F238E27FC236}">
                <a16:creationId xmlns:a16="http://schemas.microsoft.com/office/drawing/2014/main" id="{BBCFFB55-AEE0-B60F-9245-9C27632712D3}"/>
              </a:ext>
            </a:extLst>
          </p:cNvPr>
          <p:cNvGrpSpPr/>
          <p:nvPr userDrawn="1"/>
        </p:nvGrpSpPr>
        <p:grpSpPr>
          <a:xfrm>
            <a:off x="1649971" y="5976900"/>
            <a:ext cx="1817989" cy="409417"/>
            <a:chOff x="469958" y="1647414"/>
            <a:chExt cx="8205029" cy="1847802"/>
          </a:xfrm>
          <a:solidFill>
            <a:schemeClr val="accent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19" name="TextBox 18">
            <a:extLst>
              <a:ext uri="{FF2B5EF4-FFF2-40B4-BE49-F238E27FC236}">
                <a16:creationId xmlns:a16="http://schemas.microsoft.com/office/drawing/2014/main" id="{41F7AE0E-D196-9918-5EDB-E9F6D1F5BFCD}"/>
              </a:ext>
            </a:extLst>
          </p:cNvPr>
          <p:cNvSpPr txBox="1"/>
          <p:nvPr userDrawn="1"/>
        </p:nvSpPr>
        <p:spPr>
          <a:xfrm>
            <a:off x="10793087"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0" name="Slide Number Placeholder 5">
            <a:extLst>
              <a:ext uri="{FF2B5EF4-FFF2-40B4-BE49-F238E27FC236}">
                <a16:creationId xmlns:a16="http://schemas.microsoft.com/office/drawing/2014/main" id="{CE77B206-49F7-2B3D-46F6-5783EB06549D}"/>
              </a:ext>
            </a:extLst>
          </p:cNvPr>
          <p:cNvSpPr txBox="1">
            <a:spLocks/>
          </p:cNvSpPr>
          <p:nvPr userDrawn="1"/>
        </p:nvSpPr>
        <p:spPr>
          <a:xfrm>
            <a:off x="10445185"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Title 4">
            <a:extLst>
              <a:ext uri="{FF2B5EF4-FFF2-40B4-BE49-F238E27FC236}">
                <a16:creationId xmlns:a16="http://schemas.microsoft.com/office/drawing/2014/main" id="{D3CDCE65-9D09-8014-E0D4-FA37C5A40921}"/>
              </a:ext>
            </a:extLst>
          </p:cNvPr>
          <p:cNvSpPr>
            <a:spLocks noGrp="1"/>
          </p:cNvSpPr>
          <p:nvPr>
            <p:ph type="title" hasCustomPrompt="1"/>
          </p:nvPr>
        </p:nvSpPr>
        <p:spPr>
          <a:xfrm>
            <a:off x="5107197" y="959733"/>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22" name="Text Placeholder 3">
            <a:extLst>
              <a:ext uri="{FF2B5EF4-FFF2-40B4-BE49-F238E27FC236}">
                <a16:creationId xmlns:a16="http://schemas.microsoft.com/office/drawing/2014/main" id="{450AD0AE-26A9-7041-BAC9-7726260DC45A}"/>
              </a:ext>
            </a:extLst>
          </p:cNvPr>
          <p:cNvSpPr>
            <a:spLocks noGrp="1"/>
          </p:cNvSpPr>
          <p:nvPr>
            <p:ph type="body" sz="quarter" idx="12" hasCustomPrompt="1"/>
          </p:nvPr>
        </p:nvSpPr>
        <p:spPr>
          <a:xfrm>
            <a:off x="5107199" y="2834798"/>
            <a:ext cx="6528000"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464611323"/>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3 O Blue green">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8A7CBB0-A767-7247-8638-81BC366967B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7BBDEA00-FE7A-639E-C16F-BC5E3DBD8FD3}"/>
              </a:ext>
            </a:extLst>
          </p:cNvPr>
          <p:cNvGrpSpPr/>
          <p:nvPr userDrawn="1"/>
        </p:nvGrpSpPr>
        <p:grpSpPr>
          <a:xfrm>
            <a:off x="9308198" y="3224292"/>
            <a:ext cx="1817989" cy="409417"/>
            <a:chOff x="469958" y="1647414"/>
            <a:chExt cx="8205029" cy="1847802"/>
          </a:xfrm>
          <a:solidFill>
            <a:schemeClr val="bg1"/>
          </a:solidFill>
        </p:grpSpPr>
        <p:sp>
          <p:nvSpPr>
            <p:cNvPr id="4" name="Freeform 24">
              <a:extLst>
                <a:ext uri="{FF2B5EF4-FFF2-40B4-BE49-F238E27FC236}">
                  <a16:creationId xmlns:a16="http://schemas.microsoft.com/office/drawing/2014/main" id="{0B5F76F9-295B-59E5-BDCF-8B6840E5B5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25">
              <a:extLst>
                <a:ext uri="{FF2B5EF4-FFF2-40B4-BE49-F238E27FC236}">
                  <a16:creationId xmlns:a16="http://schemas.microsoft.com/office/drawing/2014/main" id="{B473941B-CE77-6414-782E-B5933651166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26">
              <a:extLst>
                <a:ext uri="{FF2B5EF4-FFF2-40B4-BE49-F238E27FC236}">
                  <a16:creationId xmlns:a16="http://schemas.microsoft.com/office/drawing/2014/main" id="{03FCE4B1-384C-92A9-F114-45634B67A11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8" name="Freeform 27">
              <a:extLst>
                <a:ext uri="{FF2B5EF4-FFF2-40B4-BE49-F238E27FC236}">
                  <a16:creationId xmlns:a16="http://schemas.microsoft.com/office/drawing/2014/main" id="{16718376-BEBA-6EC2-B9BA-05AEA785303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2" name="Freeform 28">
              <a:extLst>
                <a:ext uri="{FF2B5EF4-FFF2-40B4-BE49-F238E27FC236}">
                  <a16:creationId xmlns:a16="http://schemas.microsoft.com/office/drawing/2014/main" id="{55E96EEC-F984-9065-5EAC-AF9297B31DF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3" name="Graphic 12">
            <a:extLst>
              <a:ext uri="{FF2B5EF4-FFF2-40B4-BE49-F238E27FC236}">
                <a16:creationId xmlns:a16="http://schemas.microsoft.com/office/drawing/2014/main" id="{8CEF710E-39E1-082B-B52C-E37B4EEF550E}"/>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1" y="-6395"/>
            <a:ext cx="5356300" cy="6859200"/>
          </a:xfrm>
          <a:prstGeom prst="rect">
            <a:avLst/>
          </a:prstGeom>
        </p:spPr>
      </p:pic>
      <p:sp>
        <p:nvSpPr>
          <p:cNvPr id="9" name="Title 4">
            <a:extLst>
              <a:ext uri="{FF2B5EF4-FFF2-40B4-BE49-F238E27FC236}">
                <a16:creationId xmlns:a16="http://schemas.microsoft.com/office/drawing/2014/main" id="{9A3B12B3-A799-7EB4-75DA-BC0A7D70161D}"/>
              </a:ext>
            </a:extLst>
          </p:cNvPr>
          <p:cNvSpPr>
            <a:spLocks noGrp="1"/>
          </p:cNvSpPr>
          <p:nvPr>
            <p:ph type="title" hasCustomPrompt="1"/>
          </p:nvPr>
        </p:nvSpPr>
        <p:spPr>
          <a:xfrm>
            <a:off x="556708" y="1200000"/>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0" name="Text Placeholder 3">
            <a:extLst>
              <a:ext uri="{FF2B5EF4-FFF2-40B4-BE49-F238E27FC236}">
                <a16:creationId xmlns:a16="http://schemas.microsoft.com/office/drawing/2014/main" id="{BEDD8338-5A64-469A-E2DB-DF91FC185624}"/>
              </a:ext>
            </a:extLst>
          </p:cNvPr>
          <p:cNvSpPr>
            <a:spLocks noGrp="1"/>
          </p:cNvSpPr>
          <p:nvPr>
            <p:ph type="body" sz="quarter" idx="12" hasCustomPrompt="1"/>
          </p:nvPr>
        </p:nvSpPr>
        <p:spPr>
          <a:xfrm>
            <a:off x="556708" y="3120001"/>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8" name="TextBox 17">
            <a:extLst>
              <a:ext uri="{FF2B5EF4-FFF2-40B4-BE49-F238E27FC236}">
                <a16:creationId xmlns:a16="http://schemas.microsoft.com/office/drawing/2014/main" id="{8BB79C81-C7D6-4DE3-0A04-D7E02DD8C66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9" name="Slide Number Placeholder 5">
            <a:extLst>
              <a:ext uri="{FF2B5EF4-FFF2-40B4-BE49-F238E27FC236}">
                <a16:creationId xmlns:a16="http://schemas.microsoft.com/office/drawing/2014/main" id="{0A910EA0-FECD-D7DE-120C-8BC301ED58FF}"/>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2662397161"/>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3 O Blue pink">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6" name="Graphic 3">
            <a:extLst>
              <a:ext uri="{FF2B5EF4-FFF2-40B4-BE49-F238E27FC236}">
                <a16:creationId xmlns:a16="http://schemas.microsoft.com/office/drawing/2014/main" id="{7ADBC276-24FC-31B1-198D-D0A0EB5188BB}"/>
              </a:ext>
            </a:extLst>
          </p:cNvPr>
          <p:cNvGrpSpPr/>
          <p:nvPr userDrawn="1"/>
        </p:nvGrpSpPr>
        <p:grpSpPr>
          <a:xfrm>
            <a:off x="9308198" y="3224292"/>
            <a:ext cx="1817989" cy="409417"/>
            <a:chOff x="469958" y="1647414"/>
            <a:chExt cx="8205029" cy="1847802"/>
          </a:xfrm>
          <a:solidFill>
            <a:schemeClr val="bg1"/>
          </a:solidFill>
        </p:grpSpPr>
        <p:sp>
          <p:nvSpPr>
            <p:cNvPr id="7" name="Freeform 24">
              <a:extLst>
                <a:ext uri="{FF2B5EF4-FFF2-40B4-BE49-F238E27FC236}">
                  <a16:creationId xmlns:a16="http://schemas.microsoft.com/office/drawing/2014/main" id="{CDDE8834-7F71-A488-29A8-540395324479}"/>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8" name="Freeform 25">
              <a:extLst>
                <a:ext uri="{FF2B5EF4-FFF2-40B4-BE49-F238E27FC236}">
                  <a16:creationId xmlns:a16="http://schemas.microsoft.com/office/drawing/2014/main" id="{FEFA04F6-2C3F-3E38-9E08-D6990D946A8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9" name="Freeform 26">
              <a:extLst>
                <a:ext uri="{FF2B5EF4-FFF2-40B4-BE49-F238E27FC236}">
                  <a16:creationId xmlns:a16="http://schemas.microsoft.com/office/drawing/2014/main" id="{54253727-9053-862A-19CB-32DD1616812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12" name="Freeform 27">
              <a:extLst>
                <a:ext uri="{FF2B5EF4-FFF2-40B4-BE49-F238E27FC236}">
                  <a16:creationId xmlns:a16="http://schemas.microsoft.com/office/drawing/2014/main" id="{6E5204B2-3785-90DB-45F2-F73CC497595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3" name="Freeform 28">
              <a:extLst>
                <a:ext uri="{FF2B5EF4-FFF2-40B4-BE49-F238E27FC236}">
                  <a16:creationId xmlns:a16="http://schemas.microsoft.com/office/drawing/2014/main" id="{95BC05DD-4D63-F05A-843F-EE491020FFD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4" name="Graphic 13">
            <a:extLst>
              <a:ext uri="{FF2B5EF4-FFF2-40B4-BE49-F238E27FC236}">
                <a16:creationId xmlns:a16="http://schemas.microsoft.com/office/drawing/2014/main" id="{F41E3DBD-A4E2-6EF5-8073-EED87395D745}"/>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1" y="-6395"/>
            <a:ext cx="5356300" cy="6859200"/>
          </a:xfrm>
          <a:prstGeom prst="rect">
            <a:avLst/>
          </a:prstGeom>
        </p:spPr>
      </p:pic>
      <p:sp>
        <p:nvSpPr>
          <p:cNvPr id="11" name="TextBox 10">
            <a:extLst>
              <a:ext uri="{FF2B5EF4-FFF2-40B4-BE49-F238E27FC236}">
                <a16:creationId xmlns:a16="http://schemas.microsoft.com/office/drawing/2014/main" id="{79647D8A-35E4-5375-137D-AE3FBB59F9F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7" name="Slide Number Placeholder 5">
            <a:extLst>
              <a:ext uri="{FF2B5EF4-FFF2-40B4-BE49-F238E27FC236}">
                <a16:creationId xmlns:a16="http://schemas.microsoft.com/office/drawing/2014/main" id="{17E9E3A5-43FE-813E-B36E-00A287E16B3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Title 4">
            <a:extLst>
              <a:ext uri="{FF2B5EF4-FFF2-40B4-BE49-F238E27FC236}">
                <a16:creationId xmlns:a16="http://schemas.microsoft.com/office/drawing/2014/main" id="{CA265AEB-E893-7C5A-2089-F8668DD28ED9}"/>
              </a:ext>
            </a:extLst>
          </p:cNvPr>
          <p:cNvSpPr>
            <a:spLocks noGrp="1"/>
          </p:cNvSpPr>
          <p:nvPr>
            <p:ph type="title" hasCustomPrompt="1"/>
          </p:nvPr>
        </p:nvSpPr>
        <p:spPr>
          <a:xfrm>
            <a:off x="556708" y="1200000"/>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9" name="Text Placeholder 3">
            <a:extLst>
              <a:ext uri="{FF2B5EF4-FFF2-40B4-BE49-F238E27FC236}">
                <a16:creationId xmlns:a16="http://schemas.microsoft.com/office/drawing/2014/main" id="{89A21839-5A3E-48C8-8C8A-66E6CF919C97}"/>
              </a:ext>
            </a:extLst>
          </p:cNvPr>
          <p:cNvSpPr>
            <a:spLocks noGrp="1"/>
          </p:cNvSpPr>
          <p:nvPr>
            <p:ph type="body" sz="quarter" idx="12" hasCustomPrompt="1"/>
          </p:nvPr>
        </p:nvSpPr>
        <p:spPr>
          <a:xfrm>
            <a:off x="556708" y="3120001"/>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667236509"/>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3 O Blue green 2">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9308198" y="3224292"/>
            <a:ext cx="1817989" cy="409417"/>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6835701" y="-6395"/>
            <a:ext cx="5356300" cy="6859200"/>
          </a:xfrm>
          <a:prstGeom prst="rect">
            <a:avLst/>
          </a:prstGeom>
        </p:spPr>
      </p:pic>
      <p:sp>
        <p:nvSpPr>
          <p:cNvPr id="4" name="TextBox 3">
            <a:extLst>
              <a:ext uri="{FF2B5EF4-FFF2-40B4-BE49-F238E27FC236}">
                <a16:creationId xmlns:a16="http://schemas.microsoft.com/office/drawing/2014/main" id="{5054EB9F-8927-A3FE-8B84-2A5DA2E7EB1F}"/>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5" name="Slide Number Placeholder 5">
            <a:extLst>
              <a:ext uri="{FF2B5EF4-FFF2-40B4-BE49-F238E27FC236}">
                <a16:creationId xmlns:a16="http://schemas.microsoft.com/office/drawing/2014/main" id="{E1049C86-481E-BCA9-382A-A561EA22CA19}"/>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6" name="Title 4">
            <a:extLst>
              <a:ext uri="{FF2B5EF4-FFF2-40B4-BE49-F238E27FC236}">
                <a16:creationId xmlns:a16="http://schemas.microsoft.com/office/drawing/2014/main" id="{D06AC820-889D-342D-C4F1-65579046FEB3}"/>
              </a:ext>
            </a:extLst>
          </p:cNvPr>
          <p:cNvSpPr>
            <a:spLocks noGrp="1"/>
          </p:cNvSpPr>
          <p:nvPr>
            <p:ph type="title" hasCustomPrompt="1"/>
          </p:nvPr>
        </p:nvSpPr>
        <p:spPr>
          <a:xfrm>
            <a:off x="556708" y="1200000"/>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0" name="Text Placeholder 3">
            <a:extLst>
              <a:ext uri="{FF2B5EF4-FFF2-40B4-BE49-F238E27FC236}">
                <a16:creationId xmlns:a16="http://schemas.microsoft.com/office/drawing/2014/main" id="{38C0E4A4-2F9E-C493-382A-9CBF0ED8AD5E}"/>
              </a:ext>
            </a:extLst>
          </p:cNvPr>
          <p:cNvSpPr>
            <a:spLocks noGrp="1"/>
          </p:cNvSpPr>
          <p:nvPr>
            <p:ph type="body" sz="quarter" idx="12" hasCustomPrompt="1"/>
          </p:nvPr>
        </p:nvSpPr>
        <p:spPr>
          <a:xfrm>
            <a:off x="556708" y="3120001"/>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836565631"/>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3 O White">
    <p:spTree>
      <p:nvGrpSpPr>
        <p:cNvPr id="1" name=""/>
        <p:cNvGrpSpPr/>
        <p:nvPr/>
      </p:nvGrpSpPr>
      <p:grpSpPr>
        <a:xfrm>
          <a:off x="0" y="0"/>
          <a:ext cx="0" cy="0"/>
          <a:chOff x="0" y="0"/>
          <a:chExt cx="0" cy="0"/>
        </a:xfrm>
      </p:grpSpPr>
      <p:grpSp>
        <p:nvGrpSpPr>
          <p:cNvPr id="7" name="Graphic 3">
            <a:extLst>
              <a:ext uri="{FF2B5EF4-FFF2-40B4-BE49-F238E27FC236}">
                <a16:creationId xmlns:a16="http://schemas.microsoft.com/office/drawing/2014/main" id="{57ADD6F0-8A1D-2465-892B-42BFF999186F}"/>
              </a:ext>
            </a:extLst>
          </p:cNvPr>
          <p:cNvGrpSpPr/>
          <p:nvPr userDrawn="1"/>
        </p:nvGrpSpPr>
        <p:grpSpPr>
          <a:xfrm>
            <a:off x="9407771" y="3224292"/>
            <a:ext cx="1817989" cy="409417"/>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pic>
        <p:nvPicPr>
          <p:cNvPr id="20" name="Picture 19" descr="Circle&#10;&#10;Description automatically generated with medium confidence">
            <a:extLst>
              <a:ext uri="{FF2B5EF4-FFF2-40B4-BE49-F238E27FC236}">
                <a16:creationId xmlns:a16="http://schemas.microsoft.com/office/drawing/2014/main" id="{87D5AF06-6AF8-9002-BEDC-176CB57496A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25084"/>
          <a:stretch/>
        </p:blipFill>
        <p:spPr>
          <a:xfrm>
            <a:off x="6835701" y="0"/>
            <a:ext cx="5356300" cy="6858000"/>
          </a:xfrm>
          <a:prstGeom prst="rect">
            <a:avLst/>
          </a:prstGeom>
        </p:spPr>
      </p:pic>
      <p:sp>
        <p:nvSpPr>
          <p:cNvPr id="5" name="TextBox 4">
            <a:extLst>
              <a:ext uri="{FF2B5EF4-FFF2-40B4-BE49-F238E27FC236}">
                <a16:creationId xmlns:a16="http://schemas.microsoft.com/office/drawing/2014/main" id="{0A7A7115-EA83-4FF6-C9AA-23524B051F64}"/>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6" name="Slide Number Placeholder 5">
            <a:extLst>
              <a:ext uri="{FF2B5EF4-FFF2-40B4-BE49-F238E27FC236}">
                <a16:creationId xmlns:a16="http://schemas.microsoft.com/office/drawing/2014/main" id="{D74832A1-1A29-5A85-3CD7-02108B35D949}"/>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4" name="Title 4">
            <a:extLst>
              <a:ext uri="{FF2B5EF4-FFF2-40B4-BE49-F238E27FC236}">
                <a16:creationId xmlns:a16="http://schemas.microsoft.com/office/drawing/2014/main" id="{2EB43E8F-27C8-8759-7A98-CAA935E7823A}"/>
              </a:ext>
            </a:extLst>
          </p:cNvPr>
          <p:cNvSpPr>
            <a:spLocks noGrp="1"/>
          </p:cNvSpPr>
          <p:nvPr>
            <p:ph type="title" hasCustomPrompt="1"/>
          </p:nvPr>
        </p:nvSpPr>
        <p:spPr>
          <a:xfrm>
            <a:off x="556708" y="1200000"/>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15" name="Text Placeholder 3">
            <a:extLst>
              <a:ext uri="{FF2B5EF4-FFF2-40B4-BE49-F238E27FC236}">
                <a16:creationId xmlns:a16="http://schemas.microsoft.com/office/drawing/2014/main" id="{CE8D2D46-B066-616E-7306-CE64233C730C}"/>
              </a:ext>
            </a:extLst>
          </p:cNvPr>
          <p:cNvSpPr>
            <a:spLocks noGrp="1"/>
          </p:cNvSpPr>
          <p:nvPr>
            <p:ph type="body" sz="quarter" idx="12" hasCustomPrompt="1"/>
          </p:nvPr>
        </p:nvSpPr>
        <p:spPr>
          <a:xfrm>
            <a:off x="556708" y="3120001"/>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188287737"/>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 K Red orange">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38FCEB48-BE41-308F-33AB-94163C02BF5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10" name="Graphic 9">
            <a:extLst>
              <a:ext uri="{FF2B5EF4-FFF2-40B4-BE49-F238E27FC236}">
                <a16:creationId xmlns:a16="http://schemas.microsoft.com/office/drawing/2014/main" id="{193793F7-1073-3781-E44D-DD541B786672}"/>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sp>
        <p:nvSpPr>
          <p:cNvPr id="17" name="Title 4">
            <a:extLst>
              <a:ext uri="{FF2B5EF4-FFF2-40B4-BE49-F238E27FC236}">
                <a16:creationId xmlns:a16="http://schemas.microsoft.com/office/drawing/2014/main" id="{4A761E77-5CBD-451F-FA38-EA3EF19CE9E8}"/>
              </a:ext>
            </a:extLst>
          </p:cNvPr>
          <p:cNvSpPr>
            <a:spLocks noGrp="1"/>
          </p:cNvSpPr>
          <p:nvPr>
            <p:ph type="title" hasCustomPrompt="1"/>
          </p:nvPr>
        </p:nvSpPr>
        <p:spPr>
          <a:xfrm>
            <a:off x="556708" y="2179565"/>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8" name="Text Placeholder 3">
            <a:extLst>
              <a:ext uri="{FF2B5EF4-FFF2-40B4-BE49-F238E27FC236}">
                <a16:creationId xmlns:a16="http://schemas.microsoft.com/office/drawing/2014/main" id="{1349CF4D-C3F5-69B9-4227-EC331C16F094}"/>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6" name="Graphic 3">
            <a:extLst>
              <a:ext uri="{FF2B5EF4-FFF2-40B4-BE49-F238E27FC236}">
                <a16:creationId xmlns:a16="http://schemas.microsoft.com/office/drawing/2014/main" id="{5A3F8AE7-69F1-0171-3222-4CFFCDB4F568}"/>
              </a:ext>
            </a:extLst>
          </p:cNvPr>
          <p:cNvGrpSpPr/>
          <p:nvPr userDrawn="1"/>
        </p:nvGrpSpPr>
        <p:grpSpPr>
          <a:xfrm>
            <a:off x="9407771" y="3224292"/>
            <a:ext cx="1817989" cy="409417"/>
            <a:chOff x="469958" y="1647414"/>
            <a:chExt cx="8205029" cy="1847802"/>
          </a:xfrm>
          <a:solidFill>
            <a:schemeClr val="bg1"/>
          </a:solidFill>
        </p:grpSpPr>
        <p:sp>
          <p:nvSpPr>
            <p:cNvPr id="7" name="Freeform 25">
              <a:extLst>
                <a:ext uri="{FF2B5EF4-FFF2-40B4-BE49-F238E27FC236}">
                  <a16:creationId xmlns:a16="http://schemas.microsoft.com/office/drawing/2014/main" id="{0DE2A214-8055-F089-C6C4-415D2FEE42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8" name="Freeform 31">
              <a:extLst>
                <a:ext uri="{FF2B5EF4-FFF2-40B4-BE49-F238E27FC236}">
                  <a16:creationId xmlns:a16="http://schemas.microsoft.com/office/drawing/2014/main" id="{E7E7B380-ABE2-70DF-A29A-E3B4A181FA12}"/>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2">
              <a:extLst>
                <a:ext uri="{FF2B5EF4-FFF2-40B4-BE49-F238E27FC236}">
                  <a16:creationId xmlns:a16="http://schemas.microsoft.com/office/drawing/2014/main" id="{ED784E94-97A9-B627-1E07-7CAEF44EE8A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31E44308-7765-3146-1869-04D3DA41235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5E9E56FD-C856-3054-AB6B-A80BA7D6C55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2" name="TextBox 1">
            <a:extLst>
              <a:ext uri="{FF2B5EF4-FFF2-40B4-BE49-F238E27FC236}">
                <a16:creationId xmlns:a16="http://schemas.microsoft.com/office/drawing/2014/main" id="{DF372165-1480-FF4B-FD8E-0169E8CD1957}"/>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3" name="Slide Number Placeholder 5">
            <a:extLst>
              <a:ext uri="{FF2B5EF4-FFF2-40B4-BE49-F238E27FC236}">
                <a16:creationId xmlns:a16="http://schemas.microsoft.com/office/drawing/2014/main" id="{4885AEDB-ED41-584E-391C-1747DAD5043C}"/>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907266308"/>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3 K Blue">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8FF1A58D-53A4-65F6-8F2B-645D65C533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5166BBE5-C86E-3E87-A7C5-F29BE64D716D}"/>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grpSp>
        <p:nvGrpSpPr>
          <p:cNvPr id="7" name="Graphic 3">
            <a:extLst>
              <a:ext uri="{FF2B5EF4-FFF2-40B4-BE49-F238E27FC236}">
                <a16:creationId xmlns:a16="http://schemas.microsoft.com/office/drawing/2014/main" id="{47BEB086-B161-40ED-B2E3-DDF397278FA8}"/>
              </a:ext>
            </a:extLst>
          </p:cNvPr>
          <p:cNvGrpSpPr/>
          <p:nvPr userDrawn="1"/>
        </p:nvGrpSpPr>
        <p:grpSpPr>
          <a:xfrm>
            <a:off x="9407771" y="3224292"/>
            <a:ext cx="1817989" cy="409417"/>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6" name="TextBox 5">
            <a:extLst>
              <a:ext uri="{FF2B5EF4-FFF2-40B4-BE49-F238E27FC236}">
                <a16:creationId xmlns:a16="http://schemas.microsoft.com/office/drawing/2014/main" id="{D8B4807D-C6CB-B42F-7CAC-4B1E0264A613}"/>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4" name="Slide Number Placeholder 5">
            <a:extLst>
              <a:ext uri="{FF2B5EF4-FFF2-40B4-BE49-F238E27FC236}">
                <a16:creationId xmlns:a16="http://schemas.microsoft.com/office/drawing/2014/main" id="{7A5600B8-EF33-4C46-87E9-1A51B9580A90}"/>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Title 4">
            <a:extLst>
              <a:ext uri="{FF2B5EF4-FFF2-40B4-BE49-F238E27FC236}">
                <a16:creationId xmlns:a16="http://schemas.microsoft.com/office/drawing/2014/main" id="{651B7E9D-D552-81A8-07CE-C85143F970BC}"/>
              </a:ext>
            </a:extLst>
          </p:cNvPr>
          <p:cNvSpPr>
            <a:spLocks noGrp="1"/>
          </p:cNvSpPr>
          <p:nvPr>
            <p:ph type="title" hasCustomPrompt="1"/>
          </p:nvPr>
        </p:nvSpPr>
        <p:spPr>
          <a:xfrm>
            <a:off x="556708" y="2179565"/>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6" name="Text Placeholder 3">
            <a:extLst>
              <a:ext uri="{FF2B5EF4-FFF2-40B4-BE49-F238E27FC236}">
                <a16:creationId xmlns:a16="http://schemas.microsoft.com/office/drawing/2014/main" id="{2BF972D4-3000-87A0-9E6C-C622A2B7C6C0}"/>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40828501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2.1 - Bullet 1/2 imag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05186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051868" cy="454205"/>
          </a:xfrm>
          <a:prstGeom prst="rect">
            <a:avLst/>
          </a:prstGeom>
        </p:spPr>
        <p:txBody>
          <a:bodyPr lIns="0" tIns="0" rIns="0" bIns="0"/>
          <a:lstStyle>
            <a:lvl1pPr marL="0" indent="0">
              <a:lnSpc>
                <a:spcPct val="100000"/>
              </a:lnSpc>
              <a:spcBef>
                <a:spcPts val="0"/>
              </a:spcBef>
              <a:buNone/>
              <a:defRPr sz="2400" baseline="0">
                <a:solidFill>
                  <a:schemeClr val="tx2"/>
                </a:solidFill>
                <a:latin typeface="Nokia Pure Headline Light" panose="020B0304020202020204" pitchFamily="34" charset="0"/>
              </a:defRPr>
            </a:lvl1pPr>
          </a:lstStyle>
          <a:p>
            <a:pPr lvl="0"/>
            <a:r>
              <a:rPr lang="en-US" noProof="0"/>
              <a:t>Click to edit headline</a:t>
            </a:r>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096002" y="0"/>
            <a:ext cx="6096001"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05186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2"/>
                </a:solidFill>
              </a:defRPr>
            </a:lvl1pPr>
            <a:lvl2pPr marL="479976" indent="-239989">
              <a:lnSpc>
                <a:spcPct val="100000"/>
              </a:lnSpc>
              <a:spcBef>
                <a:spcPts val="0"/>
              </a:spcBef>
              <a:spcAft>
                <a:spcPts val="800"/>
              </a:spcAft>
              <a:buSzPct val="70000"/>
              <a:defRPr sz="1600">
                <a:solidFill>
                  <a:schemeClr val="tx2"/>
                </a:solidFill>
              </a:defRPr>
            </a:lvl2pPr>
            <a:lvl3pPr marL="719965" indent="-239989">
              <a:lnSpc>
                <a:spcPct val="100000"/>
              </a:lnSpc>
              <a:spcBef>
                <a:spcPts val="0"/>
              </a:spcBef>
              <a:spcAft>
                <a:spcPts val="800"/>
              </a:spcAft>
              <a:buSzPct val="70000"/>
              <a:defRPr sz="1600">
                <a:solidFill>
                  <a:schemeClr val="tx2"/>
                </a:solidFill>
              </a:defRPr>
            </a:lvl3pPr>
            <a:lvl4pPr marL="959952" indent="-239989">
              <a:lnSpc>
                <a:spcPct val="100000"/>
              </a:lnSpc>
              <a:spcBef>
                <a:spcPts val="0"/>
              </a:spcBef>
              <a:spcAft>
                <a:spcPts val="800"/>
              </a:spcAft>
              <a:buSzPct val="70000"/>
              <a:defRPr sz="1600">
                <a:solidFill>
                  <a:schemeClr val="tx2"/>
                </a:solidFill>
              </a:defRPr>
            </a:lvl4pPr>
            <a:lvl5pPr marL="1199941" indent="-239989">
              <a:lnSpc>
                <a:spcPct val="100000"/>
              </a:lnSpc>
              <a:spcBef>
                <a:spcPts val="0"/>
              </a:spcBef>
              <a:spcAft>
                <a:spcPts val="800"/>
              </a:spcAft>
              <a:buSzPct val="70000"/>
              <a:defRPr sz="16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0" name="TextBox 19">
            <a:extLst>
              <a:ext uri="{FF2B5EF4-FFF2-40B4-BE49-F238E27FC236}">
                <a16:creationId xmlns:a16="http://schemas.microsoft.com/office/drawing/2014/main" id="{972230E8-8C3E-FACC-BB83-0BEB16548E5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FFD06BD2-8C82-3A42-EA94-1DAD5F04366A}"/>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996931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K Red orange">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38FCEB48-BE41-308F-33AB-94163C02BF5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10" name="Graphic 9">
            <a:extLst>
              <a:ext uri="{FF2B5EF4-FFF2-40B4-BE49-F238E27FC236}">
                <a16:creationId xmlns:a16="http://schemas.microsoft.com/office/drawing/2014/main" id="{193793F7-1073-3781-E44D-DD541B786672}"/>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sp>
        <p:nvSpPr>
          <p:cNvPr id="17" name="Title 4">
            <a:extLst>
              <a:ext uri="{FF2B5EF4-FFF2-40B4-BE49-F238E27FC236}">
                <a16:creationId xmlns:a16="http://schemas.microsoft.com/office/drawing/2014/main" id="{4A761E77-5CBD-451F-FA38-EA3EF19CE9E8}"/>
              </a:ext>
            </a:extLst>
          </p:cNvPr>
          <p:cNvSpPr>
            <a:spLocks noGrp="1"/>
          </p:cNvSpPr>
          <p:nvPr>
            <p:ph type="title" hasCustomPrompt="1"/>
          </p:nvPr>
        </p:nvSpPr>
        <p:spPr>
          <a:xfrm>
            <a:off x="556708" y="2179565"/>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8" name="Text Placeholder 3">
            <a:extLst>
              <a:ext uri="{FF2B5EF4-FFF2-40B4-BE49-F238E27FC236}">
                <a16:creationId xmlns:a16="http://schemas.microsoft.com/office/drawing/2014/main" id="{1349CF4D-C3F5-69B9-4227-EC331C16F094}"/>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6" name="Graphic 3">
            <a:extLst>
              <a:ext uri="{FF2B5EF4-FFF2-40B4-BE49-F238E27FC236}">
                <a16:creationId xmlns:a16="http://schemas.microsoft.com/office/drawing/2014/main" id="{5A3F8AE7-69F1-0171-3222-4CFFCDB4F568}"/>
              </a:ext>
            </a:extLst>
          </p:cNvPr>
          <p:cNvGrpSpPr/>
          <p:nvPr userDrawn="1"/>
        </p:nvGrpSpPr>
        <p:grpSpPr>
          <a:xfrm>
            <a:off x="9407771" y="3224292"/>
            <a:ext cx="1817989" cy="409417"/>
            <a:chOff x="469958" y="1647414"/>
            <a:chExt cx="8205029" cy="1847802"/>
          </a:xfrm>
          <a:solidFill>
            <a:schemeClr val="bg1"/>
          </a:solidFill>
        </p:grpSpPr>
        <p:sp>
          <p:nvSpPr>
            <p:cNvPr id="7" name="Freeform 25">
              <a:extLst>
                <a:ext uri="{FF2B5EF4-FFF2-40B4-BE49-F238E27FC236}">
                  <a16:creationId xmlns:a16="http://schemas.microsoft.com/office/drawing/2014/main" id="{0DE2A214-8055-F089-C6C4-415D2FEE42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8" name="Freeform 31">
              <a:extLst>
                <a:ext uri="{FF2B5EF4-FFF2-40B4-BE49-F238E27FC236}">
                  <a16:creationId xmlns:a16="http://schemas.microsoft.com/office/drawing/2014/main" id="{E7E7B380-ABE2-70DF-A29A-E3B4A181FA12}"/>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2">
              <a:extLst>
                <a:ext uri="{FF2B5EF4-FFF2-40B4-BE49-F238E27FC236}">
                  <a16:creationId xmlns:a16="http://schemas.microsoft.com/office/drawing/2014/main" id="{ED784E94-97A9-B627-1E07-7CAEF44EE8A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31E44308-7765-3146-1869-04D3DA41235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5E9E56FD-C856-3054-AB6B-A80BA7D6C55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2" name="TextBox 1">
            <a:extLst>
              <a:ext uri="{FF2B5EF4-FFF2-40B4-BE49-F238E27FC236}">
                <a16:creationId xmlns:a16="http://schemas.microsoft.com/office/drawing/2014/main" id="{DF372165-1480-FF4B-FD8E-0169E8CD1957}"/>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885AEDB-ED41-584E-391C-1747DAD5043C}"/>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185733499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3 K Pin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C0B63B-5EB2-C517-FFAF-0A5B2B5AB93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grpSp>
        <p:nvGrpSpPr>
          <p:cNvPr id="8" name="Graphic 3">
            <a:extLst>
              <a:ext uri="{FF2B5EF4-FFF2-40B4-BE49-F238E27FC236}">
                <a16:creationId xmlns:a16="http://schemas.microsoft.com/office/drawing/2014/main" id="{02491239-1144-EB94-E007-F05D770D71DA}"/>
              </a:ext>
            </a:extLst>
          </p:cNvPr>
          <p:cNvGrpSpPr/>
          <p:nvPr userDrawn="1"/>
        </p:nvGrpSpPr>
        <p:grpSpPr>
          <a:xfrm>
            <a:off x="9407771" y="3224292"/>
            <a:ext cx="1817989" cy="409417"/>
            <a:chOff x="469958" y="1647414"/>
            <a:chExt cx="8205029" cy="1847802"/>
          </a:xfrm>
          <a:solidFill>
            <a:schemeClr val="bg1"/>
          </a:solidFill>
        </p:grpSpPr>
        <p:sp>
          <p:nvSpPr>
            <p:cNvPr id="9" name="Freeform 25">
              <a:extLst>
                <a:ext uri="{FF2B5EF4-FFF2-40B4-BE49-F238E27FC236}">
                  <a16:creationId xmlns:a16="http://schemas.microsoft.com/office/drawing/2014/main" id="{2FDE4536-B74E-FB0B-5701-EE95568054D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1">
              <a:extLst>
                <a:ext uri="{FF2B5EF4-FFF2-40B4-BE49-F238E27FC236}">
                  <a16:creationId xmlns:a16="http://schemas.microsoft.com/office/drawing/2014/main" id="{DC504B4C-4BF0-DF13-D647-0C718DF4AD9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2">
              <a:extLst>
                <a:ext uri="{FF2B5EF4-FFF2-40B4-BE49-F238E27FC236}">
                  <a16:creationId xmlns:a16="http://schemas.microsoft.com/office/drawing/2014/main" id="{F3BB0087-C253-F0E4-3F52-1A53B4AFA97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3">
              <a:extLst>
                <a:ext uri="{FF2B5EF4-FFF2-40B4-BE49-F238E27FC236}">
                  <a16:creationId xmlns:a16="http://schemas.microsoft.com/office/drawing/2014/main" id="{3025D71C-0D10-5220-5980-B17FC068151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3" name="Freeform 34">
              <a:extLst>
                <a:ext uri="{FF2B5EF4-FFF2-40B4-BE49-F238E27FC236}">
                  <a16:creationId xmlns:a16="http://schemas.microsoft.com/office/drawing/2014/main" id="{64514CD7-9102-9552-6763-AB0337AAA7E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7" name="TextBox 6">
            <a:extLst>
              <a:ext uri="{FF2B5EF4-FFF2-40B4-BE49-F238E27FC236}">
                <a16:creationId xmlns:a16="http://schemas.microsoft.com/office/drawing/2014/main" id="{DB2D474A-4156-5445-2C99-EE4C77388F5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5" name="Slide Number Placeholder 5">
            <a:extLst>
              <a:ext uri="{FF2B5EF4-FFF2-40B4-BE49-F238E27FC236}">
                <a16:creationId xmlns:a16="http://schemas.microsoft.com/office/drawing/2014/main" id="{DA5D471E-8C81-0943-5022-F263A707E608}"/>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6" name="Title 4">
            <a:extLst>
              <a:ext uri="{FF2B5EF4-FFF2-40B4-BE49-F238E27FC236}">
                <a16:creationId xmlns:a16="http://schemas.microsoft.com/office/drawing/2014/main" id="{024AFDB3-6F7B-B778-402E-9CCB281E4A36}"/>
              </a:ext>
            </a:extLst>
          </p:cNvPr>
          <p:cNvSpPr>
            <a:spLocks noGrp="1"/>
          </p:cNvSpPr>
          <p:nvPr>
            <p:ph type="title" hasCustomPrompt="1"/>
          </p:nvPr>
        </p:nvSpPr>
        <p:spPr>
          <a:xfrm>
            <a:off x="556708" y="2179565"/>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7" name="Text Placeholder 3">
            <a:extLst>
              <a:ext uri="{FF2B5EF4-FFF2-40B4-BE49-F238E27FC236}">
                <a16:creationId xmlns:a16="http://schemas.microsoft.com/office/drawing/2014/main" id="{673B31AA-DB5D-E4EE-AD2B-9C376313D508}"/>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105214799"/>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3 K Whit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F4EAC9-01A1-ED6A-B271-D7FC17A6D29B}"/>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r="18798"/>
          <a:stretch/>
        </p:blipFill>
        <p:spPr>
          <a:xfrm>
            <a:off x="6622168" y="0"/>
            <a:ext cx="5569832" cy="6859200"/>
          </a:xfrm>
          <a:prstGeom prst="rect">
            <a:avLst/>
          </a:prstGeom>
        </p:spPr>
      </p:pic>
      <p:grpSp>
        <p:nvGrpSpPr>
          <p:cNvPr id="7" name="Graphic 3">
            <a:extLst>
              <a:ext uri="{FF2B5EF4-FFF2-40B4-BE49-F238E27FC236}">
                <a16:creationId xmlns:a16="http://schemas.microsoft.com/office/drawing/2014/main" id="{57ADD6F0-8A1D-2465-892B-42BFF999186F}"/>
              </a:ext>
            </a:extLst>
          </p:cNvPr>
          <p:cNvGrpSpPr/>
          <p:nvPr userDrawn="1"/>
        </p:nvGrpSpPr>
        <p:grpSpPr>
          <a:xfrm>
            <a:off x="9407771" y="3224292"/>
            <a:ext cx="1817989" cy="409417"/>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6" name="TextBox 5">
            <a:extLst>
              <a:ext uri="{FF2B5EF4-FFF2-40B4-BE49-F238E27FC236}">
                <a16:creationId xmlns:a16="http://schemas.microsoft.com/office/drawing/2014/main" id="{BA4D82E9-DEF8-D842-DDB5-563D618E794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4" name="Slide Number Placeholder 5">
            <a:extLst>
              <a:ext uri="{FF2B5EF4-FFF2-40B4-BE49-F238E27FC236}">
                <a16:creationId xmlns:a16="http://schemas.microsoft.com/office/drawing/2014/main" id="{EB92B7B9-0B45-FE4B-753A-4D8C0E23E619}"/>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Title 4">
            <a:extLst>
              <a:ext uri="{FF2B5EF4-FFF2-40B4-BE49-F238E27FC236}">
                <a16:creationId xmlns:a16="http://schemas.microsoft.com/office/drawing/2014/main" id="{838942B2-5BE5-A3D6-4570-6AF07089F22D}"/>
              </a:ext>
            </a:extLst>
          </p:cNvPr>
          <p:cNvSpPr>
            <a:spLocks noGrp="1"/>
          </p:cNvSpPr>
          <p:nvPr>
            <p:ph type="title" hasCustomPrompt="1"/>
          </p:nvPr>
        </p:nvSpPr>
        <p:spPr>
          <a:xfrm>
            <a:off x="556708" y="2179565"/>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16" name="Text Placeholder 3">
            <a:extLst>
              <a:ext uri="{FF2B5EF4-FFF2-40B4-BE49-F238E27FC236}">
                <a16:creationId xmlns:a16="http://schemas.microsoft.com/office/drawing/2014/main" id="{B51E6336-7A1E-2850-2562-4FDD760F459F}"/>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072720511"/>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34031B42-8ACF-0D61-11C0-959766C8BDD4}"/>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4" name="TextBox 3">
            <a:extLst>
              <a:ext uri="{FF2B5EF4-FFF2-40B4-BE49-F238E27FC236}">
                <a16:creationId xmlns:a16="http://schemas.microsoft.com/office/drawing/2014/main" id="{AB7B8C5E-2A02-500E-7B19-869B39D9A896}"/>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5" name="Slide Number Placeholder 5">
            <a:extLst>
              <a:ext uri="{FF2B5EF4-FFF2-40B4-BE49-F238E27FC236}">
                <a16:creationId xmlns:a16="http://schemas.microsoft.com/office/drawing/2014/main" id="{A844BE02-2625-0E61-D864-E5DDC07EC96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2784AA3F-6A3E-5918-C536-2E26F4BF9C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1067757F-8A0C-FCEC-EB62-74E36F8E5E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959494219"/>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5F57FFFB-CCE3-C058-3729-4EDEEE5E646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0390628D-EDCB-823F-3281-E26163D5C4CD}"/>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6" name="TextBox 5">
            <a:extLst>
              <a:ext uri="{FF2B5EF4-FFF2-40B4-BE49-F238E27FC236}">
                <a16:creationId xmlns:a16="http://schemas.microsoft.com/office/drawing/2014/main" id="{6857A933-0F5D-EB6F-6781-ACE4F612BDFC}"/>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7" name="Slide Number Placeholder 5">
            <a:extLst>
              <a:ext uri="{FF2B5EF4-FFF2-40B4-BE49-F238E27FC236}">
                <a16:creationId xmlns:a16="http://schemas.microsoft.com/office/drawing/2014/main" id="{02A1F2F7-3255-A552-A703-7C9BCD3C4BA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E85E7031-34AB-503C-140D-07A8A6D83D3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C4DEFCE-5A10-8D7A-C10A-5C24EDCFF87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498501426"/>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4 Pink">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AB3FE475-1931-B109-EFE4-3720BF54E14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E64CD9D7-6169-977F-2770-ADEC0D6EE84D}"/>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FB666C31-62D7-CEFA-FFA5-6E39B2A9667C}"/>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8" name="Slide Number Placeholder 5">
            <a:extLst>
              <a:ext uri="{FF2B5EF4-FFF2-40B4-BE49-F238E27FC236}">
                <a16:creationId xmlns:a16="http://schemas.microsoft.com/office/drawing/2014/main" id="{17E83870-7680-0EC5-A60C-DDC82D20159B}"/>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B3FD35A0-F98B-4E10-5EEB-CC206A99D77A}"/>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26AEA66-94E0-CBBE-2810-477A8B621DF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84176540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E8A36BB1-1CB4-70E4-B774-36E6FFADAD7B}"/>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5990E264-5D0F-60E1-079B-4D9441DFD2FA}"/>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8" name="Slide Number Placeholder 5">
            <a:extLst>
              <a:ext uri="{FF2B5EF4-FFF2-40B4-BE49-F238E27FC236}">
                <a16:creationId xmlns:a16="http://schemas.microsoft.com/office/drawing/2014/main" id="{1F513913-81F1-BE35-BEE1-E4F3B331C19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5A2E6516-E21C-B9AB-D96C-01D89E1C188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FC57D9E6-836B-E344-7053-C5B54572FBF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41956278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4 Orange red">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34BF0FE-66B0-30DC-7C7E-0C60AC6208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11B8FE6-8F1C-8435-F33C-EE04C6A6A16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0006201F-5816-C391-0FF2-7B730063C18B}"/>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CBC8F3BE-DF4E-616F-9E87-42409E45FB76}"/>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8" name="Slide Number Placeholder 5">
            <a:extLst>
              <a:ext uri="{FF2B5EF4-FFF2-40B4-BE49-F238E27FC236}">
                <a16:creationId xmlns:a16="http://schemas.microsoft.com/office/drawing/2014/main" id="{2FA5559B-7244-EAEC-5F81-57659F88355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AFF766CE-D4C5-BFE0-469A-326AD36F781C}"/>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7ACCA25F-B787-0F46-0666-1B57C451AAD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55846553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EF5C81FB-4A41-2E38-2638-F82CC70C7B5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C60B55E3-C61F-0403-A878-5F9E203C5E50}"/>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EA08C83F-D17C-0CF7-307E-6CDC00953C24}"/>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8" name="Slide Number Placeholder 5">
            <a:extLst>
              <a:ext uri="{FF2B5EF4-FFF2-40B4-BE49-F238E27FC236}">
                <a16:creationId xmlns:a16="http://schemas.microsoft.com/office/drawing/2014/main" id="{7AC91DB6-E398-955E-AA6E-6AE046DE8258}"/>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9550249-746C-7ECD-FED7-52893A37890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A8D2C2D-8FBB-781E-417F-B5D858DD4BB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447715750"/>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4 Blu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3761BFBE-2F2E-2C4F-848A-E85051698111}"/>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282CE96B-0BCB-98A4-50DC-39176D0092D6}"/>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4" name="TextBox 3">
            <a:extLst>
              <a:ext uri="{FF2B5EF4-FFF2-40B4-BE49-F238E27FC236}">
                <a16:creationId xmlns:a16="http://schemas.microsoft.com/office/drawing/2014/main" id="{30294544-7EC4-ED46-6173-E3A78AF1175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6" name="Slide Number Placeholder 5">
            <a:extLst>
              <a:ext uri="{FF2B5EF4-FFF2-40B4-BE49-F238E27FC236}">
                <a16:creationId xmlns:a16="http://schemas.microsoft.com/office/drawing/2014/main" id="{8957137A-1370-497D-30A9-2885B2A47AC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8D3533A-70F3-8B04-C0F5-CF1FD375FCE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D15844B-56C3-0508-2515-0AFFA9A8C1C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062342920"/>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5 Green blu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0EF89375-E21D-F63F-06A8-C59355F1254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EBD7979C-B9C6-8A09-B241-FD1FED4BAC89}"/>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B7B0CAF0-3BC0-2F0C-A2D6-BD2777136ABD}"/>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11">
              <a:extLst>
                <a:ext uri="{FF2B5EF4-FFF2-40B4-BE49-F238E27FC236}">
                  <a16:creationId xmlns:a16="http://schemas.microsoft.com/office/drawing/2014/main" id="{DFE11313-A28D-C9D5-388D-F3DCE472D73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12">
              <a:extLst>
                <a:ext uri="{FF2B5EF4-FFF2-40B4-BE49-F238E27FC236}">
                  <a16:creationId xmlns:a16="http://schemas.microsoft.com/office/drawing/2014/main" id="{5423B194-3C18-4ED2-C954-ADB91F99CDD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7" name="Freeform 13">
              <a:extLst>
                <a:ext uri="{FF2B5EF4-FFF2-40B4-BE49-F238E27FC236}">
                  <a16:creationId xmlns:a16="http://schemas.microsoft.com/office/drawing/2014/main" id="{3A46B4C4-EAE8-DC64-8EE7-085376B9F0C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8" name="Freeform 14">
              <a:extLst>
                <a:ext uri="{FF2B5EF4-FFF2-40B4-BE49-F238E27FC236}">
                  <a16:creationId xmlns:a16="http://schemas.microsoft.com/office/drawing/2014/main" id="{868AEA7C-4869-2294-8EAF-A87420CD474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31872348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K Blue">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8FF1A58D-53A4-65F6-8F2B-645D65C533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5166BBE5-C86E-3E87-A7C5-F29BE64D716D}"/>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grpSp>
        <p:nvGrpSpPr>
          <p:cNvPr id="7" name="Graphic 3">
            <a:extLst>
              <a:ext uri="{FF2B5EF4-FFF2-40B4-BE49-F238E27FC236}">
                <a16:creationId xmlns:a16="http://schemas.microsoft.com/office/drawing/2014/main" id="{47BEB086-B161-40ED-B2E3-DDF397278FA8}"/>
              </a:ext>
            </a:extLst>
          </p:cNvPr>
          <p:cNvGrpSpPr/>
          <p:nvPr userDrawn="1"/>
        </p:nvGrpSpPr>
        <p:grpSpPr>
          <a:xfrm>
            <a:off x="9407771" y="3224292"/>
            <a:ext cx="1817989" cy="409417"/>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6" name="TextBox 5">
            <a:extLst>
              <a:ext uri="{FF2B5EF4-FFF2-40B4-BE49-F238E27FC236}">
                <a16:creationId xmlns:a16="http://schemas.microsoft.com/office/drawing/2014/main" id="{D8B4807D-C6CB-B42F-7CAC-4B1E0264A613}"/>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7A5600B8-EF33-4C46-87E9-1A51B9580A90}"/>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Title 4">
            <a:extLst>
              <a:ext uri="{FF2B5EF4-FFF2-40B4-BE49-F238E27FC236}">
                <a16:creationId xmlns:a16="http://schemas.microsoft.com/office/drawing/2014/main" id="{651B7E9D-D552-81A8-07CE-C85143F970BC}"/>
              </a:ext>
            </a:extLst>
          </p:cNvPr>
          <p:cNvSpPr>
            <a:spLocks noGrp="1"/>
          </p:cNvSpPr>
          <p:nvPr>
            <p:ph type="title" hasCustomPrompt="1"/>
          </p:nvPr>
        </p:nvSpPr>
        <p:spPr>
          <a:xfrm>
            <a:off x="556708" y="2179565"/>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6" name="Text Placeholder 3">
            <a:extLst>
              <a:ext uri="{FF2B5EF4-FFF2-40B4-BE49-F238E27FC236}">
                <a16:creationId xmlns:a16="http://schemas.microsoft.com/office/drawing/2014/main" id="{2BF972D4-3000-87A0-9E6C-C622A2B7C6C0}"/>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2969306831"/>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5 Blue pink">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39F40A4-C4FE-CE81-4DDE-1096BF05B17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04350EF6-70D2-8CA6-C8B4-23AD48C51B92}"/>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E3C5F24B-DEBE-91F4-60EF-98DB9598FC4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11">
              <a:extLst>
                <a:ext uri="{FF2B5EF4-FFF2-40B4-BE49-F238E27FC236}">
                  <a16:creationId xmlns:a16="http://schemas.microsoft.com/office/drawing/2014/main" id="{0430F02E-A1F8-79E9-1749-B79A96144ED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12">
              <a:extLst>
                <a:ext uri="{FF2B5EF4-FFF2-40B4-BE49-F238E27FC236}">
                  <a16:creationId xmlns:a16="http://schemas.microsoft.com/office/drawing/2014/main" id="{FABBDCAD-55AC-A504-7AB9-9EA8B4E0982A}"/>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7" name="Freeform 13">
              <a:extLst>
                <a:ext uri="{FF2B5EF4-FFF2-40B4-BE49-F238E27FC236}">
                  <a16:creationId xmlns:a16="http://schemas.microsoft.com/office/drawing/2014/main" id="{3870B6CA-17E5-8094-AABA-A4EB4CF4DD7D}"/>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8" name="Freeform 14">
              <a:extLst>
                <a:ext uri="{FF2B5EF4-FFF2-40B4-BE49-F238E27FC236}">
                  <a16:creationId xmlns:a16="http://schemas.microsoft.com/office/drawing/2014/main" id="{AB471460-440F-63D0-B43A-D4E98094F4B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3273481926"/>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5 Pink">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21011232-FEC1-556E-5D81-2627C46F6D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E305D3B8-631A-ECF6-F436-B2BCDEC1D146}"/>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A5AA4292-461B-4E6C-D0DF-22D79FF5659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11">
              <a:extLst>
                <a:ext uri="{FF2B5EF4-FFF2-40B4-BE49-F238E27FC236}">
                  <a16:creationId xmlns:a16="http://schemas.microsoft.com/office/drawing/2014/main" id="{E83B83EF-F13E-0C9F-A72E-1028FFB5C1A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12">
              <a:extLst>
                <a:ext uri="{FF2B5EF4-FFF2-40B4-BE49-F238E27FC236}">
                  <a16:creationId xmlns:a16="http://schemas.microsoft.com/office/drawing/2014/main" id="{7583F4ED-E4FB-BC79-63D6-917602298C36}"/>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7" name="Freeform 13">
              <a:extLst>
                <a:ext uri="{FF2B5EF4-FFF2-40B4-BE49-F238E27FC236}">
                  <a16:creationId xmlns:a16="http://schemas.microsoft.com/office/drawing/2014/main" id="{D7AF8DF3-63F0-80CE-4E26-5256A0E0248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8" name="Freeform 14">
              <a:extLst>
                <a:ext uri="{FF2B5EF4-FFF2-40B4-BE49-F238E27FC236}">
                  <a16:creationId xmlns:a16="http://schemas.microsoft.com/office/drawing/2014/main" id="{AD0AD8F7-2131-0B88-1728-D3CA421A2D2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196347191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5 Blue purple">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3465075C-3A04-8F21-2D96-F11146239A8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A77D7537-AB6E-150C-8EAC-2488703A5501}"/>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B6DD48B6-4C1B-73D2-03B9-15D30FCE5E9E}"/>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11">
              <a:extLst>
                <a:ext uri="{FF2B5EF4-FFF2-40B4-BE49-F238E27FC236}">
                  <a16:creationId xmlns:a16="http://schemas.microsoft.com/office/drawing/2014/main" id="{64D70B58-DDCB-C449-2352-59773ED88AE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12">
              <a:extLst>
                <a:ext uri="{FF2B5EF4-FFF2-40B4-BE49-F238E27FC236}">
                  <a16:creationId xmlns:a16="http://schemas.microsoft.com/office/drawing/2014/main" id="{609F40CE-5FD9-0148-24E8-B471F0E808B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7" name="Freeform 13">
              <a:extLst>
                <a:ext uri="{FF2B5EF4-FFF2-40B4-BE49-F238E27FC236}">
                  <a16:creationId xmlns:a16="http://schemas.microsoft.com/office/drawing/2014/main" id="{921AF8C9-7D93-7437-46E4-70C04BC1FCD9}"/>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8" name="Freeform 14">
              <a:extLst>
                <a:ext uri="{FF2B5EF4-FFF2-40B4-BE49-F238E27FC236}">
                  <a16:creationId xmlns:a16="http://schemas.microsoft.com/office/drawing/2014/main" id="{A4086F6C-E115-654F-39E3-04AE3FA5602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189540654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5 Orange red">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AC7C13A4-489B-3211-82FF-868A0A256E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7490672C-BECC-A8CE-2FB2-AF9FB16315DB}"/>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A3EA2D57-26D4-3FE7-0AD1-EEED4BE8BED6}"/>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11">
              <a:extLst>
                <a:ext uri="{FF2B5EF4-FFF2-40B4-BE49-F238E27FC236}">
                  <a16:creationId xmlns:a16="http://schemas.microsoft.com/office/drawing/2014/main" id="{3244009B-B9FA-D5C6-D5E3-5563DC7638F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12">
              <a:extLst>
                <a:ext uri="{FF2B5EF4-FFF2-40B4-BE49-F238E27FC236}">
                  <a16:creationId xmlns:a16="http://schemas.microsoft.com/office/drawing/2014/main" id="{2FD42FBA-921E-BB93-CEB5-51CAED5F599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7" name="Freeform 13">
              <a:extLst>
                <a:ext uri="{FF2B5EF4-FFF2-40B4-BE49-F238E27FC236}">
                  <a16:creationId xmlns:a16="http://schemas.microsoft.com/office/drawing/2014/main" id="{DADC54FF-C0E3-D235-2C4E-2FB66C6E9ED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8" name="Freeform 14">
              <a:extLst>
                <a:ext uri="{FF2B5EF4-FFF2-40B4-BE49-F238E27FC236}">
                  <a16:creationId xmlns:a16="http://schemas.microsoft.com/office/drawing/2014/main" id="{8E3A682F-0F88-48F0-97B1-60B5B2477F9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3926694694"/>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5 Blue green">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3A71822B-C712-A4E6-919B-405BA7F21A5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F113608E-22FD-657F-8D07-CD39EC97958A}"/>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DA917A93-F7DB-3A50-D98B-8185FF15DE00}"/>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11">
              <a:extLst>
                <a:ext uri="{FF2B5EF4-FFF2-40B4-BE49-F238E27FC236}">
                  <a16:creationId xmlns:a16="http://schemas.microsoft.com/office/drawing/2014/main" id="{08D8095F-7FCC-5669-F881-F66619242228}"/>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12">
              <a:extLst>
                <a:ext uri="{FF2B5EF4-FFF2-40B4-BE49-F238E27FC236}">
                  <a16:creationId xmlns:a16="http://schemas.microsoft.com/office/drawing/2014/main" id="{A8F3D3FE-D0C9-59C1-F189-DA228D51A05B}"/>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7" name="Freeform 13">
              <a:extLst>
                <a:ext uri="{FF2B5EF4-FFF2-40B4-BE49-F238E27FC236}">
                  <a16:creationId xmlns:a16="http://schemas.microsoft.com/office/drawing/2014/main" id="{7F167DEA-E276-FD24-54AA-B4A09328CCE6}"/>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8" name="Freeform 14">
              <a:extLst>
                <a:ext uri="{FF2B5EF4-FFF2-40B4-BE49-F238E27FC236}">
                  <a16:creationId xmlns:a16="http://schemas.microsoft.com/office/drawing/2014/main" id="{5BDAA131-A001-A420-C695-237DBC40265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690510011"/>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5 Blu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08FFEE3-9429-FB20-94DA-036B3BA28AF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FF97AAA9-D469-5AE4-F90F-9020A3DDBE0A}"/>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C2E78338-BF1F-47F8-574E-5A79325DD1F8}"/>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11">
              <a:extLst>
                <a:ext uri="{FF2B5EF4-FFF2-40B4-BE49-F238E27FC236}">
                  <a16:creationId xmlns:a16="http://schemas.microsoft.com/office/drawing/2014/main" id="{BEABEE7F-B8A9-CDE0-CB0E-B91BA834B8F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12">
              <a:extLst>
                <a:ext uri="{FF2B5EF4-FFF2-40B4-BE49-F238E27FC236}">
                  <a16:creationId xmlns:a16="http://schemas.microsoft.com/office/drawing/2014/main" id="{42EAFBE4-3E55-88EC-6263-AA83BE68E7C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7" name="Freeform 13">
              <a:extLst>
                <a:ext uri="{FF2B5EF4-FFF2-40B4-BE49-F238E27FC236}">
                  <a16:creationId xmlns:a16="http://schemas.microsoft.com/office/drawing/2014/main" id="{55877F46-FE15-EE6B-7255-F5187038A7A8}"/>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8" name="Freeform 14">
              <a:extLst>
                <a:ext uri="{FF2B5EF4-FFF2-40B4-BE49-F238E27FC236}">
                  <a16:creationId xmlns:a16="http://schemas.microsoft.com/office/drawing/2014/main" id="{F62DDA2E-E23F-3C1F-FBA8-13E4AE5F3526}"/>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109373586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5 White end slide">
    <p:bg>
      <p:bgPr>
        <a:solidFill>
          <a:schemeClr val="bg1"/>
        </a:solidFill>
        <a:effectLst/>
      </p:bgPr>
    </p:bg>
    <p:spTree>
      <p:nvGrpSpPr>
        <p:cNvPr id="1" name=""/>
        <p:cNvGrpSpPr/>
        <p:nvPr/>
      </p:nvGrpSpPr>
      <p:grpSpPr>
        <a:xfrm>
          <a:off x="0" y="0"/>
          <a:ext cx="0" cy="0"/>
          <a:chOff x="0" y="0"/>
          <a:chExt cx="0" cy="0"/>
        </a:xfrm>
      </p:grpSpPr>
      <p:grpSp>
        <p:nvGrpSpPr>
          <p:cNvPr id="2" name="Graphic 3">
            <a:extLst>
              <a:ext uri="{FF2B5EF4-FFF2-40B4-BE49-F238E27FC236}">
                <a16:creationId xmlns:a16="http://schemas.microsoft.com/office/drawing/2014/main" id="{46DC4F6B-8D28-1514-E83F-9C8BC35CC881}"/>
              </a:ext>
            </a:extLst>
          </p:cNvPr>
          <p:cNvGrpSpPr/>
          <p:nvPr userDrawn="1"/>
        </p:nvGrpSpPr>
        <p:grpSpPr>
          <a:xfrm>
            <a:off x="2444423" y="2606652"/>
            <a:ext cx="7303155" cy="1644697"/>
            <a:chOff x="469958" y="1647414"/>
            <a:chExt cx="8205029" cy="1847802"/>
          </a:xfrm>
          <a:solidFill>
            <a:schemeClr val="accent1"/>
          </a:solidFill>
        </p:grpSpPr>
        <p:sp>
          <p:nvSpPr>
            <p:cNvPr id="3" name="Freeform 10">
              <a:extLst>
                <a:ext uri="{FF2B5EF4-FFF2-40B4-BE49-F238E27FC236}">
                  <a16:creationId xmlns:a16="http://schemas.microsoft.com/office/drawing/2014/main" id="{528AAC0C-F8F7-997C-49C5-2DDCFFEF4C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4" name="Freeform 11">
              <a:extLst>
                <a:ext uri="{FF2B5EF4-FFF2-40B4-BE49-F238E27FC236}">
                  <a16:creationId xmlns:a16="http://schemas.microsoft.com/office/drawing/2014/main" id="{709A296F-6430-7EEE-74D0-2B39CDE8E8CE}"/>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5" name="Freeform 12">
              <a:extLst>
                <a:ext uri="{FF2B5EF4-FFF2-40B4-BE49-F238E27FC236}">
                  <a16:creationId xmlns:a16="http://schemas.microsoft.com/office/drawing/2014/main" id="{98732BD3-7687-3964-C382-BE79A166885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6" name="Freeform 13">
              <a:extLst>
                <a:ext uri="{FF2B5EF4-FFF2-40B4-BE49-F238E27FC236}">
                  <a16:creationId xmlns:a16="http://schemas.microsoft.com/office/drawing/2014/main" id="{9F629670-5E2F-8BFA-0D73-6127F5336BE0}"/>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7" name="Freeform 14">
              <a:extLst>
                <a:ext uri="{FF2B5EF4-FFF2-40B4-BE49-F238E27FC236}">
                  <a16:creationId xmlns:a16="http://schemas.microsoft.com/office/drawing/2014/main" id="{9B99146A-4055-2125-3098-1EF0E51C585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120146564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18A67B-13E5-4A1A-A315-1D9BAF7D8D6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7AC3113-082B-48F7-A2D1-84EB919A2E2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9A67CE3-BDCF-4702-9C90-810ED5CB0C9E}"/>
              </a:ext>
            </a:extLst>
          </p:cNvPr>
          <p:cNvSpPr>
            <a:spLocks noGrp="1"/>
          </p:cNvSpPr>
          <p:nvPr>
            <p:ph type="dt" sz="half" idx="10"/>
          </p:nvPr>
        </p:nvSpPr>
        <p:spPr/>
        <p:txBody>
          <a:bodyPr/>
          <a:lstStyle/>
          <a:p>
            <a:fld id="{A3E81101-FDE8-4D68-9FDF-BE4B5244E0D9}" type="datetime1">
              <a:rPr lang="en-US" smtClean="0"/>
              <a:t>7/18/2024</a:t>
            </a:fld>
            <a:endParaRPr lang="en-US"/>
          </a:p>
        </p:txBody>
      </p:sp>
      <p:sp>
        <p:nvSpPr>
          <p:cNvPr id="5" name="Footer Placeholder 4">
            <a:extLst>
              <a:ext uri="{FF2B5EF4-FFF2-40B4-BE49-F238E27FC236}">
                <a16:creationId xmlns:a16="http://schemas.microsoft.com/office/drawing/2014/main" id="{969D9444-515A-44BB-A1F1-9E8C0F285E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0BBD89-40BC-4399-95C1-93B0593C4633}"/>
              </a:ext>
            </a:extLst>
          </p:cNvPr>
          <p:cNvSpPr>
            <a:spLocks noGrp="1"/>
          </p:cNvSpPr>
          <p:nvPr>
            <p:ph type="sldNum" sz="quarter" idx="12"/>
          </p:nvPr>
        </p:nvSpPr>
        <p:spPr/>
        <p:txBody>
          <a:bodyPr/>
          <a:lstStyle/>
          <a:p>
            <a:fld id="{535878F3-CD42-4FA4-B835-F0690F02FFD1}" type="slidenum">
              <a:rPr lang="en-US" smtClean="0"/>
              <a:t>‹#›</a:t>
            </a:fld>
            <a:endParaRPr lang="en-US"/>
          </a:p>
        </p:txBody>
      </p:sp>
    </p:spTree>
    <p:extLst>
      <p:ext uri="{BB962C8B-B14F-4D97-AF65-F5344CB8AC3E}">
        <p14:creationId xmlns:p14="http://schemas.microsoft.com/office/powerpoint/2010/main" val="562050230"/>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88FB6-329F-4EFA-AE17-D16F90F6F0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72B845-204D-438A-918C-74DAA6B111F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27E122-1120-426B-BBC9-5D8002D0C4B0}"/>
              </a:ext>
            </a:extLst>
          </p:cNvPr>
          <p:cNvSpPr>
            <a:spLocks noGrp="1"/>
          </p:cNvSpPr>
          <p:nvPr>
            <p:ph type="dt" sz="half" idx="10"/>
          </p:nvPr>
        </p:nvSpPr>
        <p:spPr/>
        <p:txBody>
          <a:bodyPr/>
          <a:lstStyle/>
          <a:p>
            <a:fld id="{5B942D86-1EAC-4470-96E9-A4E3B9760D1A}" type="datetime1">
              <a:rPr lang="en-US" smtClean="0"/>
              <a:t>7/18/2024</a:t>
            </a:fld>
            <a:endParaRPr lang="en-US"/>
          </a:p>
        </p:txBody>
      </p:sp>
      <p:sp>
        <p:nvSpPr>
          <p:cNvPr id="5" name="Footer Placeholder 4">
            <a:extLst>
              <a:ext uri="{FF2B5EF4-FFF2-40B4-BE49-F238E27FC236}">
                <a16:creationId xmlns:a16="http://schemas.microsoft.com/office/drawing/2014/main" id="{CE652432-8E1C-4A65-B062-EF52AF2A70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A3765C-9ED1-43A0-8087-7F7AC16FF75A}"/>
              </a:ext>
            </a:extLst>
          </p:cNvPr>
          <p:cNvSpPr>
            <a:spLocks noGrp="1"/>
          </p:cNvSpPr>
          <p:nvPr>
            <p:ph type="sldNum" sz="quarter" idx="12"/>
          </p:nvPr>
        </p:nvSpPr>
        <p:spPr/>
        <p:txBody>
          <a:bodyPr/>
          <a:lstStyle/>
          <a:p>
            <a:fld id="{535878F3-CD42-4FA4-B835-F0690F02FFD1}" type="slidenum">
              <a:rPr lang="en-US" smtClean="0"/>
              <a:t>‹#›</a:t>
            </a:fld>
            <a:endParaRPr lang="en-US"/>
          </a:p>
        </p:txBody>
      </p:sp>
    </p:spTree>
    <p:extLst>
      <p:ext uri="{BB962C8B-B14F-4D97-AF65-F5344CB8AC3E}">
        <p14:creationId xmlns:p14="http://schemas.microsoft.com/office/powerpoint/2010/main" val="2850379728"/>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E5F75-611C-4698-9A41-9F553224C5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37DAFC5-D9EC-4CB1-9C19-9DAEA401EDF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B6F5FDD-1CD1-4D84-BFDC-1344E0150605}"/>
              </a:ext>
            </a:extLst>
          </p:cNvPr>
          <p:cNvSpPr>
            <a:spLocks noGrp="1"/>
          </p:cNvSpPr>
          <p:nvPr>
            <p:ph type="dt" sz="half" idx="10"/>
          </p:nvPr>
        </p:nvSpPr>
        <p:spPr/>
        <p:txBody>
          <a:bodyPr/>
          <a:lstStyle/>
          <a:p>
            <a:fld id="{F0C106E4-C771-491B-BE3A-2728FF12AF0B}" type="datetime1">
              <a:rPr lang="en-US" smtClean="0"/>
              <a:t>7/18/2024</a:t>
            </a:fld>
            <a:endParaRPr lang="en-US"/>
          </a:p>
        </p:txBody>
      </p:sp>
      <p:sp>
        <p:nvSpPr>
          <p:cNvPr id="5" name="Footer Placeholder 4">
            <a:extLst>
              <a:ext uri="{FF2B5EF4-FFF2-40B4-BE49-F238E27FC236}">
                <a16:creationId xmlns:a16="http://schemas.microsoft.com/office/drawing/2014/main" id="{440BAFCB-D577-4F33-BE33-41B282A136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E79D21-179E-453B-B8F3-0F2C6A0F1C9C}"/>
              </a:ext>
            </a:extLst>
          </p:cNvPr>
          <p:cNvSpPr>
            <a:spLocks noGrp="1"/>
          </p:cNvSpPr>
          <p:nvPr>
            <p:ph type="sldNum" sz="quarter" idx="12"/>
          </p:nvPr>
        </p:nvSpPr>
        <p:spPr/>
        <p:txBody>
          <a:bodyPr/>
          <a:lstStyle/>
          <a:p>
            <a:fld id="{535878F3-CD42-4FA4-B835-F0690F02FFD1}" type="slidenum">
              <a:rPr lang="en-US" smtClean="0"/>
              <a:t>‹#›</a:t>
            </a:fld>
            <a:endParaRPr lang="en-US"/>
          </a:p>
        </p:txBody>
      </p:sp>
    </p:spTree>
    <p:extLst>
      <p:ext uri="{BB962C8B-B14F-4D97-AF65-F5344CB8AC3E}">
        <p14:creationId xmlns:p14="http://schemas.microsoft.com/office/powerpoint/2010/main" val="38071832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3 K Blu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3797EE9-5364-FAE7-B29C-8C7E9DCF2A68}"/>
              </a:ext>
            </a:extLst>
          </p:cNvPr>
          <p:cNvPicPr preferRelativeResize="0">
            <a:picLocks/>
          </p:cNvPicPr>
          <p:nvPr userDrawn="1"/>
        </p:nvPicPr>
        <p:blipFill>
          <a:blip r:embed="rId2">
            <a:extLst>
              <a:ext uri="{28A0092B-C50C-407E-A947-70E740481C1C}">
                <a14:useLocalDpi xmlns:a14="http://schemas.microsoft.com/office/drawing/2010/main" val="0"/>
              </a:ext>
            </a:extLst>
          </a:blip>
          <a:srcRect/>
          <a:stretch/>
        </p:blipFill>
        <p:spPr>
          <a:xfrm>
            <a:off x="0" y="1"/>
            <a:ext cx="12192000" cy="6858000"/>
          </a:xfrm>
          <a:prstGeom prst="rect">
            <a:avLst/>
          </a:prstGeom>
        </p:spPr>
      </p:pic>
      <p:grpSp>
        <p:nvGrpSpPr>
          <p:cNvPr id="7" name="Graphic 3">
            <a:extLst>
              <a:ext uri="{FF2B5EF4-FFF2-40B4-BE49-F238E27FC236}">
                <a16:creationId xmlns:a16="http://schemas.microsoft.com/office/drawing/2014/main" id="{47BEB086-B161-40ED-B2E3-DDF397278FA8}"/>
              </a:ext>
            </a:extLst>
          </p:cNvPr>
          <p:cNvGrpSpPr/>
          <p:nvPr userDrawn="1"/>
        </p:nvGrpSpPr>
        <p:grpSpPr>
          <a:xfrm>
            <a:off x="9407771" y="3224292"/>
            <a:ext cx="1817989" cy="409417"/>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15" name="Title 4">
            <a:extLst>
              <a:ext uri="{FF2B5EF4-FFF2-40B4-BE49-F238E27FC236}">
                <a16:creationId xmlns:a16="http://schemas.microsoft.com/office/drawing/2014/main" id="{651B7E9D-D552-81A8-07CE-C85143F970BC}"/>
              </a:ext>
            </a:extLst>
          </p:cNvPr>
          <p:cNvSpPr>
            <a:spLocks noGrp="1"/>
          </p:cNvSpPr>
          <p:nvPr>
            <p:ph type="title" hasCustomPrompt="1"/>
          </p:nvPr>
        </p:nvSpPr>
        <p:spPr>
          <a:xfrm>
            <a:off x="556708" y="674038"/>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Life in the fast lane</a:t>
            </a:r>
          </a:p>
        </p:txBody>
      </p:sp>
    </p:spTree>
    <p:extLst>
      <p:ext uri="{BB962C8B-B14F-4D97-AF65-F5344CB8AC3E}">
        <p14:creationId xmlns:p14="http://schemas.microsoft.com/office/powerpoint/2010/main" val="3656711051"/>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F7590-6E67-4961-8E03-BB5FFAE6EE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0E51B83-A1A6-4F7C-8104-8646EDBAF2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63E20C-89B8-460C-8E1F-D99066CC647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F28213A-A874-4C43-8360-FE82B49A61E8}"/>
              </a:ext>
            </a:extLst>
          </p:cNvPr>
          <p:cNvSpPr>
            <a:spLocks noGrp="1"/>
          </p:cNvSpPr>
          <p:nvPr>
            <p:ph type="dt" sz="half" idx="10"/>
          </p:nvPr>
        </p:nvSpPr>
        <p:spPr/>
        <p:txBody>
          <a:bodyPr/>
          <a:lstStyle/>
          <a:p>
            <a:fld id="{32B90CA2-61DC-45C9-A129-5AD00171B322}" type="datetime1">
              <a:rPr lang="en-US" smtClean="0"/>
              <a:t>7/18/2024</a:t>
            </a:fld>
            <a:endParaRPr lang="en-US"/>
          </a:p>
        </p:txBody>
      </p:sp>
      <p:sp>
        <p:nvSpPr>
          <p:cNvPr id="6" name="Footer Placeholder 5">
            <a:extLst>
              <a:ext uri="{FF2B5EF4-FFF2-40B4-BE49-F238E27FC236}">
                <a16:creationId xmlns:a16="http://schemas.microsoft.com/office/drawing/2014/main" id="{B9656511-B5A0-4DD5-8996-4ED860AAF95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E273E1-2900-4E6F-BEB4-4CF602C7A108}"/>
              </a:ext>
            </a:extLst>
          </p:cNvPr>
          <p:cNvSpPr>
            <a:spLocks noGrp="1"/>
          </p:cNvSpPr>
          <p:nvPr>
            <p:ph type="sldNum" sz="quarter" idx="12"/>
          </p:nvPr>
        </p:nvSpPr>
        <p:spPr/>
        <p:txBody>
          <a:bodyPr/>
          <a:lstStyle/>
          <a:p>
            <a:fld id="{535878F3-CD42-4FA4-B835-F0690F02FFD1}" type="slidenum">
              <a:rPr lang="en-US" smtClean="0"/>
              <a:t>‹#›</a:t>
            </a:fld>
            <a:endParaRPr lang="en-US"/>
          </a:p>
        </p:txBody>
      </p:sp>
    </p:spTree>
    <p:extLst>
      <p:ext uri="{BB962C8B-B14F-4D97-AF65-F5344CB8AC3E}">
        <p14:creationId xmlns:p14="http://schemas.microsoft.com/office/powerpoint/2010/main" val="44068271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DE7734-FF07-42AB-A58A-62540CF2D36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D01E2B-0149-4F91-B4CE-F33AD86771E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ADBF936-FA00-40F0-8662-0AECBA36E5E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8EADB2-0CF2-4E2B-ABA8-F89FA9A1080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EB24A59-0429-4354-8724-88E7864D14C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39DFF39-5E43-48E2-9EFF-2D683C966C36}"/>
              </a:ext>
            </a:extLst>
          </p:cNvPr>
          <p:cNvSpPr>
            <a:spLocks noGrp="1"/>
          </p:cNvSpPr>
          <p:nvPr>
            <p:ph type="dt" sz="half" idx="10"/>
          </p:nvPr>
        </p:nvSpPr>
        <p:spPr/>
        <p:txBody>
          <a:bodyPr/>
          <a:lstStyle/>
          <a:p>
            <a:fld id="{4AC871A0-E8AF-4FE1-BDD2-398213C1B24D}" type="datetime1">
              <a:rPr lang="en-US" smtClean="0"/>
              <a:t>7/18/2024</a:t>
            </a:fld>
            <a:endParaRPr lang="en-US"/>
          </a:p>
        </p:txBody>
      </p:sp>
      <p:sp>
        <p:nvSpPr>
          <p:cNvPr id="8" name="Footer Placeholder 7">
            <a:extLst>
              <a:ext uri="{FF2B5EF4-FFF2-40B4-BE49-F238E27FC236}">
                <a16:creationId xmlns:a16="http://schemas.microsoft.com/office/drawing/2014/main" id="{BF174CD7-52A2-403C-9CD0-C0E93B4D089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90A99E2-B938-4815-8F77-D2860FFC18A5}"/>
              </a:ext>
            </a:extLst>
          </p:cNvPr>
          <p:cNvSpPr>
            <a:spLocks noGrp="1"/>
          </p:cNvSpPr>
          <p:nvPr>
            <p:ph type="sldNum" sz="quarter" idx="12"/>
          </p:nvPr>
        </p:nvSpPr>
        <p:spPr/>
        <p:txBody>
          <a:bodyPr/>
          <a:lstStyle/>
          <a:p>
            <a:fld id="{535878F3-CD42-4FA4-B835-F0690F02FFD1}" type="slidenum">
              <a:rPr lang="en-US" smtClean="0"/>
              <a:t>‹#›</a:t>
            </a:fld>
            <a:endParaRPr lang="en-US"/>
          </a:p>
        </p:txBody>
      </p:sp>
    </p:spTree>
    <p:extLst>
      <p:ext uri="{BB962C8B-B14F-4D97-AF65-F5344CB8AC3E}">
        <p14:creationId xmlns:p14="http://schemas.microsoft.com/office/powerpoint/2010/main" val="132248590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FF84B-768D-4DF1-AAB7-F62BE3952AF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E0357FF-C7E7-4326-A5B9-E049DEA660F2}"/>
              </a:ext>
            </a:extLst>
          </p:cNvPr>
          <p:cNvSpPr>
            <a:spLocks noGrp="1"/>
          </p:cNvSpPr>
          <p:nvPr>
            <p:ph type="dt" sz="half" idx="10"/>
          </p:nvPr>
        </p:nvSpPr>
        <p:spPr/>
        <p:txBody>
          <a:bodyPr/>
          <a:lstStyle/>
          <a:p>
            <a:fld id="{9D2A8F6B-8CA4-433B-9F9F-E843A62619FC}" type="datetime1">
              <a:rPr lang="en-US" smtClean="0"/>
              <a:t>7/18/2024</a:t>
            </a:fld>
            <a:endParaRPr lang="en-US"/>
          </a:p>
        </p:txBody>
      </p:sp>
      <p:sp>
        <p:nvSpPr>
          <p:cNvPr id="4" name="Footer Placeholder 3">
            <a:extLst>
              <a:ext uri="{FF2B5EF4-FFF2-40B4-BE49-F238E27FC236}">
                <a16:creationId xmlns:a16="http://schemas.microsoft.com/office/drawing/2014/main" id="{4493A54E-FBC7-44DD-A817-34C2F850A1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AB5252E-F471-48E2-9C61-46E4B3B17BDA}"/>
              </a:ext>
            </a:extLst>
          </p:cNvPr>
          <p:cNvSpPr>
            <a:spLocks noGrp="1"/>
          </p:cNvSpPr>
          <p:nvPr>
            <p:ph type="sldNum" sz="quarter" idx="12"/>
          </p:nvPr>
        </p:nvSpPr>
        <p:spPr/>
        <p:txBody>
          <a:bodyPr/>
          <a:lstStyle/>
          <a:p>
            <a:fld id="{535878F3-CD42-4FA4-B835-F0690F02FFD1}" type="slidenum">
              <a:rPr lang="en-US" smtClean="0"/>
              <a:t>‹#›</a:t>
            </a:fld>
            <a:endParaRPr lang="en-US"/>
          </a:p>
        </p:txBody>
      </p:sp>
    </p:spTree>
    <p:extLst>
      <p:ext uri="{BB962C8B-B14F-4D97-AF65-F5344CB8AC3E}">
        <p14:creationId xmlns:p14="http://schemas.microsoft.com/office/powerpoint/2010/main" val="382907743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9374F45-9F3E-4023-AE14-BA2A6B232150}"/>
              </a:ext>
            </a:extLst>
          </p:cNvPr>
          <p:cNvSpPr>
            <a:spLocks noGrp="1"/>
          </p:cNvSpPr>
          <p:nvPr>
            <p:ph type="dt" sz="half" idx="10"/>
          </p:nvPr>
        </p:nvSpPr>
        <p:spPr/>
        <p:txBody>
          <a:bodyPr/>
          <a:lstStyle/>
          <a:p>
            <a:fld id="{D5CD8A69-5E97-4ABA-9DFB-4ECAB04214D1}" type="datetime1">
              <a:rPr lang="en-US" smtClean="0"/>
              <a:t>7/18/2024</a:t>
            </a:fld>
            <a:endParaRPr lang="en-US"/>
          </a:p>
        </p:txBody>
      </p:sp>
      <p:sp>
        <p:nvSpPr>
          <p:cNvPr id="3" name="Footer Placeholder 2">
            <a:extLst>
              <a:ext uri="{FF2B5EF4-FFF2-40B4-BE49-F238E27FC236}">
                <a16:creationId xmlns:a16="http://schemas.microsoft.com/office/drawing/2014/main" id="{69512C78-1432-41E0-B4C7-803F0F2FE1C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EEF0A2C-EF42-4FB6-9BF7-B3D85FC9EB6B}"/>
              </a:ext>
            </a:extLst>
          </p:cNvPr>
          <p:cNvSpPr>
            <a:spLocks noGrp="1"/>
          </p:cNvSpPr>
          <p:nvPr>
            <p:ph type="sldNum" sz="quarter" idx="12"/>
          </p:nvPr>
        </p:nvSpPr>
        <p:spPr/>
        <p:txBody>
          <a:bodyPr/>
          <a:lstStyle/>
          <a:p>
            <a:fld id="{535878F3-CD42-4FA4-B835-F0690F02FFD1}" type="slidenum">
              <a:rPr lang="en-US" smtClean="0"/>
              <a:t>‹#›</a:t>
            </a:fld>
            <a:endParaRPr lang="en-US"/>
          </a:p>
        </p:txBody>
      </p:sp>
    </p:spTree>
    <p:extLst>
      <p:ext uri="{BB962C8B-B14F-4D97-AF65-F5344CB8AC3E}">
        <p14:creationId xmlns:p14="http://schemas.microsoft.com/office/powerpoint/2010/main" val="1413184867"/>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F44ABE-59F2-4EDA-BF31-6BCEB32E36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95D64D7-B803-400C-8F2A-8AEEAAF815F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59E48FE-682F-4163-B7AE-A099190B50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F8E257B-6A99-4B10-9EF9-1D8897277428}"/>
              </a:ext>
            </a:extLst>
          </p:cNvPr>
          <p:cNvSpPr>
            <a:spLocks noGrp="1"/>
          </p:cNvSpPr>
          <p:nvPr>
            <p:ph type="dt" sz="half" idx="10"/>
          </p:nvPr>
        </p:nvSpPr>
        <p:spPr/>
        <p:txBody>
          <a:bodyPr/>
          <a:lstStyle/>
          <a:p>
            <a:fld id="{5DF4ABF8-8EE5-4E0E-A50F-E3F7D55542C3}" type="datetime1">
              <a:rPr lang="en-US" smtClean="0"/>
              <a:t>7/18/2024</a:t>
            </a:fld>
            <a:endParaRPr lang="en-US"/>
          </a:p>
        </p:txBody>
      </p:sp>
      <p:sp>
        <p:nvSpPr>
          <p:cNvPr id="6" name="Footer Placeholder 5">
            <a:extLst>
              <a:ext uri="{FF2B5EF4-FFF2-40B4-BE49-F238E27FC236}">
                <a16:creationId xmlns:a16="http://schemas.microsoft.com/office/drawing/2014/main" id="{3971B588-91FB-44BE-A5AA-9C488DFB8EA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3ACF8D9-BD64-4D1C-96D8-A94A0C504EBA}"/>
              </a:ext>
            </a:extLst>
          </p:cNvPr>
          <p:cNvSpPr>
            <a:spLocks noGrp="1"/>
          </p:cNvSpPr>
          <p:nvPr>
            <p:ph type="sldNum" sz="quarter" idx="12"/>
          </p:nvPr>
        </p:nvSpPr>
        <p:spPr/>
        <p:txBody>
          <a:bodyPr/>
          <a:lstStyle/>
          <a:p>
            <a:fld id="{535878F3-CD42-4FA4-B835-F0690F02FFD1}" type="slidenum">
              <a:rPr lang="en-US" smtClean="0"/>
              <a:t>‹#›</a:t>
            </a:fld>
            <a:endParaRPr lang="en-US"/>
          </a:p>
        </p:txBody>
      </p:sp>
    </p:spTree>
    <p:extLst>
      <p:ext uri="{BB962C8B-B14F-4D97-AF65-F5344CB8AC3E}">
        <p14:creationId xmlns:p14="http://schemas.microsoft.com/office/powerpoint/2010/main" val="2474474694"/>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B604D-1A80-4A34-9CBC-C8326B2C11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61BD595-839E-4B98-889C-24375FBD5FF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919ADE8-12CB-4CC6-B359-A1284BD50C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5318124-35D8-4FF7-8F32-CF96834DB027}"/>
              </a:ext>
            </a:extLst>
          </p:cNvPr>
          <p:cNvSpPr>
            <a:spLocks noGrp="1"/>
          </p:cNvSpPr>
          <p:nvPr>
            <p:ph type="dt" sz="half" idx="10"/>
          </p:nvPr>
        </p:nvSpPr>
        <p:spPr/>
        <p:txBody>
          <a:bodyPr/>
          <a:lstStyle/>
          <a:p>
            <a:fld id="{B5E57B0B-9701-487E-A13E-7D1E975F557E}" type="datetime1">
              <a:rPr lang="en-US" smtClean="0"/>
              <a:t>7/18/2024</a:t>
            </a:fld>
            <a:endParaRPr lang="en-US"/>
          </a:p>
        </p:txBody>
      </p:sp>
      <p:sp>
        <p:nvSpPr>
          <p:cNvPr id="6" name="Footer Placeholder 5">
            <a:extLst>
              <a:ext uri="{FF2B5EF4-FFF2-40B4-BE49-F238E27FC236}">
                <a16:creationId xmlns:a16="http://schemas.microsoft.com/office/drawing/2014/main" id="{B01F1DBD-B928-4152-8209-BCD9FD2F8B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8424A7-2AAC-4453-9F73-E3E7610FC38B}"/>
              </a:ext>
            </a:extLst>
          </p:cNvPr>
          <p:cNvSpPr>
            <a:spLocks noGrp="1"/>
          </p:cNvSpPr>
          <p:nvPr>
            <p:ph type="sldNum" sz="quarter" idx="12"/>
          </p:nvPr>
        </p:nvSpPr>
        <p:spPr/>
        <p:txBody>
          <a:bodyPr/>
          <a:lstStyle/>
          <a:p>
            <a:fld id="{535878F3-CD42-4FA4-B835-F0690F02FFD1}" type="slidenum">
              <a:rPr lang="en-US" smtClean="0"/>
              <a:t>‹#›</a:t>
            </a:fld>
            <a:endParaRPr lang="en-US"/>
          </a:p>
        </p:txBody>
      </p:sp>
    </p:spTree>
    <p:extLst>
      <p:ext uri="{BB962C8B-B14F-4D97-AF65-F5344CB8AC3E}">
        <p14:creationId xmlns:p14="http://schemas.microsoft.com/office/powerpoint/2010/main" val="163996019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678B2-ACC1-44DC-B692-9CA9492B83C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AACB4D3-3309-4A40-9599-1E1733A4E93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59C701-46EF-4656-ADF3-91003D6A44C8}"/>
              </a:ext>
            </a:extLst>
          </p:cNvPr>
          <p:cNvSpPr>
            <a:spLocks noGrp="1"/>
          </p:cNvSpPr>
          <p:nvPr>
            <p:ph type="dt" sz="half" idx="10"/>
          </p:nvPr>
        </p:nvSpPr>
        <p:spPr/>
        <p:txBody>
          <a:bodyPr/>
          <a:lstStyle/>
          <a:p>
            <a:fld id="{59DA646C-CB0C-4D91-840B-9871931BC2CC}" type="datetime1">
              <a:rPr lang="en-US" smtClean="0"/>
              <a:t>7/18/2024</a:t>
            </a:fld>
            <a:endParaRPr lang="en-US"/>
          </a:p>
        </p:txBody>
      </p:sp>
      <p:sp>
        <p:nvSpPr>
          <p:cNvPr id="5" name="Footer Placeholder 4">
            <a:extLst>
              <a:ext uri="{FF2B5EF4-FFF2-40B4-BE49-F238E27FC236}">
                <a16:creationId xmlns:a16="http://schemas.microsoft.com/office/drawing/2014/main" id="{29DBBD0D-6523-4718-B84F-E6CA7FCB60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C1CC0B-B869-4C9A-9C54-B053BF2A0B59}"/>
              </a:ext>
            </a:extLst>
          </p:cNvPr>
          <p:cNvSpPr>
            <a:spLocks noGrp="1"/>
          </p:cNvSpPr>
          <p:nvPr>
            <p:ph type="sldNum" sz="quarter" idx="12"/>
          </p:nvPr>
        </p:nvSpPr>
        <p:spPr/>
        <p:txBody>
          <a:bodyPr/>
          <a:lstStyle/>
          <a:p>
            <a:fld id="{535878F3-CD42-4FA4-B835-F0690F02FFD1}" type="slidenum">
              <a:rPr lang="en-US" smtClean="0"/>
              <a:t>‹#›</a:t>
            </a:fld>
            <a:endParaRPr lang="en-US"/>
          </a:p>
        </p:txBody>
      </p:sp>
    </p:spTree>
    <p:extLst>
      <p:ext uri="{BB962C8B-B14F-4D97-AF65-F5344CB8AC3E}">
        <p14:creationId xmlns:p14="http://schemas.microsoft.com/office/powerpoint/2010/main" val="283626174"/>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B12CA40-173C-4FE8-9274-7153D8B4211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20B0DDD-4119-4FD3-B1F3-7491D24606C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745CA4-4A6F-48B2-BA25-DBF24E103CA1}"/>
              </a:ext>
            </a:extLst>
          </p:cNvPr>
          <p:cNvSpPr>
            <a:spLocks noGrp="1"/>
          </p:cNvSpPr>
          <p:nvPr>
            <p:ph type="dt" sz="half" idx="10"/>
          </p:nvPr>
        </p:nvSpPr>
        <p:spPr/>
        <p:txBody>
          <a:bodyPr/>
          <a:lstStyle/>
          <a:p>
            <a:fld id="{9EB43D9F-DEB5-41B8-B9E9-D967617D5C74}" type="datetime1">
              <a:rPr lang="en-US" smtClean="0"/>
              <a:t>7/18/2024</a:t>
            </a:fld>
            <a:endParaRPr lang="en-US"/>
          </a:p>
        </p:txBody>
      </p:sp>
      <p:sp>
        <p:nvSpPr>
          <p:cNvPr id="5" name="Footer Placeholder 4">
            <a:extLst>
              <a:ext uri="{FF2B5EF4-FFF2-40B4-BE49-F238E27FC236}">
                <a16:creationId xmlns:a16="http://schemas.microsoft.com/office/drawing/2014/main" id="{4A97D66E-5815-4E22-B843-B849F0F2DC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7D3B2D-D26E-4E3D-B6C2-07039E2200F5}"/>
              </a:ext>
            </a:extLst>
          </p:cNvPr>
          <p:cNvSpPr>
            <a:spLocks noGrp="1"/>
          </p:cNvSpPr>
          <p:nvPr>
            <p:ph type="sldNum" sz="quarter" idx="12"/>
          </p:nvPr>
        </p:nvSpPr>
        <p:spPr/>
        <p:txBody>
          <a:bodyPr/>
          <a:lstStyle/>
          <a:p>
            <a:fld id="{535878F3-CD42-4FA4-B835-F0690F02FFD1}" type="slidenum">
              <a:rPr lang="en-US" smtClean="0"/>
              <a:t>‹#›</a:t>
            </a:fld>
            <a:endParaRPr lang="en-US"/>
          </a:p>
        </p:txBody>
      </p:sp>
    </p:spTree>
    <p:extLst>
      <p:ext uri="{BB962C8B-B14F-4D97-AF65-F5344CB8AC3E}">
        <p14:creationId xmlns:p14="http://schemas.microsoft.com/office/powerpoint/2010/main" val="832237004"/>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F7D72-0B54-48B0-CA3C-7D0AE681FA01}"/>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078DB607-74BA-7D70-A705-7AC99ACB2071}"/>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0EE2BB31-B88A-E84B-84E1-5677765CD0D5}"/>
              </a:ext>
            </a:extLst>
          </p:cNvPr>
          <p:cNvSpPr>
            <a:spLocks noGrp="1"/>
          </p:cNvSpPr>
          <p:nvPr>
            <p:ph type="dt" sz="half" idx="10"/>
          </p:nvPr>
        </p:nvSpPr>
        <p:spPr/>
        <p:txBody>
          <a:bodyPr/>
          <a:lstStyle/>
          <a:p>
            <a:fld id="{A4C99D30-70D5-423D-ADB9-04BA8838E6C9}" type="datetime1">
              <a:rPr lang="en-US" smtClean="0"/>
              <a:t>7/18/2024</a:t>
            </a:fld>
            <a:endParaRPr lang="en-US"/>
          </a:p>
        </p:txBody>
      </p:sp>
      <p:sp>
        <p:nvSpPr>
          <p:cNvPr id="5" name="Footer Placeholder 4">
            <a:extLst>
              <a:ext uri="{FF2B5EF4-FFF2-40B4-BE49-F238E27FC236}">
                <a16:creationId xmlns:a16="http://schemas.microsoft.com/office/drawing/2014/main" id="{B6C5EA92-0B72-3E38-C9B1-0DA5F18472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ED9AE6-B9B3-9FE8-FA33-526193B15676}"/>
              </a:ext>
            </a:extLst>
          </p:cNvPr>
          <p:cNvSpPr>
            <a:spLocks noGrp="1"/>
          </p:cNvSpPr>
          <p:nvPr>
            <p:ph type="sldNum" sz="quarter" idx="12"/>
          </p:nvPr>
        </p:nvSpPr>
        <p:spPr/>
        <p:txBody>
          <a:bodyPr/>
          <a:lstStyle/>
          <a:p>
            <a:fld id="{23CFFA4C-0D1C-425F-BB04-E50ADD4A39B0}" type="slidenum">
              <a:rPr lang="en-US" smtClean="0"/>
              <a:t>‹#›</a:t>
            </a:fld>
            <a:endParaRPr lang="en-US"/>
          </a:p>
        </p:txBody>
      </p:sp>
    </p:spTree>
    <p:extLst>
      <p:ext uri="{BB962C8B-B14F-4D97-AF65-F5344CB8AC3E}">
        <p14:creationId xmlns:p14="http://schemas.microsoft.com/office/powerpoint/2010/main" val="2400266341"/>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0C244-C0F5-472E-D3EC-F6154C33416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05A267E-0A52-1562-59D4-2C9A184B745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1BD946-174B-0133-AA52-7C1E10EF5AE3}"/>
              </a:ext>
            </a:extLst>
          </p:cNvPr>
          <p:cNvSpPr>
            <a:spLocks noGrp="1"/>
          </p:cNvSpPr>
          <p:nvPr>
            <p:ph type="dt" sz="half" idx="10"/>
          </p:nvPr>
        </p:nvSpPr>
        <p:spPr/>
        <p:txBody>
          <a:bodyPr/>
          <a:lstStyle/>
          <a:p>
            <a:fld id="{D706B5D1-D532-4A34-BC71-F1645763B6BB}" type="datetime1">
              <a:rPr lang="en-US" smtClean="0"/>
              <a:t>7/18/2024</a:t>
            </a:fld>
            <a:endParaRPr lang="en-US"/>
          </a:p>
        </p:txBody>
      </p:sp>
      <p:sp>
        <p:nvSpPr>
          <p:cNvPr id="5" name="Footer Placeholder 4">
            <a:extLst>
              <a:ext uri="{FF2B5EF4-FFF2-40B4-BE49-F238E27FC236}">
                <a16:creationId xmlns:a16="http://schemas.microsoft.com/office/drawing/2014/main" id="{508D5F6D-B8DD-B4D0-405D-C4FADD9B32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8E5FA2-FFB4-0D84-5435-79146CDD34C3}"/>
              </a:ext>
            </a:extLst>
          </p:cNvPr>
          <p:cNvSpPr>
            <a:spLocks noGrp="1"/>
          </p:cNvSpPr>
          <p:nvPr>
            <p:ph type="sldNum" sz="quarter" idx="12"/>
          </p:nvPr>
        </p:nvSpPr>
        <p:spPr/>
        <p:txBody>
          <a:bodyPr/>
          <a:lstStyle/>
          <a:p>
            <a:fld id="{23CFFA4C-0D1C-425F-BB04-E50ADD4A39B0}" type="slidenum">
              <a:rPr lang="en-US" smtClean="0"/>
              <a:t>‹#›</a:t>
            </a:fld>
            <a:endParaRPr lang="en-US"/>
          </a:p>
        </p:txBody>
      </p:sp>
    </p:spTree>
    <p:extLst>
      <p:ext uri="{BB962C8B-B14F-4D97-AF65-F5344CB8AC3E}">
        <p14:creationId xmlns:p14="http://schemas.microsoft.com/office/powerpoint/2010/main" val="20845161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K Pin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C0B63B-5EB2-C517-FFAF-0A5B2B5AB93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6623541" y="0"/>
            <a:ext cx="5568459" cy="6859200"/>
          </a:xfrm>
          <a:prstGeom prst="rect">
            <a:avLst/>
          </a:prstGeom>
        </p:spPr>
      </p:pic>
      <p:grpSp>
        <p:nvGrpSpPr>
          <p:cNvPr id="8" name="Graphic 3">
            <a:extLst>
              <a:ext uri="{FF2B5EF4-FFF2-40B4-BE49-F238E27FC236}">
                <a16:creationId xmlns:a16="http://schemas.microsoft.com/office/drawing/2014/main" id="{02491239-1144-EB94-E007-F05D770D71DA}"/>
              </a:ext>
            </a:extLst>
          </p:cNvPr>
          <p:cNvGrpSpPr/>
          <p:nvPr userDrawn="1"/>
        </p:nvGrpSpPr>
        <p:grpSpPr>
          <a:xfrm>
            <a:off x="9407771" y="3224292"/>
            <a:ext cx="1817989" cy="409417"/>
            <a:chOff x="469958" y="1647414"/>
            <a:chExt cx="8205029" cy="1847802"/>
          </a:xfrm>
          <a:solidFill>
            <a:schemeClr val="bg1"/>
          </a:solidFill>
        </p:grpSpPr>
        <p:sp>
          <p:nvSpPr>
            <p:cNvPr id="9" name="Freeform 25">
              <a:extLst>
                <a:ext uri="{FF2B5EF4-FFF2-40B4-BE49-F238E27FC236}">
                  <a16:creationId xmlns:a16="http://schemas.microsoft.com/office/drawing/2014/main" id="{2FDE4536-B74E-FB0B-5701-EE95568054D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1">
              <a:extLst>
                <a:ext uri="{FF2B5EF4-FFF2-40B4-BE49-F238E27FC236}">
                  <a16:creationId xmlns:a16="http://schemas.microsoft.com/office/drawing/2014/main" id="{DC504B4C-4BF0-DF13-D647-0C718DF4AD9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2">
              <a:extLst>
                <a:ext uri="{FF2B5EF4-FFF2-40B4-BE49-F238E27FC236}">
                  <a16:creationId xmlns:a16="http://schemas.microsoft.com/office/drawing/2014/main" id="{F3BB0087-C253-F0E4-3F52-1A53B4AFA97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3">
              <a:extLst>
                <a:ext uri="{FF2B5EF4-FFF2-40B4-BE49-F238E27FC236}">
                  <a16:creationId xmlns:a16="http://schemas.microsoft.com/office/drawing/2014/main" id="{3025D71C-0D10-5220-5980-B17FC068151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3" name="Freeform 34">
              <a:extLst>
                <a:ext uri="{FF2B5EF4-FFF2-40B4-BE49-F238E27FC236}">
                  <a16:creationId xmlns:a16="http://schemas.microsoft.com/office/drawing/2014/main" id="{64514CD7-9102-9552-6763-AB0337AAA7E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7" name="TextBox 6">
            <a:extLst>
              <a:ext uri="{FF2B5EF4-FFF2-40B4-BE49-F238E27FC236}">
                <a16:creationId xmlns:a16="http://schemas.microsoft.com/office/drawing/2014/main" id="{DB2D474A-4156-5445-2C99-EE4C77388F5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DA5D471E-8C81-0943-5022-F263A707E608}"/>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6" name="Title 4">
            <a:extLst>
              <a:ext uri="{FF2B5EF4-FFF2-40B4-BE49-F238E27FC236}">
                <a16:creationId xmlns:a16="http://schemas.microsoft.com/office/drawing/2014/main" id="{024AFDB3-6F7B-B778-402E-9CCB281E4A36}"/>
              </a:ext>
            </a:extLst>
          </p:cNvPr>
          <p:cNvSpPr>
            <a:spLocks noGrp="1"/>
          </p:cNvSpPr>
          <p:nvPr>
            <p:ph type="title" hasCustomPrompt="1"/>
          </p:nvPr>
        </p:nvSpPr>
        <p:spPr>
          <a:xfrm>
            <a:off x="556708" y="2179565"/>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17" name="Text Placeholder 3">
            <a:extLst>
              <a:ext uri="{FF2B5EF4-FFF2-40B4-BE49-F238E27FC236}">
                <a16:creationId xmlns:a16="http://schemas.microsoft.com/office/drawing/2014/main" id="{673B31AA-DB5D-E4EE-AD2B-9C376313D508}"/>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bg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132782763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A6DFA4-4494-F6D7-419F-91285845E54C}"/>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29956815-94E9-80BD-0C24-3955187A24A2}"/>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6376A1D-F5B5-54A5-D767-E3F12386C58A}"/>
              </a:ext>
            </a:extLst>
          </p:cNvPr>
          <p:cNvSpPr>
            <a:spLocks noGrp="1"/>
          </p:cNvSpPr>
          <p:nvPr>
            <p:ph type="dt" sz="half" idx="10"/>
          </p:nvPr>
        </p:nvSpPr>
        <p:spPr/>
        <p:txBody>
          <a:bodyPr/>
          <a:lstStyle/>
          <a:p>
            <a:fld id="{810AC595-6A21-4570-8360-B7B40D97DCEB}" type="datetime1">
              <a:rPr lang="en-US" smtClean="0"/>
              <a:t>7/18/2024</a:t>
            </a:fld>
            <a:endParaRPr lang="en-US"/>
          </a:p>
        </p:txBody>
      </p:sp>
      <p:sp>
        <p:nvSpPr>
          <p:cNvPr id="5" name="Footer Placeholder 4">
            <a:extLst>
              <a:ext uri="{FF2B5EF4-FFF2-40B4-BE49-F238E27FC236}">
                <a16:creationId xmlns:a16="http://schemas.microsoft.com/office/drawing/2014/main" id="{870E74EE-5C11-CA52-5733-2EEE83265C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914C4B-46B9-EEDA-D3C0-256E916C4126}"/>
              </a:ext>
            </a:extLst>
          </p:cNvPr>
          <p:cNvSpPr>
            <a:spLocks noGrp="1"/>
          </p:cNvSpPr>
          <p:nvPr>
            <p:ph type="sldNum" sz="quarter" idx="12"/>
          </p:nvPr>
        </p:nvSpPr>
        <p:spPr/>
        <p:txBody>
          <a:bodyPr/>
          <a:lstStyle/>
          <a:p>
            <a:fld id="{23CFFA4C-0D1C-425F-BB04-E50ADD4A39B0}" type="slidenum">
              <a:rPr lang="en-US" smtClean="0"/>
              <a:t>‹#›</a:t>
            </a:fld>
            <a:endParaRPr lang="en-US"/>
          </a:p>
        </p:txBody>
      </p:sp>
    </p:spTree>
    <p:extLst>
      <p:ext uri="{BB962C8B-B14F-4D97-AF65-F5344CB8AC3E}">
        <p14:creationId xmlns:p14="http://schemas.microsoft.com/office/powerpoint/2010/main" val="123384085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E2AC2C-3CA5-1AF3-7BF8-CDA660EAA62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107544-EF4B-5C26-EEC5-7E6D3B035F4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0433D2F-039A-DCBE-7366-FB04006AD2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976F7A4-4E8F-14B4-9F9F-562A70EAC241}"/>
              </a:ext>
            </a:extLst>
          </p:cNvPr>
          <p:cNvSpPr>
            <a:spLocks noGrp="1"/>
          </p:cNvSpPr>
          <p:nvPr>
            <p:ph type="dt" sz="half" idx="10"/>
          </p:nvPr>
        </p:nvSpPr>
        <p:spPr/>
        <p:txBody>
          <a:bodyPr/>
          <a:lstStyle/>
          <a:p>
            <a:fld id="{5547D74C-2120-4C69-B682-9ED7A4761917}" type="datetime1">
              <a:rPr lang="en-US" smtClean="0"/>
              <a:t>7/18/2024</a:t>
            </a:fld>
            <a:endParaRPr lang="en-US"/>
          </a:p>
        </p:txBody>
      </p:sp>
      <p:sp>
        <p:nvSpPr>
          <p:cNvPr id="6" name="Footer Placeholder 5">
            <a:extLst>
              <a:ext uri="{FF2B5EF4-FFF2-40B4-BE49-F238E27FC236}">
                <a16:creationId xmlns:a16="http://schemas.microsoft.com/office/drawing/2014/main" id="{9CC78BCB-CC93-060D-0B23-54393EA6BB0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66F74C5-D429-AF0D-DFC0-A15485F85B69}"/>
              </a:ext>
            </a:extLst>
          </p:cNvPr>
          <p:cNvSpPr>
            <a:spLocks noGrp="1"/>
          </p:cNvSpPr>
          <p:nvPr>
            <p:ph type="sldNum" sz="quarter" idx="12"/>
          </p:nvPr>
        </p:nvSpPr>
        <p:spPr/>
        <p:txBody>
          <a:bodyPr/>
          <a:lstStyle/>
          <a:p>
            <a:fld id="{23CFFA4C-0D1C-425F-BB04-E50ADD4A39B0}" type="slidenum">
              <a:rPr lang="en-US" smtClean="0"/>
              <a:t>‹#›</a:t>
            </a:fld>
            <a:endParaRPr lang="en-US"/>
          </a:p>
        </p:txBody>
      </p:sp>
    </p:spTree>
    <p:extLst>
      <p:ext uri="{BB962C8B-B14F-4D97-AF65-F5344CB8AC3E}">
        <p14:creationId xmlns:p14="http://schemas.microsoft.com/office/powerpoint/2010/main" val="99258874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3C7C6-27E6-7C34-92D8-A9482909C732}"/>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A6C24F6-8EBC-C218-A3E2-4CBAB5181975}"/>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95637726-8581-3A33-2613-CBA97FADC3B7}"/>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D35FE6D-7B6F-76F0-8A8D-C563941EC266}"/>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C2A3BD51-5DBD-6FC1-FDC1-96B160484D1C}"/>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5CCF087-8D8D-7B64-055C-4470CC19305F}"/>
              </a:ext>
            </a:extLst>
          </p:cNvPr>
          <p:cNvSpPr>
            <a:spLocks noGrp="1"/>
          </p:cNvSpPr>
          <p:nvPr>
            <p:ph type="dt" sz="half" idx="10"/>
          </p:nvPr>
        </p:nvSpPr>
        <p:spPr/>
        <p:txBody>
          <a:bodyPr/>
          <a:lstStyle/>
          <a:p>
            <a:fld id="{42C2CF42-2F2D-424A-BAE6-C8827E555745}" type="datetime1">
              <a:rPr lang="en-US" smtClean="0"/>
              <a:t>7/18/2024</a:t>
            </a:fld>
            <a:endParaRPr lang="en-US"/>
          </a:p>
        </p:txBody>
      </p:sp>
      <p:sp>
        <p:nvSpPr>
          <p:cNvPr id="8" name="Footer Placeholder 7">
            <a:extLst>
              <a:ext uri="{FF2B5EF4-FFF2-40B4-BE49-F238E27FC236}">
                <a16:creationId xmlns:a16="http://schemas.microsoft.com/office/drawing/2014/main" id="{3A52B346-0F63-F53C-B2D5-B2032AC11AF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C85E600-33C2-6622-BFE5-B3A9D1441583}"/>
              </a:ext>
            </a:extLst>
          </p:cNvPr>
          <p:cNvSpPr>
            <a:spLocks noGrp="1"/>
          </p:cNvSpPr>
          <p:nvPr>
            <p:ph type="sldNum" sz="quarter" idx="12"/>
          </p:nvPr>
        </p:nvSpPr>
        <p:spPr/>
        <p:txBody>
          <a:bodyPr/>
          <a:lstStyle/>
          <a:p>
            <a:fld id="{23CFFA4C-0D1C-425F-BB04-E50ADD4A39B0}" type="slidenum">
              <a:rPr lang="en-US" smtClean="0"/>
              <a:t>‹#›</a:t>
            </a:fld>
            <a:endParaRPr lang="en-US"/>
          </a:p>
        </p:txBody>
      </p:sp>
    </p:spTree>
    <p:extLst>
      <p:ext uri="{BB962C8B-B14F-4D97-AF65-F5344CB8AC3E}">
        <p14:creationId xmlns:p14="http://schemas.microsoft.com/office/powerpoint/2010/main" val="62482164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302C4-DBD3-CA45-6BCE-92FAED22BB5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C87A456-3C18-5E71-9361-460A576C0314}"/>
              </a:ext>
            </a:extLst>
          </p:cNvPr>
          <p:cNvSpPr>
            <a:spLocks noGrp="1"/>
          </p:cNvSpPr>
          <p:nvPr>
            <p:ph type="dt" sz="half" idx="10"/>
          </p:nvPr>
        </p:nvSpPr>
        <p:spPr/>
        <p:txBody>
          <a:bodyPr/>
          <a:lstStyle/>
          <a:p>
            <a:fld id="{480C2C9B-EC95-44AF-BB84-E61E65715504}" type="datetime1">
              <a:rPr lang="en-US" smtClean="0"/>
              <a:t>7/18/2024</a:t>
            </a:fld>
            <a:endParaRPr lang="en-US"/>
          </a:p>
        </p:txBody>
      </p:sp>
      <p:sp>
        <p:nvSpPr>
          <p:cNvPr id="4" name="Footer Placeholder 3">
            <a:extLst>
              <a:ext uri="{FF2B5EF4-FFF2-40B4-BE49-F238E27FC236}">
                <a16:creationId xmlns:a16="http://schemas.microsoft.com/office/drawing/2014/main" id="{CEFBADAE-2130-184A-071D-604CE82B958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2FE44BC-F0AA-4862-55E7-8864D75A4941}"/>
              </a:ext>
            </a:extLst>
          </p:cNvPr>
          <p:cNvSpPr>
            <a:spLocks noGrp="1"/>
          </p:cNvSpPr>
          <p:nvPr>
            <p:ph type="sldNum" sz="quarter" idx="12"/>
          </p:nvPr>
        </p:nvSpPr>
        <p:spPr/>
        <p:txBody>
          <a:bodyPr/>
          <a:lstStyle/>
          <a:p>
            <a:fld id="{23CFFA4C-0D1C-425F-BB04-E50ADD4A39B0}" type="slidenum">
              <a:rPr lang="en-US" smtClean="0"/>
              <a:t>‹#›</a:t>
            </a:fld>
            <a:endParaRPr lang="en-US"/>
          </a:p>
        </p:txBody>
      </p:sp>
    </p:spTree>
    <p:extLst>
      <p:ext uri="{BB962C8B-B14F-4D97-AF65-F5344CB8AC3E}">
        <p14:creationId xmlns:p14="http://schemas.microsoft.com/office/powerpoint/2010/main" val="3590493951"/>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EE56861-46A5-DC6A-DD47-402A3487E01E}"/>
              </a:ext>
            </a:extLst>
          </p:cNvPr>
          <p:cNvSpPr>
            <a:spLocks noGrp="1"/>
          </p:cNvSpPr>
          <p:nvPr>
            <p:ph type="dt" sz="half" idx="10"/>
          </p:nvPr>
        </p:nvSpPr>
        <p:spPr/>
        <p:txBody>
          <a:bodyPr/>
          <a:lstStyle/>
          <a:p>
            <a:fld id="{4E72CB6D-3FED-476E-89C4-59A20FF47631}" type="datetime1">
              <a:rPr lang="en-US" smtClean="0"/>
              <a:t>7/18/2024</a:t>
            </a:fld>
            <a:endParaRPr lang="en-US"/>
          </a:p>
        </p:txBody>
      </p:sp>
      <p:sp>
        <p:nvSpPr>
          <p:cNvPr id="3" name="Footer Placeholder 2">
            <a:extLst>
              <a:ext uri="{FF2B5EF4-FFF2-40B4-BE49-F238E27FC236}">
                <a16:creationId xmlns:a16="http://schemas.microsoft.com/office/drawing/2014/main" id="{7EFAF55B-5B26-977B-78AC-1D9F569E5A2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7861B01-D3D0-E117-2969-FE1C99D87718}"/>
              </a:ext>
            </a:extLst>
          </p:cNvPr>
          <p:cNvSpPr>
            <a:spLocks noGrp="1"/>
          </p:cNvSpPr>
          <p:nvPr>
            <p:ph type="sldNum" sz="quarter" idx="12"/>
          </p:nvPr>
        </p:nvSpPr>
        <p:spPr/>
        <p:txBody>
          <a:bodyPr/>
          <a:lstStyle/>
          <a:p>
            <a:fld id="{23CFFA4C-0D1C-425F-BB04-E50ADD4A39B0}" type="slidenum">
              <a:rPr lang="en-US" smtClean="0"/>
              <a:t>‹#›</a:t>
            </a:fld>
            <a:endParaRPr lang="en-US"/>
          </a:p>
        </p:txBody>
      </p:sp>
    </p:spTree>
    <p:extLst>
      <p:ext uri="{BB962C8B-B14F-4D97-AF65-F5344CB8AC3E}">
        <p14:creationId xmlns:p14="http://schemas.microsoft.com/office/powerpoint/2010/main" val="3618977796"/>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3DEC0-900E-0A52-E1EE-65BFBADCDB8A}"/>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55C03AF5-CB12-24BB-2107-17CF3A2163D6}"/>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A3485F-2C8F-B781-3F52-0EA385E4AE6A}"/>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3154C5AC-9477-4A90-48C9-8AF2047F67AC}"/>
              </a:ext>
            </a:extLst>
          </p:cNvPr>
          <p:cNvSpPr>
            <a:spLocks noGrp="1"/>
          </p:cNvSpPr>
          <p:nvPr>
            <p:ph type="dt" sz="half" idx="10"/>
          </p:nvPr>
        </p:nvSpPr>
        <p:spPr/>
        <p:txBody>
          <a:bodyPr/>
          <a:lstStyle/>
          <a:p>
            <a:fld id="{CB63F180-2D1E-48EB-B995-476C9C970610}" type="datetime1">
              <a:rPr lang="en-US" smtClean="0"/>
              <a:t>7/18/2024</a:t>
            </a:fld>
            <a:endParaRPr lang="en-US"/>
          </a:p>
        </p:txBody>
      </p:sp>
      <p:sp>
        <p:nvSpPr>
          <p:cNvPr id="6" name="Footer Placeholder 5">
            <a:extLst>
              <a:ext uri="{FF2B5EF4-FFF2-40B4-BE49-F238E27FC236}">
                <a16:creationId xmlns:a16="http://schemas.microsoft.com/office/drawing/2014/main" id="{1DA07AF6-0A5D-F0C2-39B7-BC37C04D57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A8BD032-9C33-0AB3-9CD2-3DE2657E5DC4}"/>
              </a:ext>
            </a:extLst>
          </p:cNvPr>
          <p:cNvSpPr>
            <a:spLocks noGrp="1"/>
          </p:cNvSpPr>
          <p:nvPr>
            <p:ph type="sldNum" sz="quarter" idx="12"/>
          </p:nvPr>
        </p:nvSpPr>
        <p:spPr/>
        <p:txBody>
          <a:bodyPr/>
          <a:lstStyle/>
          <a:p>
            <a:fld id="{23CFFA4C-0D1C-425F-BB04-E50ADD4A39B0}" type="slidenum">
              <a:rPr lang="en-US" smtClean="0"/>
              <a:t>‹#›</a:t>
            </a:fld>
            <a:endParaRPr lang="en-US"/>
          </a:p>
        </p:txBody>
      </p:sp>
    </p:spTree>
    <p:extLst>
      <p:ext uri="{BB962C8B-B14F-4D97-AF65-F5344CB8AC3E}">
        <p14:creationId xmlns:p14="http://schemas.microsoft.com/office/powerpoint/2010/main" val="1071293078"/>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1E332-FE97-A452-2436-B4B81773A3F9}"/>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3361027F-3BBF-2FE9-D6CA-4C6150FC2326}"/>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A86D2563-2C07-ED6F-DA5C-47089FF4A189}"/>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E037460F-EF5A-49F4-6173-3A920749A602}"/>
              </a:ext>
            </a:extLst>
          </p:cNvPr>
          <p:cNvSpPr>
            <a:spLocks noGrp="1"/>
          </p:cNvSpPr>
          <p:nvPr>
            <p:ph type="dt" sz="half" idx="10"/>
          </p:nvPr>
        </p:nvSpPr>
        <p:spPr/>
        <p:txBody>
          <a:bodyPr/>
          <a:lstStyle/>
          <a:p>
            <a:fld id="{8CB6F167-769D-4998-9BE4-8CE88C9894BB}" type="datetime1">
              <a:rPr lang="en-US" smtClean="0"/>
              <a:t>7/18/2024</a:t>
            </a:fld>
            <a:endParaRPr lang="en-US"/>
          </a:p>
        </p:txBody>
      </p:sp>
      <p:sp>
        <p:nvSpPr>
          <p:cNvPr id="6" name="Footer Placeholder 5">
            <a:extLst>
              <a:ext uri="{FF2B5EF4-FFF2-40B4-BE49-F238E27FC236}">
                <a16:creationId xmlns:a16="http://schemas.microsoft.com/office/drawing/2014/main" id="{1C69CEFF-8ED8-DD4D-CDDC-09B5CA1C41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8418B4-4CEF-2550-B5C0-9A20A4257054}"/>
              </a:ext>
            </a:extLst>
          </p:cNvPr>
          <p:cNvSpPr>
            <a:spLocks noGrp="1"/>
          </p:cNvSpPr>
          <p:nvPr>
            <p:ph type="sldNum" sz="quarter" idx="12"/>
          </p:nvPr>
        </p:nvSpPr>
        <p:spPr/>
        <p:txBody>
          <a:bodyPr/>
          <a:lstStyle/>
          <a:p>
            <a:fld id="{23CFFA4C-0D1C-425F-BB04-E50ADD4A39B0}" type="slidenum">
              <a:rPr lang="en-US" smtClean="0"/>
              <a:t>‹#›</a:t>
            </a:fld>
            <a:endParaRPr lang="en-US"/>
          </a:p>
        </p:txBody>
      </p:sp>
    </p:spTree>
    <p:extLst>
      <p:ext uri="{BB962C8B-B14F-4D97-AF65-F5344CB8AC3E}">
        <p14:creationId xmlns:p14="http://schemas.microsoft.com/office/powerpoint/2010/main" val="1467444608"/>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169AF-3E99-1DD3-C474-69FDEB9C2C4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7F10C6A-306C-30E2-9CCF-57FE82BACB2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4B9B96-E373-13BE-1FE2-948EF082DB3B}"/>
              </a:ext>
            </a:extLst>
          </p:cNvPr>
          <p:cNvSpPr>
            <a:spLocks noGrp="1"/>
          </p:cNvSpPr>
          <p:nvPr>
            <p:ph type="dt" sz="half" idx="10"/>
          </p:nvPr>
        </p:nvSpPr>
        <p:spPr/>
        <p:txBody>
          <a:bodyPr/>
          <a:lstStyle/>
          <a:p>
            <a:fld id="{9B0FB9D7-DD6C-447D-96E0-EA9006C99B3B}" type="datetime1">
              <a:rPr lang="en-US" smtClean="0"/>
              <a:t>7/18/2024</a:t>
            </a:fld>
            <a:endParaRPr lang="en-US"/>
          </a:p>
        </p:txBody>
      </p:sp>
      <p:sp>
        <p:nvSpPr>
          <p:cNvPr id="5" name="Footer Placeholder 4">
            <a:extLst>
              <a:ext uri="{FF2B5EF4-FFF2-40B4-BE49-F238E27FC236}">
                <a16:creationId xmlns:a16="http://schemas.microsoft.com/office/drawing/2014/main" id="{15D6E196-DE5E-1CE5-1F47-05D9D8E1CF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411C31-9B48-1D5B-1868-B1C5F2F53C3A}"/>
              </a:ext>
            </a:extLst>
          </p:cNvPr>
          <p:cNvSpPr>
            <a:spLocks noGrp="1"/>
          </p:cNvSpPr>
          <p:nvPr>
            <p:ph type="sldNum" sz="quarter" idx="12"/>
          </p:nvPr>
        </p:nvSpPr>
        <p:spPr/>
        <p:txBody>
          <a:bodyPr/>
          <a:lstStyle/>
          <a:p>
            <a:fld id="{23CFFA4C-0D1C-425F-BB04-E50ADD4A39B0}" type="slidenum">
              <a:rPr lang="en-US" smtClean="0"/>
              <a:t>‹#›</a:t>
            </a:fld>
            <a:endParaRPr lang="en-US"/>
          </a:p>
        </p:txBody>
      </p:sp>
    </p:spTree>
    <p:extLst>
      <p:ext uri="{BB962C8B-B14F-4D97-AF65-F5344CB8AC3E}">
        <p14:creationId xmlns:p14="http://schemas.microsoft.com/office/powerpoint/2010/main" val="4067377085"/>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532D114-0C73-6892-6F0D-74B9A6FB5D2C}"/>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5194AF1-D9E9-B5CB-AAC3-E6C127F8E699}"/>
              </a:ext>
            </a:extLst>
          </p:cNvPr>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562D22-2C18-AD3F-92D0-C5B397DD450A}"/>
              </a:ext>
            </a:extLst>
          </p:cNvPr>
          <p:cNvSpPr>
            <a:spLocks noGrp="1"/>
          </p:cNvSpPr>
          <p:nvPr>
            <p:ph type="dt" sz="half" idx="10"/>
          </p:nvPr>
        </p:nvSpPr>
        <p:spPr/>
        <p:txBody>
          <a:bodyPr/>
          <a:lstStyle/>
          <a:p>
            <a:fld id="{10DCF3DF-F608-43C2-92AA-C52D13564A3E}" type="datetime1">
              <a:rPr lang="en-US" smtClean="0"/>
              <a:t>7/18/2024</a:t>
            </a:fld>
            <a:endParaRPr lang="en-US"/>
          </a:p>
        </p:txBody>
      </p:sp>
      <p:sp>
        <p:nvSpPr>
          <p:cNvPr id="5" name="Footer Placeholder 4">
            <a:extLst>
              <a:ext uri="{FF2B5EF4-FFF2-40B4-BE49-F238E27FC236}">
                <a16:creationId xmlns:a16="http://schemas.microsoft.com/office/drawing/2014/main" id="{3C1F8CCA-FB39-26D5-C23A-B23C846A82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0147E2-2092-B888-E646-16CAABA17F19}"/>
              </a:ext>
            </a:extLst>
          </p:cNvPr>
          <p:cNvSpPr>
            <a:spLocks noGrp="1"/>
          </p:cNvSpPr>
          <p:nvPr>
            <p:ph type="sldNum" sz="quarter" idx="12"/>
          </p:nvPr>
        </p:nvSpPr>
        <p:spPr/>
        <p:txBody>
          <a:bodyPr/>
          <a:lstStyle/>
          <a:p>
            <a:fld id="{23CFFA4C-0D1C-425F-BB04-E50ADD4A39B0}" type="slidenum">
              <a:rPr lang="en-US" smtClean="0"/>
              <a:t>‹#›</a:t>
            </a:fld>
            <a:endParaRPr lang="en-US"/>
          </a:p>
        </p:txBody>
      </p:sp>
    </p:spTree>
    <p:extLst>
      <p:ext uri="{BB962C8B-B14F-4D97-AF65-F5344CB8AC3E}">
        <p14:creationId xmlns:p14="http://schemas.microsoft.com/office/powerpoint/2010/main" val="182162813"/>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1.1.2 - Titl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2"/>
                </a:solidFill>
                <a:latin typeface="Nokia Pure Headline Light" panose="020B0304020202020204" pitchFamily="34" charset="0"/>
              </a:defRPr>
            </a:lvl1pPr>
          </a:lstStyle>
          <a:p>
            <a:pPr lvl="0"/>
            <a:r>
              <a:rPr lang="en-US" noProof="0"/>
              <a:t>Click to edit headline</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4" name="TextBox 13">
            <a:extLst>
              <a:ext uri="{FF2B5EF4-FFF2-40B4-BE49-F238E27FC236}">
                <a16:creationId xmlns:a16="http://schemas.microsoft.com/office/drawing/2014/main" id="{B4AE9558-F65E-E57A-5394-E3FBBB881C02}"/>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792A02F9-A52E-683F-E045-1AFEBB2E5516}"/>
              </a:ext>
            </a:extLst>
          </p:cNvPr>
          <p:cNvSpPr txBox="1">
            <a:spLocks/>
          </p:cNvSpPr>
          <p:nvPr userDrawn="1"/>
        </p:nvSpPr>
        <p:spPr>
          <a:xfrm>
            <a:off x="558803" y="6478009"/>
            <a:ext cx="160300"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6" name="Footer Placeholder 2">
            <a:extLst>
              <a:ext uri="{FF2B5EF4-FFF2-40B4-BE49-F238E27FC236}">
                <a16:creationId xmlns:a16="http://schemas.microsoft.com/office/drawing/2014/main" id="{2949A3C7-28A6-58FC-0E18-DC956F4648A9}"/>
              </a:ext>
            </a:extLst>
          </p:cNvPr>
          <p:cNvSpPr>
            <a:spLocks noGrp="1"/>
          </p:cNvSpPr>
          <p:nvPr>
            <p:ph type="ftr" sz="quarter" idx="3"/>
          </p:nvPr>
        </p:nvSpPr>
        <p:spPr>
          <a:xfrm>
            <a:off x="2006147" y="6478073"/>
            <a:ext cx="3840000" cy="163200"/>
          </a:xfrm>
          <a:prstGeom prst="rect">
            <a:avLst/>
          </a:prstGeom>
        </p:spPr>
        <p:txBody>
          <a:bodyPr vert="horz" wrap="none" lIns="0" tIns="0" rIns="0" bIns="0" rtlCol="0" anchor="b" anchorCtr="0">
            <a:noAutofit/>
          </a:bodyPr>
          <a:lstStyle>
            <a:lvl1pPr marL="0" algn="l" defTabSz="609585" rtl="0" eaLnBrk="1" latinLnBrk="0" hangingPunct="1">
              <a:defRPr lang="en-GB" sz="1067"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endParaRPr lang="en-US"/>
          </a:p>
        </p:txBody>
      </p:sp>
      <p:cxnSp>
        <p:nvCxnSpPr>
          <p:cNvPr id="3" name="Straight Connector 2">
            <a:extLst>
              <a:ext uri="{FF2B5EF4-FFF2-40B4-BE49-F238E27FC236}">
                <a16:creationId xmlns:a16="http://schemas.microsoft.com/office/drawing/2014/main" id="{74AA98FC-E577-274F-771E-82560F85DC94}"/>
              </a:ext>
            </a:extLst>
          </p:cNvPr>
          <p:cNvCxnSpPr>
            <a:cxnSpLocks/>
          </p:cNvCxnSpPr>
          <p:nvPr userDrawn="1"/>
        </p:nvCxnSpPr>
        <p:spPr>
          <a:xfrm>
            <a:off x="1871480" y="6457200"/>
            <a:ext cx="0" cy="192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1541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K Whit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F4EAC9-01A1-ED6A-B271-D7FC17A6D29B}"/>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r="18798"/>
          <a:stretch/>
        </p:blipFill>
        <p:spPr>
          <a:xfrm>
            <a:off x="6622168" y="0"/>
            <a:ext cx="5569832" cy="6859200"/>
          </a:xfrm>
          <a:prstGeom prst="rect">
            <a:avLst/>
          </a:prstGeom>
        </p:spPr>
      </p:pic>
      <p:grpSp>
        <p:nvGrpSpPr>
          <p:cNvPr id="7" name="Graphic 3">
            <a:extLst>
              <a:ext uri="{FF2B5EF4-FFF2-40B4-BE49-F238E27FC236}">
                <a16:creationId xmlns:a16="http://schemas.microsoft.com/office/drawing/2014/main" id="{57ADD6F0-8A1D-2465-892B-42BFF999186F}"/>
              </a:ext>
            </a:extLst>
          </p:cNvPr>
          <p:cNvGrpSpPr/>
          <p:nvPr userDrawn="1"/>
        </p:nvGrpSpPr>
        <p:grpSpPr>
          <a:xfrm>
            <a:off x="9407771" y="3224292"/>
            <a:ext cx="1817989" cy="409417"/>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solidFill>
                  <a:schemeClr val="tx2"/>
                </a:solidFill>
              </a:endParaRPr>
            </a:p>
          </p:txBody>
        </p:sp>
      </p:grpSp>
      <p:sp>
        <p:nvSpPr>
          <p:cNvPr id="6" name="TextBox 5">
            <a:extLst>
              <a:ext uri="{FF2B5EF4-FFF2-40B4-BE49-F238E27FC236}">
                <a16:creationId xmlns:a16="http://schemas.microsoft.com/office/drawing/2014/main" id="{BA4D82E9-DEF8-D842-DDB5-563D618E794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EB92B7B9-0B45-FE4B-753A-4D8C0E23E619}"/>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Title 4">
            <a:extLst>
              <a:ext uri="{FF2B5EF4-FFF2-40B4-BE49-F238E27FC236}">
                <a16:creationId xmlns:a16="http://schemas.microsoft.com/office/drawing/2014/main" id="{838942B2-5BE5-A3D6-4570-6AF07089F22D}"/>
              </a:ext>
            </a:extLst>
          </p:cNvPr>
          <p:cNvSpPr>
            <a:spLocks noGrp="1"/>
          </p:cNvSpPr>
          <p:nvPr>
            <p:ph type="title" hasCustomPrompt="1"/>
          </p:nvPr>
        </p:nvSpPr>
        <p:spPr>
          <a:xfrm>
            <a:off x="556708" y="2179565"/>
            <a:ext cx="6528000" cy="1659287"/>
          </a:xfrm>
          <a:prstGeom prst="rect">
            <a:avLst/>
          </a:prstGeom>
        </p:spPr>
        <p:txBody>
          <a:bodyPr lIns="0" tIns="0" rIns="0" bIns="0">
            <a:noAutofit/>
          </a:bodyPr>
          <a:lstStyle>
            <a:lvl1pPr marL="0" indent="0" algn="l" defTabSz="1219170" rtl="0" eaLnBrk="1" latinLnBrk="0" hangingPunct="1">
              <a:lnSpc>
                <a:spcPct val="100000"/>
              </a:lnSpc>
              <a:spcBef>
                <a:spcPts val="0"/>
              </a:spcBef>
              <a:buFont typeface="Arial" panose="020B0604020202020204" pitchFamily="34" charset="0"/>
              <a:buNone/>
              <a:defRPr lang="en-GB" sz="4800" kern="1200" baseline="0" dirty="0" smtClean="0">
                <a:solidFill>
                  <a:schemeClr val="accent1"/>
                </a:solidFill>
                <a:latin typeface="+mj-lt"/>
                <a:ea typeface="+mn-ea"/>
                <a:cs typeface="+mn-cs"/>
              </a:defRPr>
            </a:lvl1pPr>
          </a:lstStyle>
          <a:p>
            <a:r>
              <a:rPr lang="en-US" noProof="0"/>
              <a:t>Presentation</a:t>
            </a:r>
            <a:br>
              <a:rPr lang="en-US" noProof="0"/>
            </a:br>
            <a:r>
              <a:rPr lang="en-US" noProof="0"/>
              <a:t>Title (2 lines)</a:t>
            </a:r>
          </a:p>
        </p:txBody>
      </p:sp>
      <p:sp>
        <p:nvSpPr>
          <p:cNvPr id="16" name="Text Placeholder 3">
            <a:extLst>
              <a:ext uri="{FF2B5EF4-FFF2-40B4-BE49-F238E27FC236}">
                <a16:creationId xmlns:a16="http://schemas.microsoft.com/office/drawing/2014/main" id="{B51E6336-7A1E-2850-2562-4FDD760F459F}"/>
              </a:ext>
            </a:extLst>
          </p:cNvPr>
          <p:cNvSpPr>
            <a:spLocks noGrp="1"/>
          </p:cNvSpPr>
          <p:nvPr>
            <p:ph type="body" sz="quarter" idx="12" hasCustomPrompt="1"/>
          </p:nvPr>
        </p:nvSpPr>
        <p:spPr>
          <a:xfrm>
            <a:off x="556708" y="4079614"/>
            <a:ext cx="5213179" cy="787937"/>
          </a:xfrm>
          <a:prstGeom prst="rect">
            <a:avLst/>
          </a:prstGeom>
        </p:spPr>
        <p:txBody>
          <a:bodyPr lIns="0" tIns="0" rIns="0" bIns="0">
            <a:noAutofit/>
          </a:bodyPr>
          <a:lstStyle>
            <a:lvl1pPr marL="0" indent="0">
              <a:lnSpc>
                <a:spcPct val="100000"/>
              </a:lnSpc>
              <a:spcBef>
                <a:spcPts val="0"/>
              </a:spcBef>
              <a:spcAft>
                <a:spcPts val="800"/>
              </a:spcAft>
              <a:buFont typeface="Arial" panose="020B0604020202020204" pitchFamily="34" charset="0"/>
              <a:buNone/>
              <a:defRPr sz="2400">
                <a:solidFill>
                  <a:schemeClr val="accent1"/>
                </a:solidFill>
                <a:latin typeface="+mn-lt"/>
                <a:ea typeface="Nokia Pure Text Light" panose="020B0403020202020204" pitchFamily="34" charset="0"/>
              </a:defRPr>
            </a:lvl1pPr>
            <a:lvl2pPr marL="307192" indent="0">
              <a:lnSpc>
                <a:spcPct val="100000"/>
              </a:lnSpc>
              <a:spcBef>
                <a:spcPts val="0"/>
              </a:spcBef>
              <a:spcAft>
                <a:spcPts val="800"/>
              </a:spcAft>
              <a:buNone/>
              <a:defRPr sz="1867">
                <a:solidFill>
                  <a:schemeClr val="bg1"/>
                </a:solidFill>
                <a:latin typeface="+mn-lt"/>
                <a:ea typeface="Nokia Pure Text Light" panose="020B0403020202020204" pitchFamily="34" charset="0"/>
              </a:defRPr>
            </a:lvl2pPr>
            <a:lvl3pPr marL="616785" indent="0">
              <a:lnSpc>
                <a:spcPct val="100000"/>
              </a:lnSpc>
              <a:spcBef>
                <a:spcPts val="0"/>
              </a:spcBef>
              <a:spcAft>
                <a:spcPts val="800"/>
              </a:spcAft>
              <a:buNone/>
              <a:defRPr sz="1600">
                <a:solidFill>
                  <a:schemeClr val="bg1"/>
                </a:solidFill>
                <a:latin typeface="+mn-lt"/>
                <a:ea typeface="Nokia Pure Text Light" panose="020B0403020202020204" pitchFamily="34" charset="0"/>
              </a:defRPr>
            </a:lvl3pPr>
            <a:lvl4pPr marL="923977" indent="0">
              <a:lnSpc>
                <a:spcPct val="100000"/>
              </a:lnSpc>
              <a:spcBef>
                <a:spcPts val="0"/>
              </a:spcBef>
              <a:spcAft>
                <a:spcPts val="800"/>
              </a:spcAft>
              <a:buNone/>
              <a:defRPr sz="1333">
                <a:solidFill>
                  <a:schemeClr val="bg1"/>
                </a:solidFill>
                <a:latin typeface="+mn-lt"/>
                <a:ea typeface="Nokia Pure Text Light" panose="020B0403020202020204" pitchFamily="34" charset="0"/>
              </a:defRPr>
            </a:lvl4pPr>
            <a:lvl5pPr marL="1231169" indent="0">
              <a:lnSpc>
                <a:spcPct val="100000"/>
              </a:lnSpc>
              <a:spcBef>
                <a:spcPts val="0"/>
              </a:spcBef>
              <a:spcAft>
                <a:spcPts val="800"/>
              </a:spcAft>
              <a:buFont typeface="Arial" panose="020B0604020202020204" pitchFamily="34" charset="0"/>
              <a:buNone/>
              <a:defRPr sz="1200">
                <a:solidFill>
                  <a:schemeClr val="bg1"/>
                </a:solidFill>
                <a:latin typeface="+mn-lt"/>
                <a:ea typeface="Nokia Pure Text Light" panose="020B0403020202020204" pitchFamily="34" charset="0"/>
              </a:defRPr>
            </a:lvl5pPr>
            <a:lvl6pPr marL="1538362" indent="0">
              <a:spcBef>
                <a:spcPts val="0"/>
              </a:spcBef>
              <a:spcAft>
                <a:spcPts val="800"/>
              </a:spcAft>
              <a:buFont typeface="Nokia Pure Text" panose="020B0503020202020204" pitchFamily="34" charset="0"/>
              <a:buNone/>
              <a:defRPr sz="1067" baseline="0">
                <a:solidFill>
                  <a:schemeClr val="tx2"/>
                </a:solidFill>
                <a:latin typeface="Nokia Pure Text Light" panose="020B0403020202020204" pitchFamily="34" charset="0"/>
                <a:ea typeface="Nokia Pure Text Light" panose="020B0403020202020204" pitchFamily="34" charset="0"/>
              </a:defRPr>
            </a:lvl6pPr>
            <a:lvl7pPr marL="1845554" indent="0">
              <a:spcBef>
                <a:spcPts val="0"/>
              </a:spcBef>
              <a:spcAft>
                <a:spcPts val="800"/>
              </a:spcAft>
              <a:buNone/>
              <a:defRPr sz="933">
                <a:solidFill>
                  <a:schemeClr val="tx2"/>
                </a:solidFill>
                <a:latin typeface="Nokia Pure Text Light" panose="020B0403020202020204" pitchFamily="34" charset="0"/>
                <a:ea typeface="Nokia Pure Text Light" panose="020B0403020202020204" pitchFamily="34" charset="0"/>
              </a:defRPr>
            </a:lvl7pPr>
            <a:lvl8pPr marL="2152746" indent="0">
              <a:spcBef>
                <a:spcPts val="0"/>
              </a:spcBef>
              <a:spcAft>
                <a:spcPts val="800"/>
              </a:spcAft>
              <a:buNone/>
              <a:defRPr sz="8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Tree>
    <p:extLst>
      <p:ext uri="{BB962C8B-B14F-4D97-AF65-F5344CB8AC3E}">
        <p14:creationId xmlns:p14="http://schemas.microsoft.com/office/powerpoint/2010/main" val="3162164046"/>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2.2 Title dark">
    <p:bg>
      <p:bgPr>
        <a:gradFill>
          <a:gsLst>
            <a:gs pos="53100">
              <a:schemeClr val="accent1">
                <a:lumMod val="59000"/>
              </a:schemeClr>
            </a:gs>
            <a:gs pos="0">
              <a:schemeClr val="tx1">
                <a:lumMod val="96000"/>
              </a:schemeClr>
            </a:gs>
            <a:gs pos="100000">
              <a:schemeClr val="accent1">
                <a:lumMod val="30000"/>
              </a:schemeClr>
            </a:gs>
          </a:gsLst>
          <a:lin ang="12000000" scaled="0"/>
        </a:gra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pic>
        <p:nvPicPr>
          <p:cNvPr id="3" name="Graphic 2">
            <a:extLst>
              <a:ext uri="{FF2B5EF4-FFF2-40B4-BE49-F238E27FC236}">
                <a16:creationId xmlns:a16="http://schemas.microsoft.com/office/drawing/2014/main" id="{BB937390-63D5-3E5C-5017-6C0EFAC8BC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3930" y="6330072"/>
            <a:ext cx="1296000" cy="292019"/>
          </a:xfrm>
          <a:prstGeom prst="rect">
            <a:avLst/>
          </a:prstGeom>
        </p:spPr>
      </p:pic>
    </p:spTree>
    <p:extLst>
      <p:ext uri="{BB962C8B-B14F-4D97-AF65-F5344CB8AC3E}">
        <p14:creationId xmlns:p14="http://schemas.microsoft.com/office/powerpoint/2010/main" val="3631264012"/>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1.2 Titl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Tree>
    <p:extLst>
      <p:ext uri="{BB962C8B-B14F-4D97-AF65-F5344CB8AC3E}">
        <p14:creationId xmlns:p14="http://schemas.microsoft.com/office/powerpoint/2010/main" val="1270152986"/>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2.13 Title slide with media 4 dark">
    <p:bg>
      <p:bgPr>
        <a:solidFill>
          <a:schemeClr val="tx1"/>
        </a:solidFill>
        <a:effectLst/>
      </p:bgPr>
    </p:bg>
    <p:spTree>
      <p:nvGrpSpPr>
        <p:cNvPr id="1" name=""/>
        <p:cNvGrpSpPr/>
        <p:nvPr/>
      </p:nvGrpSpPr>
      <p:grpSpPr>
        <a:xfrm>
          <a:off x="0" y="0"/>
          <a:ext cx="0" cy="0"/>
          <a:chOff x="0" y="0"/>
          <a:chExt cx="0" cy="0"/>
        </a:xfrm>
      </p:grpSpPr>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556801" y="527928"/>
            <a:ext cx="3294188"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556801" y="1019360"/>
            <a:ext cx="3294188"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556453" y="1680000"/>
            <a:ext cx="329418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sz="1600">
                <a:solidFill>
                  <a:schemeClr val="bg1"/>
                </a:solidFill>
              </a:defRPr>
            </a:lvl4pPr>
            <a:lvl5pPr marL="1199970" indent="-239994">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C663BDD0-396A-C130-FA04-231CB3C74388}"/>
              </a:ext>
            </a:extLst>
          </p:cNvPr>
          <p:cNvSpPr>
            <a:spLocks noGrp="1"/>
          </p:cNvSpPr>
          <p:nvPr>
            <p:ph type="pic" sz="quarter" idx="16" hasCustomPrompt="1"/>
          </p:nvPr>
        </p:nvSpPr>
        <p:spPr>
          <a:xfrm>
            <a:off x="4267200" y="0"/>
            <a:ext cx="79248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pic>
        <p:nvPicPr>
          <p:cNvPr id="3" name="Graphic 2">
            <a:extLst>
              <a:ext uri="{FF2B5EF4-FFF2-40B4-BE49-F238E27FC236}">
                <a16:creationId xmlns:a16="http://schemas.microsoft.com/office/drawing/2014/main" id="{E89A3CCB-3818-87A8-9032-448C77F620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6" name="TextBox 5">
            <a:extLst>
              <a:ext uri="{FF2B5EF4-FFF2-40B4-BE49-F238E27FC236}">
                <a16:creationId xmlns:a16="http://schemas.microsoft.com/office/drawing/2014/main" id="{2108539B-21D0-85E7-AB77-143ABD40EEB1}"/>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8" name="Slide Number Placeholder 5">
            <a:extLst>
              <a:ext uri="{FF2B5EF4-FFF2-40B4-BE49-F238E27FC236}">
                <a16:creationId xmlns:a16="http://schemas.microsoft.com/office/drawing/2014/main" id="{3F76E50B-EEF8-724F-1802-0488D70A46F4}"/>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7FC0E722-8D59-61D9-391E-65CCE154F81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0CF5A558-51C2-73A4-9D8C-5A3B7422BE46}"/>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endParaRPr lang="en-US"/>
          </a:p>
        </p:txBody>
      </p:sp>
    </p:spTree>
    <p:extLst>
      <p:ext uri="{BB962C8B-B14F-4D97-AF65-F5344CB8AC3E}">
        <p14:creationId xmlns:p14="http://schemas.microsoft.com/office/powerpoint/2010/main" val="3330603041"/>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1.4 Bulletpoint text 1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FD95910B-6C91-D297-584C-3D1533AECBE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C76EFBCA-F2A9-DB62-4D3E-60E897B89B5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5E7D3F5-04E5-7DAF-AB76-2DAC95AB476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7D61FF18-0BA2-46E4-85DF-332117D1237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endParaRPr lang="en-US"/>
          </a:p>
        </p:txBody>
      </p:sp>
    </p:spTree>
    <p:extLst>
      <p:ext uri="{BB962C8B-B14F-4D97-AF65-F5344CB8AC3E}">
        <p14:creationId xmlns:p14="http://schemas.microsoft.com/office/powerpoint/2010/main" val="2359605407"/>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23077-8E7B-2ECF-F878-0540F4E8518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9EDCBE8-0494-1097-FAAC-FE248EB41D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9A9C9D-1360-611B-577B-B24E4F65D422}"/>
              </a:ext>
            </a:extLst>
          </p:cNvPr>
          <p:cNvSpPr>
            <a:spLocks noGrp="1"/>
          </p:cNvSpPr>
          <p:nvPr>
            <p:ph type="dt" sz="half" idx="10"/>
          </p:nvPr>
        </p:nvSpPr>
        <p:spPr/>
        <p:txBody>
          <a:bodyPr/>
          <a:lstStyle/>
          <a:p>
            <a:fld id="{2AC05756-D8F1-4827-A962-059F8183233A}" type="datetimeFigureOut">
              <a:rPr lang="en-US" smtClean="0"/>
              <a:t>7/18/2024</a:t>
            </a:fld>
            <a:endParaRPr lang="en-US"/>
          </a:p>
        </p:txBody>
      </p:sp>
      <p:sp>
        <p:nvSpPr>
          <p:cNvPr id="5" name="Footer Placeholder 4">
            <a:extLst>
              <a:ext uri="{FF2B5EF4-FFF2-40B4-BE49-F238E27FC236}">
                <a16:creationId xmlns:a16="http://schemas.microsoft.com/office/drawing/2014/main" id="{7DC26C98-B6BD-8CF1-FC85-C69193C64F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A7317C-9D49-44A6-0FE2-D30F2845BF5C}"/>
              </a:ext>
            </a:extLst>
          </p:cNvPr>
          <p:cNvSpPr>
            <a:spLocks noGrp="1"/>
          </p:cNvSpPr>
          <p:nvPr>
            <p:ph type="sldNum" sz="quarter" idx="12"/>
          </p:nvPr>
        </p:nvSpPr>
        <p:spPr/>
        <p:txBody>
          <a:bodyPr/>
          <a:lstStyle/>
          <a:p>
            <a:fld id="{33E82901-C8F4-4199-8F99-2772CDA9894B}" type="slidenum">
              <a:rPr lang="en-US" smtClean="0"/>
              <a:t>‹#›</a:t>
            </a:fld>
            <a:endParaRPr lang="en-US"/>
          </a:p>
        </p:txBody>
      </p:sp>
    </p:spTree>
    <p:extLst>
      <p:ext uri="{BB962C8B-B14F-4D97-AF65-F5344CB8AC3E}">
        <p14:creationId xmlns:p14="http://schemas.microsoft.com/office/powerpoint/2010/main" val="3487322375"/>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82C9-4DBB-8618-25B5-D29F5ECAD3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FBCB451-E3DE-35C6-0E96-61B95D4EE34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C65616B-AE60-F242-53FB-91F3BB8C02B5}"/>
              </a:ext>
            </a:extLst>
          </p:cNvPr>
          <p:cNvSpPr>
            <a:spLocks noGrp="1"/>
          </p:cNvSpPr>
          <p:nvPr>
            <p:ph type="dt" sz="half" idx="10"/>
          </p:nvPr>
        </p:nvSpPr>
        <p:spPr/>
        <p:txBody>
          <a:bodyPr/>
          <a:lstStyle/>
          <a:p>
            <a:fld id="{2AC05756-D8F1-4827-A962-059F8183233A}" type="datetimeFigureOut">
              <a:rPr lang="en-US" smtClean="0"/>
              <a:t>7/18/2024</a:t>
            </a:fld>
            <a:endParaRPr lang="en-US"/>
          </a:p>
        </p:txBody>
      </p:sp>
      <p:sp>
        <p:nvSpPr>
          <p:cNvPr id="5" name="Footer Placeholder 4">
            <a:extLst>
              <a:ext uri="{FF2B5EF4-FFF2-40B4-BE49-F238E27FC236}">
                <a16:creationId xmlns:a16="http://schemas.microsoft.com/office/drawing/2014/main" id="{326CC1AD-E00B-935B-F064-A6DC7E6C12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B1443F-319E-58C0-A646-BBA2DC1D29E0}"/>
              </a:ext>
            </a:extLst>
          </p:cNvPr>
          <p:cNvSpPr>
            <a:spLocks noGrp="1"/>
          </p:cNvSpPr>
          <p:nvPr>
            <p:ph type="sldNum" sz="quarter" idx="12"/>
          </p:nvPr>
        </p:nvSpPr>
        <p:spPr/>
        <p:txBody>
          <a:bodyPr/>
          <a:lstStyle/>
          <a:p>
            <a:fld id="{33E82901-C8F4-4199-8F99-2772CDA9894B}" type="slidenum">
              <a:rPr lang="en-US" smtClean="0"/>
              <a:t>‹#›</a:t>
            </a:fld>
            <a:endParaRPr lang="en-US"/>
          </a:p>
        </p:txBody>
      </p:sp>
    </p:spTree>
    <p:extLst>
      <p:ext uri="{BB962C8B-B14F-4D97-AF65-F5344CB8AC3E}">
        <p14:creationId xmlns:p14="http://schemas.microsoft.com/office/powerpoint/2010/main" val="423116825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FC7B0-A665-14C5-D280-05CBFC40733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CF43417-463C-8A73-98E2-DB28C5876DE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A88B66F-60A0-31B8-68BC-D16301F1CD46}"/>
              </a:ext>
            </a:extLst>
          </p:cNvPr>
          <p:cNvSpPr>
            <a:spLocks noGrp="1"/>
          </p:cNvSpPr>
          <p:nvPr>
            <p:ph type="dt" sz="half" idx="10"/>
          </p:nvPr>
        </p:nvSpPr>
        <p:spPr/>
        <p:txBody>
          <a:bodyPr/>
          <a:lstStyle/>
          <a:p>
            <a:fld id="{2AC05756-D8F1-4827-A962-059F8183233A}" type="datetimeFigureOut">
              <a:rPr lang="en-US" smtClean="0"/>
              <a:t>7/18/2024</a:t>
            </a:fld>
            <a:endParaRPr lang="en-US"/>
          </a:p>
        </p:txBody>
      </p:sp>
      <p:sp>
        <p:nvSpPr>
          <p:cNvPr id="5" name="Footer Placeholder 4">
            <a:extLst>
              <a:ext uri="{FF2B5EF4-FFF2-40B4-BE49-F238E27FC236}">
                <a16:creationId xmlns:a16="http://schemas.microsoft.com/office/drawing/2014/main" id="{51084487-3056-9775-DCE9-850214E972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00173A-5593-27A8-8C81-0A11F7E120AC}"/>
              </a:ext>
            </a:extLst>
          </p:cNvPr>
          <p:cNvSpPr>
            <a:spLocks noGrp="1"/>
          </p:cNvSpPr>
          <p:nvPr>
            <p:ph type="sldNum" sz="quarter" idx="12"/>
          </p:nvPr>
        </p:nvSpPr>
        <p:spPr/>
        <p:txBody>
          <a:bodyPr/>
          <a:lstStyle/>
          <a:p>
            <a:fld id="{33E82901-C8F4-4199-8F99-2772CDA9894B}" type="slidenum">
              <a:rPr lang="en-US" smtClean="0"/>
              <a:t>‹#›</a:t>
            </a:fld>
            <a:endParaRPr lang="en-US"/>
          </a:p>
        </p:txBody>
      </p:sp>
    </p:spTree>
    <p:extLst>
      <p:ext uri="{BB962C8B-B14F-4D97-AF65-F5344CB8AC3E}">
        <p14:creationId xmlns:p14="http://schemas.microsoft.com/office/powerpoint/2010/main" val="3079733585"/>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154CA-194D-9FED-3E0C-E9F59790BC6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775E071-6A53-A71B-7142-877C2DB2924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F31E07C-8AB6-4B26-9F80-DD8D8A3F875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599D8AE-8A74-470C-D08F-C22C493C2858}"/>
              </a:ext>
            </a:extLst>
          </p:cNvPr>
          <p:cNvSpPr>
            <a:spLocks noGrp="1"/>
          </p:cNvSpPr>
          <p:nvPr>
            <p:ph type="dt" sz="half" idx="10"/>
          </p:nvPr>
        </p:nvSpPr>
        <p:spPr/>
        <p:txBody>
          <a:bodyPr/>
          <a:lstStyle/>
          <a:p>
            <a:fld id="{2AC05756-D8F1-4827-A962-059F8183233A}" type="datetimeFigureOut">
              <a:rPr lang="en-US" smtClean="0"/>
              <a:t>7/18/2024</a:t>
            </a:fld>
            <a:endParaRPr lang="en-US"/>
          </a:p>
        </p:txBody>
      </p:sp>
      <p:sp>
        <p:nvSpPr>
          <p:cNvPr id="6" name="Footer Placeholder 5">
            <a:extLst>
              <a:ext uri="{FF2B5EF4-FFF2-40B4-BE49-F238E27FC236}">
                <a16:creationId xmlns:a16="http://schemas.microsoft.com/office/drawing/2014/main" id="{408D4BDD-3721-4F9F-7074-1BF613C705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B718C9-29F9-31AF-DB57-190F50D02CFC}"/>
              </a:ext>
            </a:extLst>
          </p:cNvPr>
          <p:cNvSpPr>
            <a:spLocks noGrp="1"/>
          </p:cNvSpPr>
          <p:nvPr>
            <p:ph type="sldNum" sz="quarter" idx="12"/>
          </p:nvPr>
        </p:nvSpPr>
        <p:spPr/>
        <p:txBody>
          <a:bodyPr/>
          <a:lstStyle/>
          <a:p>
            <a:fld id="{33E82901-C8F4-4199-8F99-2772CDA9894B}" type="slidenum">
              <a:rPr lang="en-US" smtClean="0"/>
              <a:t>‹#›</a:t>
            </a:fld>
            <a:endParaRPr lang="en-US"/>
          </a:p>
        </p:txBody>
      </p:sp>
    </p:spTree>
    <p:extLst>
      <p:ext uri="{BB962C8B-B14F-4D97-AF65-F5344CB8AC3E}">
        <p14:creationId xmlns:p14="http://schemas.microsoft.com/office/powerpoint/2010/main" val="1221364221"/>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8B4A7-C757-8A11-21E2-16457536623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19683A1-4B1B-D7FC-7176-160B9EDB195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C9D0C5B-A826-57FD-CAE1-C2436CE8D30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FFEB83-D7A9-0703-11E1-70954337B8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9A6CE1A-8061-5093-891C-3A74337A67D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5ACE4FB-2A02-362B-857E-AA1D6919435B}"/>
              </a:ext>
            </a:extLst>
          </p:cNvPr>
          <p:cNvSpPr>
            <a:spLocks noGrp="1"/>
          </p:cNvSpPr>
          <p:nvPr>
            <p:ph type="dt" sz="half" idx="10"/>
          </p:nvPr>
        </p:nvSpPr>
        <p:spPr/>
        <p:txBody>
          <a:bodyPr/>
          <a:lstStyle/>
          <a:p>
            <a:fld id="{2AC05756-D8F1-4827-A962-059F8183233A}" type="datetimeFigureOut">
              <a:rPr lang="en-US" smtClean="0"/>
              <a:t>7/18/2024</a:t>
            </a:fld>
            <a:endParaRPr lang="en-US"/>
          </a:p>
        </p:txBody>
      </p:sp>
      <p:sp>
        <p:nvSpPr>
          <p:cNvPr id="8" name="Footer Placeholder 7">
            <a:extLst>
              <a:ext uri="{FF2B5EF4-FFF2-40B4-BE49-F238E27FC236}">
                <a16:creationId xmlns:a16="http://schemas.microsoft.com/office/drawing/2014/main" id="{A7A38EFF-5AF3-FD63-F512-A0408AE5E9E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50DD0C8-BCBF-B96D-9E4A-23AF9A69D31B}"/>
              </a:ext>
            </a:extLst>
          </p:cNvPr>
          <p:cNvSpPr>
            <a:spLocks noGrp="1"/>
          </p:cNvSpPr>
          <p:nvPr>
            <p:ph type="sldNum" sz="quarter" idx="12"/>
          </p:nvPr>
        </p:nvSpPr>
        <p:spPr/>
        <p:txBody>
          <a:bodyPr/>
          <a:lstStyle/>
          <a:p>
            <a:fld id="{33E82901-C8F4-4199-8F99-2772CDA9894B}" type="slidenum">
              <a:rPr lang="en-US" smtClean="0"/>
              <a:t>‹#›</a:t>
            </a:fld>
            <a:endParaRPr lang="en-US"/>
          </a:p>
        </p:txBody>
      </p:sp>
    </p:spTree>
    <p:extLst>
      <p:ext uri="{BB962C8B-B14F-4D97-AF65-F5344CB8AC3E}">
        <p14:creationId xmlns:p14="http://schemas.microsoft.com/office/powerpoint/2010/main" val="269911455"/>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77F9C-A623-B51F-3110-B110DBB2D0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6E28114-4B80-2D55-C761-7796FA210988}"/>
              </a:ext>
            </a:extLst>
          </p:cNvPr>
          <p:cNvSpPr>
            <a:spLocks noGrp="1"/>
          </p:cNvSpPr>
          <p:nvPr>
            <p:ph type="dt" sz="half" idx="10"/>
          </p:nvPr>
        </p:nvSpPr>
        <p:spPr/>
        <p:txBody>
          <a:bodyPr/>
          <a:lstStyle/>
          <a:p>
            <a:fld id="{2AC05756-D8F1-4827-A962-059F8183233A}" type="datetimeFigureOut">
              <a:rPr lang="en-US" smtClean="0"/>
              <a:t>7/18/2024</a:t>
            </a:fld>
            <a:endParaRPr lang="en-US"/>
          </a:p>
        </p:txBody>
      </p:sp>
      <p:sp>
        <p:nvSpPr>
          <p:cNvPr id="4" name="Footer Placeholder 3">
            <a:extLst>
              <a:ext uri="{FF2B5EF4-FFF2-40B4-BE49-F238E27FC236}">
                <a16:creationId xmlns:a16="http://schemas.microsoft.com/office/drawing/2014/main" id="{C64EC4A0-D7A3-723F-A2B3-B40E89CBC89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9F7D9D-AEE0-D34F-607F-4AEF7A76BF20}"/>
              </a:ext>
            </a:extLst>
          </p:cNvPr>
          <p:cNvSpPr>
            <a:spLocks noGrp="1"/>
          </p:cNvSpPr>
          <p:nvPr>
            <p:ph type="sldNum" sz="quarter" idx="12"/>
          </p:nvPr>
        </p:nvSpPr>
        <p:spPr/>
        <p:txBody>
          <a:bodyPr/>
          <a:lstStyle/>
          <a:p>
            <a:fld id="{33E82901-C8F4-4199-8F99-2772CDA9894B}" type="slidenum">
              <a:rPr lang="en-US" smtClean="0"/>
              <a:t>‹#›</a:t>
            </a:fld>
            <a:endParaRPr lang="en-US"/>
          </a:p>
        </p:txBody>
      </p:sp>
    </p:spTree>
    <p:extLst>
      <p:ext uri="{BB962C8B-B14F-4D97-AF65-F5344CB8AC3E}">
        <p14:creationId xmlns:p14="http://schemas.microsoft.com/office/powerpoint/2010/main" val="24669265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34031B42-8ACF-0D61-11C0-959766C8BDD4}"/>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4" name="TextBox 3">
            <a:extLst>
              <a:ext uri="{FF2B5EF4-FFF2-40B4-BE49-F238E27FC236}">
                <a16:creationId xmlns:a16="http://schemas.microsoft.com/office/drawing/2014/main" id="{AB7B8C5E-2A02-500E-7B19-869B39D9A896}"/>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A844BE02-2625-0E61-D864-E5DDC07EC96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2784AA3F-6A3E-5918-C536-2E26F4BF9C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1067757F-8A0C-FCEC-EB62-74E36F8E5E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945073711"/>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CF08414-DDF5-C028-4C94-335FE4EF98CE}"/>
              </a:ext>
            </a:extLst>
          </p:cNvPr>
          <p:cNvSpPr>
            <a:spLocks noGrp="1"/>
          </p:cNvSpPr>
          <p:nvPr>
            <p:ph type="dt" sz="half" idx="10"/>
          </p:nvPr>
        </p:nvSpPr>
        <p:spPr/>
        <p:txBody>
          <a:bodyPr/>
          <a:lstStyle/>
          <a:p>
            <a:fld id="{2AC05756-D8F1-4827-A962-059F8183233A}" type="datetimeFigureOut">
              <a:rPr lang="en-US" smtClean="0"/>
              <a:t>7/18/2024</a:t>
            </a:fld>
            <a:endParaRPr lang="en-US"/>
          </a:p>
        </p:txBody>
      </p:sp>
      <p:sp>
        <p:nvSpPr>
          <p:cNvPr id="3" name="Footer Placeholder 2">
            <a:extLst>
              <a:ext uri="{FF2B5EF4-FFF2-40B4-BE49-F238E27FC236}">
                <a16:creationId xmlns:a16="http://schemas.microsoft.com/office/drawing/2014/main" id="{DE538C87-82F1-6E2A-C00E-5003A3A375A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0EE6378-B185-FD6C-A042-0F08881E28BB}"/>
              </a:ext>
            </a:extLst>
          </p:cNvPr>
          <p:cNvSpPr>
            <a:spLocks noGrp="1"/>
          </p:cNvSpPr>
          <p:nvPr>
            <p:ph type="sldNum" sz="quarter" idx="12"/>
          </p:nvPr>
        </p:nvSpPr>
        <p:spPr/>
        <p:txBody>
          <a:bodyPr/>
          <a:lstStyle/>
          <a:p>
            <a:fld id="{33E82901-C8F4-4199-8F99-2772CDA9894B}" type="slidenum">
              <a:rPr lang="en-US" smtClean="0"/>
              <a:t>‹#›</a:t>
            </a:fld>
            <a:endParaRPr lang="en-US"/>
          </a:p>
        </p:txBody>
      </p:sp>
    </p:spTree>
    <p:extLst>
      <p:ext uri="{BB962C8B-B14F-4D97-AF65-F5344CB8AC3E}">
        <p14:creationId xmlns:p14="http://schemas.microsoft.com/office/powerpoint/2010/main" val="1387726776"/>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DA47C-938B-40F2-9AA3-7C15610ECF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67EE32F-DBCE-30A1-5FF1-5944D23093E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461BD23-82CC-AE3D-40F1-10E116E1CE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CB2BFC0-5298-8352-9066-2C1A197E99B7}"/>
              </a:ext>
            </a:extLst>
          </p:cNvPr>
          <p:cNvSpPr>
            <a:spLocks noGrp="1"/>
          </p:cNvSpPr>
          <p:nvPr>
            <p:ph type="dt" sz="half" idx="10"/>
          </p:nvPr>
        </p:nvSpPr>
        <p:spPr/>
        <p:txBody>
          <a:bodyPr/>
          <a:lstStyle/>
          <a:p>
            <a:fld id="{2AC05756-D8F1-4827-A962-059F8183233A}" type="datetimeFigureOut">
              <a:rPr lang="en-US" smtClean="0"/>
              <a:t>7/18/2024</a:t>
            </a:fld>
            <a:endParaRPr lang="en-US"/>
          </a:p>
        </p:txBody>
      </p:sp>
      <p:sp>
        <p:nvSpPr>
          <p:cNvPr id="6" name="Footer Placeholder 5">
            <a:extLst>
              <a:ext uri="{FF2B5EF4-FFF2-40B4-BE49-F238E27FC236}">
                <a16:creationId xmlns:a16="http://schemas.microsoft.com/office/drawing/2014/main" id="{D9ED7D8B-45B0-30E5-357E-D3EF13D464A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3779E39-2609-A4A9-01C8-B3675A17D05E}"/>
              </a:ext>
            </a:extLst>
          </p:cNvPr>
          <p:cNvSpPr>
            <a:spLocks noGrp="1"/>
          </p:cNvSpPr>
          <p:nvPr>
            <p:ph type="sldNum" sz="quarter" idx="12"/>
          </p:nvPr>
        </p:nvSpPr>
        <p:spPr/>
        <p:txBody>
          <a:bodyPr/>
          <a:lstStyle/>
          <a:p>
            <a:fld id="{33E82901-C8F4-4199-8F99-2772CDA9894B}" type="slidenum">
              <a:rPr lang="en-US" smtClean="0"/>
              <a:t>‹#›</a:t>
            </a:fld>
            <a:endParaRPr lang="en-US"/>
          </a:p>
        </p:txBody>
      </p:sp>
    </p:spTree>
    <p:extLst>
      <p:ext uri="{BB962C8B-B14F-4D97-AF65-F5344CB8AC3E}">
        <p14:creationId xmlns:p14="http://schemas.microsoft.com/office/powerpoint/2010/main" val="2390837130"/>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7EC49-9498-A8D9-DE62-4D1517B6E6B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966BF12-BAFF-D05E-6148-E6B8A75F3FC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587985D-D229-6FDB-BC1D-561A630A69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060B61B-AA70-576E-0967-5AC6BC9B90E9}"/>
              </a:ext>
            </a:extLst>
          </p:cNvPr>
          <p:cNvSpPr>
            <a:spLocks noGrp="1"/>
          </p:cNvSpPr>
          <p:nvPr>
            <p:ph type="dt" sz="half" idx="10"/>
          </p:nvPr>
        </p:nvSpPr>
        <p:spPr/>
        <p:txBody>
          <a:bodyPr/>
          <a:lstStyle/>
          <a:p>
            <a:fld id="{2AC05756-D8F1-4827-A962-059F8183233A}" type="datetimeFigureOut">
              <a:rPr lang="en-US" smtClean="0"/>
              <a:t>7/18/2024</a:t>
            </a:fld>
            <a:endParaRPr lang="en-US"/>
          </a:p>
        </p:txBody>
      </p:sp>
      <p:sp>
        <p:nvSpPr>
          <p:cNvPr id="6" name="Footer Placeholder 5">
            <a:extLst>
              <a:ext uri="{FF2B5EF4-FFF2-40B4-BE49-F238E27FC236}">
                <a16:creationId xmlns:a16="http://schemas.microsoft.com/office/drawing/2014/main" id="{5EFC9D21-15A8-83D2-D888-34BE2709CA4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1AD2E3-B92C-4692-A596-BD895AF8FAC3}"/>
              </a:ext>
            </a:extLst>
          </p:cNvPr>
          <p:cNvSpPr>
            <a:spLocks noGrp="1"/>
          </p:cNvSpPr>
          <p:nvPr>
            <p:ph type="sldNum" sz="quarter" idx="12"/>
          </p:nvPr>
        </p:nvSpPr>
        <p:spPr/>
        <p:txBody>
          <a:bodyPr/>
          <a:lstStyle/>
          <a:p>
            <a:fld id="{33E82901-C8F4-4199-8F99-2772CDA9894B}" type="slidenum">
              <a:rPr lang="en-US" smtClean="0"/>
              <a:t>‹#›</a:t>
            </a:fld>
            <a:endParaRPr lang="en-US"/>
          </a:p>
        </p:txBody>
      </p:sp>
    </p:spTree>
    <p:extLst>
      <p:ext uri="{BB962C8B-B14F-4D97-AF65-F5344CB8AC3E}">
        <p14:creationId xmlns:p14="http://schemas.microsoft.com/office/powerpoint/2010/main" val="283780590"/>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5D329-4A2A-54AA-1BCC-DD87C415C58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F074833-997F-70FE-892B-98A6BAE867A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DFBAD2E-A3C0-9C13-AAAF-E99AEFD1E485}"/>
              </a:ext>
            </a:extLst>
          </p:cNvPr>
          <p:cNvSpPr>
            <a:spLocks noGrp="1"/>
          </p:cNvSpPr>
          <p:nvPr>
            <p:ph type="dt" sz="half" idx="10"/>
          </p:nvPr>
        </p:nvSpPr>
        <p:spPr/>
        <p:txBody>
          <a:bodyPr/>
          <a:lstStyle/>
          <a:p>
            <a:fld id="{2AC05756-D8F1-4827-A962-059F8183233A}" type="datetimeFigureOut">
              <a:rPr lang="en-US" smtClean="0"/>
              <a:t>7/18/2024</a:t>
            </a:fld>
            <a:endParaRPr lang="en-US"/>
          </a:p>
        </p:txBody>
      </p:sp>
      <p:sp>
        <p:nvSpPr>
          <p:cNvPr id="5" name="Footer Placeholder 4">
            <a:extLst>
              <a:ext uri="{FF2B5EF4-FFF2-40B4-BE49-F238E27FC236}">
                <a16:creationId xmlns:a16="http://schemas.microsoft.com/office/drawing/2014/main" id="{DBFD77F7-122A-F3B6-7E2C-2A6F430294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D8023E-92A4-2098-6A06-633277F2F6EA}"/>
              </a:ext>
            </a:extLst>
          </p:cNvPr>
          <p:cNvSpPr>
            <a:spLocks noGrp="1"/>
          </p:cNvSpPr>
          <p:nvPr>
            <p:ph type="sldNum" sz="quarter" idx="12"/>
          </p:nvPr>
        </p:nvSpPr>
        <p:spPr/>
        <p:txBody>
          <a:bodyPr/>
          <a:lstStyle/>
          <a:p>
            <a:fld id="{33E82901-C8F4-4199-8F99-2772CDA9894B}" type="slidenum">
              <a:rPr lang="en-US" smtClean="0"/>
              <a:t>‹#›</a:t>
            </a:fld>
            <a:endParaRPr lang="en-US"/>
          </a:p>
        </p:txBody>
      </p:sp>
    </p:spTree>
    <p:extLst>
      <p:ext uri="{BB962C8B-B14F-4D97-AF65-F5344CB8AC3E}">
        <p14:creationId xmlns:p14="http://schemas.microsoft.com/office/powerpoint/2010/main" val="39195349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64B1452-A965-3DE1-35D5-0069E11916C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1A15348-9D19-3DFE-2B8B-F5DC04A5679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C4455C-CBB8-53DC-332D-EC2E3F5B79EA}"/>
              </a:ext>
            </a:extLst>
          </p:cNvPr>
          <p:cNvSpPr>
            <a:spLocks noGrp="1"/>
          </p:cNvSpPr>
          <p:nvPr>
            <p:ph type="dt" sz="half" idx="10"/>
          </p:nvPr>
        </p:nvSpPr>
        <p:spPr/>
        <p:txBody>
          <a:bodyPr/>
          <a:lstStyle/>
          <a:p>
            <a:fld id="{2AC05756-D8F1-4827-A962-059F8183233A}" type="datetimeFigureOut">
              <a:rPr lang="en-US" smtClean="0"/>
              <a:t>7/18/2024</a:t>
            </a:fld>
            <a:endParaRPr lang="en-US"/>
          </a:p>
        </p:txBody>
      </p:sp>
      <p:sp>
        <p:nvSpPr>
          <p:cNvPr id="5" name="Footer Placeholder 4">
            <a:extLst>
              <a:ext uri="{FF2B5EF4-FFF2-40B4-BE49-F238E27FC236}">
                <a16:creationId xmlns:a16="http://schemas.microsoft.com/office/drawing/2014/main" id="{49004D59-A87F-2390-4D6E-363AF0F54D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3644C6-D784-E6F9-2B29-F1503A4D3CA5}"/>
              </a:ext>
            </a:extLst>
          </p:cNvPr>
          <p:cNvSpPr>
            <a:spLocks noGrp="1"/>
          </p:cNvSpPr>
          <p:nvPr>
            <p:ph type="sldNum" sz="quarter" idx="12"/>
          </p:nvPr>
        </p:nvSpPr>
        <p:spPr/>
        <p:txBody>
          <a:bodyPr/>
          <a:lstStyle/>
          <a:p>
            <a:fld id="{33E82901-C8F4-4199-8F99-2772CDA9894B}" type="slidenum">
              <a:rPr lang="en-US" smtClean="0"/>
              <a:t>‹#›</a:t>
            </a:fld>
            <a:endParaRPr lang="en-US"/>
          </a:p>
        </p:txBody>
      </p:sp>
    </p:spTree>
    <p:extLst>
      <p:ext uri="{BB962C8B-B14F-4D97-AF65-F5344CB8AC3E}">
        <p14:creationId xmlns:p14="http://schemas.microsoft.com/office/powerpoint/2010/main" val="1826497257"/>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1" name="Picture Placeholder 9">
            <a:extLst>
              <a:ext uri="{FF2B5EF4-FFF2-40B4-BE49-F238E27FC236}">
                <a16:creationId xmlns:a16="http://schemas.microsoft.com/office/drawing/2014/main" id="{D1D313A2-A4D4-40DF-A0C2-C29F64168525}"/>
              </a:ext>
            </a:extLst>
          </p:cNvPr>
          <p:cNvSpPr>
            <a:spLocks noGrp="1"/>
          </p:cNvSpPr>
          <p:nvPr>
            <p:ph type="pic" sz="quarter" idx="13"/>
          </p:nvPr>
        </p:nvSpPr>
        <p:spPr>
          <a:xfrm>
            <a:off x="0" y="0"/>
            <a:ext cx="12192000" cy="6858000"/>
          </a:xfrm>
        </p:spPr>
        <p:txBody>
          <a:bodyPr/>
          <a:lstStyle/>
          <a:p>
            <a:r>
              <a:rPr lang="en-US" noProof="0"/>
              <a:t>Click icon to add picture</a:t>
            </a:r>
          </a:p>
        </p:txBody>
      </p:sp>
      <p:sp>
        <p:nvSpPr>
          <p:cNvPr id="3" name="Subtitle 2"/>
          <p:cNvSpPr>
            <a:spLocks noGrp="1"/>
          </p:cNvSpPr>
          <p:nvPr>
            <p:ph type="subTitle" idx="1"/>
          </p:nvPr>
        </p:nvSpPr>
        <p:spPr>
          <a:xfrm>
            <a:off x="1212850" y="4508500"/>
            <a:ext cx="5118100" cy="1279652"/>
          </a:xfrm>
        </p:spPr>
        <p:txBody>
          <a:bodyPr lIns="91440" rIns="91440">
            <a:normAutofit/>
          </a:bodyPr>
          <a:lstStyle>
            <a:lvl1pPr marL="0" indent="0" algn="l">
              <a:buNone/>
              <a:defRPr sz="2400" cap="all" spc="200" baseline="0">
                <a:solidFill>
                  <a:schemeClr val="bg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a:t>Click to edit Master subtitle style</a:t>
            </a:r>
          </a:p>
        </p:txBody>
      </p:sp>
      <p:sp>
        <p:nvSpPr>
          <p:cNvPr id="2" name="Title 1"/>
          <p:cNvSpPr>
            <a:spLocks noGrp="1"/>
          </p:cNvSpPr>
          <p:nvPr>
            <p:ph type="ctrTitle"/>
          </p:nvPr>
        </p:nvSpPr>
        <p:spPr>
          <a:xfrm>
            <a:off x="1212850" y="2057400"/>
            <a:ext cx="5118100" cy="1929066"/>
          </a:xfrm>
        </p:spPr>
        <p:txBody>
          <a:bodyPr anchor="b">
            <a:noAutofit/>
          </a:bodyPr>
          <a:lstStyle>
            <a:lvl1pPr algn="l">
              <a:lnSpc>
                <a:spcPct val="90000"/>
              </a:lnSpc>
              <a:defRPr sz="5400" b="1" spc="-50" baseline="0">
                <a:solidFill>
                  <a:schemeClr val="bg1"/>
                </a:solidFill>
                <a:latin typeface="+mn-lt"/>
              </a:defRPr>
            </a:lvl1pPr>
          </a:lstStyle>
          <a:p>
            <a:r>
              <a:rPr lang="en-US" noProof="0"/>
              <a:t>Click to edit Master title style</a:t>
            </a:r>
          </a:p>
        </p:txBody>
      </p:sp>
    </p:spTree>
    <p:extLst>
      <p:ext uri="{BB962C8B-B14F-4D97-AF65-F5344CB8AC3E}">
        <p14:creationId xmlns:p14="http://schemas.microsoft.com/office/powerpoint/2010/main" val="3140703978"/>
      </p:ext>
    </p:extLst>
  </p:cSld>
  <p:clrMapOvr>
    <a:masterClrMapping/>
  </p:clrMapOvr>
  <p:transition spd="med">
    <p:pull/>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7C93D4F-3003-4D58-9AFB-356A0F800F42}"/>
              </a:ext>
            </a:extLst>
          </p:cNvPr>
          <p:cNvSpPr/>
          <p:nvPr userDrawn="1"/>
        </p:nvSpPr>
        <p:spPr>
          <a:xfrm>
            <a:off x="6394450" y="0"/>
            <a:ext cx="15392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 name="Footer Placeholder 4">
            <a:extLst>
              <a:ext uri="{FF2B5EF4-FFF2-40B4-BE49-F238E27FC236}">
                <a16:creationId xmlns:a16="http://schemas.microsoft.com/office/drawing/2014/main" id="{051A78A9-3DFF-4937-A9F2-5D8CF495F367}"/>
              </a:ext>
            </a:extLst>
          </p:cNvPr>
          <p:cNvSpPr>
            <a:spLocks noGrp="1"/>
          </p:cNvSpPr>
          <p:nvPr>
            <p:ph type="ftr" sz="quarter" idx="11"/>
          </p:nvPr>
        </p:nvSpPr>
        <p:spPr>
          <a:xfrm>
            <a:off x="1097279" y="6446838"/>
            <a:ext cx="4846321" cy="365125"/>
          </a:xfrm>
          <a:prstGeom prst="rect">
            <a:avLst/>
          </a:prstGeom>
        </p:spPr>
        <p:txBody>
          <a:bodyPr/>
          <a:lstStyle/>
          <a:p>
            <a:r>
              <a:rPr lang="en-US" noProof="0"/>
              <a:t>Collaborate. Integrate. Succeed. </a:t>
            </a:r>
          </a:p>
        </p:txBody>
      </p:sp>
      <p:sp>
        <p:nvSpPr>
          <p:cNvPr id="10" name="Picture Placeholder 9">
            <a:extLst>
              <a:ext uri="{FF2B5EF4-FFF2-40B4-BE49-F238E27FC236}">
                <a16:creationId xmlns:a16="http://schemas.microsoft.com/office/drawing/2014/main" id="{86028FDE-6655-4B55-B3B4-5B366034E8A8}"/>
              </a:ext>
            </a:extLst>
          </p:cNvPr>
          <p:cNvSpPr>
            <a:spLocks noGrp="1"/>
          </p:cNvSpPr>
          <p:nvPr>
            <p:ph type="pic" sz="quarter" idx="13"/>
          </p:nvPr>
        </p:nvSpPr>
        <p:spPr>
          <a:xfrm>
            <a:off x="0" y="0"/>
            <a:ext cx="6311900" cy="6858000"/>
          </a:xfrm>
        </p:spPr>
        <p:txBody>
          <a:bodyPr/>
          <a:lstStyle>
            <a:lvl1pPr marL="0" indent="0">
              <a:buNone/>
              <a:defRPr/>
            </a:lvl1pPr>
          </a:lstStyle>
          <a:p>
            <a:endParaRPr lang="en-US" noProof="0"/>
          </a:p>
        </p:txBody>
      </p:sp>
      <p:sp>
        <p:nvSpPr>
          <p:cNvPr id="2" name="Title 1"/>
          <p:cNvSpPr>
            <a:spLocks noGrp="1"/>
          </p:cNvSpPr>
          <p:nvPr>
            <p:ph type="ctrTitle"/>
          </p:nvPr>
        </p:nvSpPr>
        <p:spPr>
          <a:xfrm>
            <a:off x="6630926" y="1069848"/>
            <a:ext cx="4526280" cy="3227514"/>
          </a:xfrm>
        </p:spPr>
        <p:txBody>
          <a:bodyPr anchor="b">
            <a:normAutofit/>
          </a:bodyPr>
          <a:lstStyle>
            <a:lvl1pPr algn="l">
              <a:lnSpc>
                <a:spcPct val="90000"/>
              </a:lnSpc>
              <a:defRPr sz="5400" b="1" spc="-50" baseline="0">
                <a:solidFill>
                  <a:schemeClr val="accent1"/>
                </a:solidFill>
                <a:latin typeface="+mj-lt"/>
              </a:defRPr>
            </a:lvl1pPr>
          </a:lstStyle>
          <a:p>
            <a:r>
              <a:rPr lang="en-US" noProof="0"/>
              <a:t>Click to edit Master title style</a:t>
            </a:r>
          </a:p>
        </p:txBody>
      </p:sp>
      <p:sp>
        <p:nvSpPr>
          <p:cNvPr id="3" name="Subtitle 2"/>
          <p:cNvSpPr>
            <a:spLocks noGrp="1"/>
          </p:cNvSpPr>
          <p:nvPr>
            <p:ph type="subTitle" idx="1"/>
          </p:nvPr>
        </p:nvSpPr>
        <p:spPr>
          <a:xfrm>
            <a:off x="6632171" y="4508500"/>
            <a:ext cx="4526280" cy="1279652"/>
          </a:xfrm>
        </p:spPr>
        <p:txBody>
          <a:bodyPr lIns="91440" rIns="91440">
            <a:normAutofit/>
          </a:bodyPr>
          <a:lstStyle>
            <a:lvl1pPr marL="0" indent="0" algn="l">
              <a:buNone/>
              <a:defRPr sz="2400" cap="all" spc="200" baseline="0">
                <a:solidFill>
                  <a:schemeClr val="bg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a:t>Click to edit Master subtitle style</a:t>
            </a:r>
          </a:p>
        </p:txBody>
      </p:sp>
      <p:sp>
        <p:nvSpPr>
          <p:cNvPr id="11" name="Rectangle 10">
            <a:extLst>
              <a:ext uri="{FF2B5EF4-FFF2-40B4-BE49-F238E27FC236}">
                <a16:creationId xmlns:a16="http://schemas.microsoft.com/office/drawing/2014/main" id="{6D3E1BBA-670B-4CAE-B839-50ADB23DDBC6}"/>
              </a:ext>
            </a:extLst>
          </p:cNvPr>
          <p:cNvSpPr/>
          <p:nvPr userDrawn="1"/>
        </p:nvSpPr>
        <p:spPr>
          <a:xfrm>
            <a:off x="6311900" y="0"/>
            <a:ext cx="15392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1424108379"/>
      </p:ext>
    </p:extLst>
  </p:cSld>
  <p:clrMapOvr>
    <a:masterClrMapping/>
  </p:clrMapOvr>
  <p:transition spd="med">
    <p:pull/>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4257191"/>
      </p:ext>
    </p:extLst>
  </p:cSld>
  <p:clrMapOvr>
    <a:masterClrMapping/>
  </p:clrMapOvr>
  <p:transition spd="med">
    <p:pull/>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15" name="Parallélogramme 14">
            <a:extLst>
              <a:ext uri="{FF2B5EF4-FFF2-40B4-BE49-F238E27FC236}">
                <a16:creationId xmlns:a16="http://schemas.microsoft.com/office/drawing/2014/main" id="{98B82A56-7790-48EC-983D-AB8F703699B2}"/>
              </a:ext>
            </a:extLst>
          </p:cNvPr>
          <p:cNvSpPr/>
          <p:nvPr userDrawn="1"/>
        </p:nvSpPr>
        <p:spPr>
          <a:xfrm>
            <a:off x="7972121" y="0"/>
            <a:ext cx="2857500" cy="6858000"/>
          </a:xfrm>
          <a:prstGeom prst="parallelogram">
            <a:avLst>
              <a:gd name="adj" fmla="val 0"/>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sp>
        <p:nvSpPr>
          <p:cNvPr id="13" name="Rectangle 12">
            <a:extLst>
              <a:ext uri="{FF2B5EF4-FFF2-40B4-BE49-F238E27FC236}">
                <a16:creationId xmlns:a16="http://schemas.microsoft.com/office/drawing/2014/main" id="{33820398-8D1F-4543-ABA0-7A67C38769B3}"/>
              </a:ext>
            </a:extLst>
          </p:cNvPr>
          <p:cNvSpPr/>
          <p:nvPr userDrawn="1"/>
        </p:nvSpPr>
        <p:spPr>
          <a:xfrm>
            <a:off x="2451099" y="3568700"/>
            <a:ext cx="8721725" cy="2308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1400" noProof="0"/>
          </a:p>
        </p:txBody>
      </p:sp>
      <p:sp>
        <p:nvSpPr>
          <p:cNvPr id="2" name="Title 1"/>
          <p:cNvSpPr>
            <a:spLocks noGrp="1"/>
          </p:cNvSpPr>
          <p:nvPr>
            <p:ph type="title"/>
          </p:nvPr>
        </p:nvSpPr>
        <p:spPr>
          <a:xfrm>
            <a:off x="2641599" y="3746500"/>
            <a:ext cx="8331202" cy="1308100"/>
          </a:xfrm>
        </p:spPr>
        <p:txBody>
          <a:bodyPr anchor="b" anchorCtr="0">
            <a:noAutofit/>
          </a:bodyPr>
          <a:lstStyle>
            <a:lvl1pPr>
              <a:lnSpc>
                <a:spcPct val="90000"/>
              </a:lnSpc>
              <a:defRPr sz="4800" b="1">
                <a:solidFill>
                  <a:schemeClr val="tx1"/>
                </a:solidFill>
                <a:latin typeface="+mj-lt"/>
              </a:defRPr>
            </a:lvl1pPr>
          </a:lstStyle>
          <a:p>
            <a:r>
              <a:rPr lang="en-US" noProof="0"/>
              <a:t>Click to edit Master title style</a:t>
            </a:r>
          </a:p>
        </p:txBody>
      </p:sp>
      <p:sp>
        <p:nvSpPr>
          <p:cNvPr id="3" name="Text Placeholder 2"/>
          <p:cNvSpPr>
            <a:spLocks noGrp="1"/>
          </p:cNvSpPr>
          <p:nvPr>
            <p:ph type="body" idx="1"/>
          </p:nvPr>
        </p:nvSpPr>
        <p:spPr>
          <a:xfrm>
            <a:off x="2641600" y="5219700"/>
            <a:ext cx="8331201" cy="586740"/>
          </a:xfrm>
        </p:spPr>
        <p:txBody>
          <a:bodyPr lIns="91440" rIns="91440" anchor="t" anchorCtr="0">
            <a:normAutofit/>
          </a:bodyPr>
          <a:lstStyle>
            <a:lvl1pPr marL="0" indent="0">
              <a:buNone/>
              <a:defRPr sz="2400" cap="all" spc="200" baseline="0">
                <a:solidFill>
                  <a:schemeClr val="bg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a:t>Click to edit Master text styles</a:t>
            </a:r>
          </a:p>
        </p:txBody>
      </p:sp>
      <p:sp>
        <p:nvSpPr>
          <p:cNvPr id="14" name="Rectangle 13">
            <a:extLst>
              <a:ext uri="{FF2B5EF4-FFF2-40B4-BE49-F238E27FC236}">
                <a16:creationId xmlns:a16="http://schemas.microsoft.com/office/drawing/2014/main" id="{45757C57-BBBA-44C6-9A4D-12F5D1E400AA}"/>
              </a:ext>
            </a:extLst>
          </p:cNvPr>
          <p:cNvSpPr/>
          <p:nvPr userDrawn="1"/>
        </p:nvSpPr>
        <p:spPr>
          <a:xfrm>
            <a:off x="3752850" y="3469101"/>
            <a:ext cx="5118100" cy="125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1741383186"/>
      </p:ext>
    </p:extLst>
  </p:cSld>
  <p:clrMapOvr>
    <a:masterClrMapping/>
  </p:clrMapOvr>
  <p:transition spd="med">
    <p:pull/>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3820398-8D1F-4543-ABA0-7A67C38769B3}"/>
              </a:ext>
            </a:extLst>
          </p:cNvPr>
          <p:cNvSpPr/>
          <p:nvPr userDrawn="1"/>
        </p:nvSpPr>
        <p:spPr>
          <a:xfrm>
            <a:off x="1735138" y="3568700"/>
            <a:ext cx="8721725" cy="2308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1400" noProof="0"/>
          </a:p>
        </p:txBody>
      </p:sp>
      <p:sp>
        <p:nvSpPr>
          <p:cNvPr id="2" name="Title 1"/>
          <p:cNvSpPr>
            <a:spLocks noGrp="1"/>
          </p:cNvSpPr>
          <p:nvPr>
            <p:ph type="title"/>
          </p:nvPr>
        </p:nvSpPr>
        <p:spPr>
          <a:xfrm>
            <a:off x="1930399" y="3746500"/>
            <a:ext cx="8331202" cy="1308100"/>
          </a:xfrm>
        </p:spPr>
        <p:txBody>
          <a:bodyPr anchor="b" anchorCtr="0">
            <a:noAutofit/>
          </a:bodyPr>
          <a:lstStyle>
            <a:lvl1pPr algn="ctr">
              <a:lnSpc>
                <a:spcPct val="90000"/>
              </a:lnSpc>
              <a:defRPr sz="4800" b="1">
                <a:solidFill>
                  <a:schemeClr val="tx1"/>
                </a:solidFill>
                <a:latin typeface="+mn-lt"/>
              </a:defRPr>
            </a:lvl1pPr>
          </a:lstStyle>
          <a:p>
            <a:r>
              <a:rPr lang="en-US" noProof="0"/>
              <a:t>Click to edit Master title style</a:t>
            </a:r>
          </a:p>
        </p:txBody>
      </p:sp>
      <p:sp>
        <p:nvSpPr>
          <p:cNvPr id="3" name="Text Placeholder 2"/>
          <p:cNvSpPr>
            <a:spLocks noGrp="1"/>
          </p:cNvSpPr>
          <p:nvPr>
            <p:ph type="body" idx="1"/>
          </p:nvPr>
        </p:nvSpPr>
        <p:spPr>
          <a:xfrm>
            <a:off x="1930400" y="5219700"/>
            <a:ext cx="8331201" cy="586740"/>
          </a:xfrm>
        </p:spPr>
        <p:txBody>
          <a:bodyPr lIns="91440" rIns="91440" anchor="t" anchorCtr="0">
            <a:normAutofit/>
          </a:bodyPr>
          <a:lstStyle>
            <a:lvl1pPr marL="0" indent="0" algn="ctr">
              <a:buNone/>
              <a:defRPr sz="2400" cap="all" spc="200" baseline="0">
                <a:solidFill>
                  <a:schemeClr val="bg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a:t>Click to edit Master text styles</a:t>
            </a:r>
          </a:p>
        </p:txBody>
      </p:sp>
      <p:sp>
        <p:nvSpPr>
          <p:cNvPr id="14" name="Rectangle 13">
            <a:extLst>
              <a:ext uri="{FF2B5EF4-FFF2-40B4-BE49-F238E27FC236}">
                <a16:creationId xmlns:a16="http://schemas.microsoft.com/office/drawing/2014/main" id="{45757C57-BBBA-44C6-9A4D-12F5D1E400AA}"/>
              </a:ext>
            </a:extLst>
          </p:cNvPr>
          <p:cNvSpPr/>
          <p:nvPr userDrawn="1"/>
        </p:nvSpPr>
        <p:spPr>
          <a:xfrm>
            <a:off x="3536950" y="3469101"/>
            <a:ext cx="5118100" cy="125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3730865315"/>
      </p:ext>
    </p:extLst>
  </p:cSld>
  <p:clrMapOvr>
    <a:masterClrMapping/>
  </p:clrMapOvr>
  <p:transition spd="med">
    <p:pull/>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2.2 Title dark">
    <p:bg>
      <p:bgPr>
        <a:gradFill>
          <a:gsLst>
            <a:gs pos="53100">
              <a:schemeClr val="accent1">
                <a:lumMod val="59000"/>
              </a:schemeClr>
            </a:gs>
            <a:gs pos="0">
              <a:schemeClr val="tx1">
                <a:lumMod val="96000"/>
              </a:schemeClr>
            </a:gs>
            <a:gs pos="100000">
              <a:schemeClr val="accent1">
                <a:lumMod val="30000"/>
              </a:schemeClr>
            </a:gs>
          </a:gsLst>
          <a:lin ang="12000000" scaled="0"/>
        </a:gra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B937390-63D5-3E5C-5017-6C0EFAC8BC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 Placeholder 42">
            <a:extLst>
              <a:ext uri="{FF2B5EF4-FFF2-40B4-BE49-F238E27FC236}">
                <a16:creationId xmlns:a16="http://schemas.microsoft.com/office/drawing/2014/main" id="{65BB4E9F-2E29-3042-C3C2-66B30120BBAE}"/>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Tree>
    <p:extLst>
      <p:ext uri="{BB962C8B-B14F-4D97-AF65-F5344CB8AC3E}">
        <p14:creationId xmlns:p14="http://schemas.microsoft.com/office/powerpoint/2010/main" val="3807920969"/>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p>
        </p:txBody>
      </p:sp>
      <p:sp>
        <p:nvSpPr>
          <p:cNvPr id="3" name="Content Placeholder 2"/>
          <p:cNvSpPr>
            <a:spLocks noGrp="1"/>
          </p:cNvSpPr>
          <p:nvPr>
            <p:ph sz="half" idx="1"/>
          </p:nvPr>
        </p:nvSpPr>
        <p:spPr>
          <a:xfrm>
            <a:off x="1097280" y="2120900"/>
            <a:ext cx="4639736" cy="37481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15944" y="2120900"/>
            <a:ext cx="4639736" cy="37481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a:xfrm>
            <a:off x="1097279" y="6446838"/>
            <a:ext cx="4846321" cy="365125"/>
          </a:xfrm>
          <a:prstGeom prst="rect">
            <a:avLst/>
          </a:prstGeom>
        </p:spPr>
        <p:txBody>
          <a:bodyPr/>
          <a:lstStyle>
            <a:lvl1pPr>
              <a:defRPr/>
            </a:lvl1pPr>
          </a:lstStyle>
          <a:p>
            <a:r>
              <a:rPr lang="en-US"/>
              <a:t>Collaborate. Integrate. Succeed. </a:t>
            </a:r>
          </a:p>
        </p:txBody>
      </p:sp>
    </p:spTree>
    <p:extLst>
      <p:ext uri="{BB962C8B-B14F-4D97-AF65-F5344CB8AC3E}">
        <p14:creationId xmlns:p14="http://schemas.microsoft.com/office/powerpoint/2010/main" val="1838094312"/>
      </p:ext>
    </p:extLst>
  </p:cSld>
  <p:clrMapOvr>
    <a:masterClrMapping/>
  </p:clrMapOvr>
  <p:transition spd="med">
    <p:pull/>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p>
        </p:txBody>
      </p:sp>
      <p:sp>
        <p:nvSpPr>
          <p:cNvPr id="3" name="Text Placeholder 2"/>
          <p:cNvSpPr>
            <a:spLocks noGrp="1"/>
          </p:cNvSpPr>
          <p:nvPr>
            <p:ph type="body" idx="1"/>
          </p:nvPr>
        </p:nvSpPr>
        <p:spPr>
          <a:xfrm>
            <a:off x="1097280" y="2057400"/>
            <a:ext cx="4639736" cy="736282"/>
          </a:xfrm>
        </p:spPr>
        <p:txBody>
          <a:bodyPr lIns="91440" rIns="91440" anchor="ctr">
            <a:noAutofit/>
          </a:bodyPr>
          <a:lstStyle>
            <a:lvl1pPr marL="0" indent="0" algn="l">
              <a:buNone/>
              <a:defRPr sz="2400" b="1"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86731" y="2958274"/>
            <a:ext cx="4639736" cy="2910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515944" y="2057400"/>
            <a:ext cx="4639736" cy="736282"/>
          </a:xfrm>
        </p:spPr>
        <p:txBody>
          <a:bodyPr lIns="91440" rIns="91440" anchor="ctr">
            <a:noAutofit/>
          </a:bodyPr>
          <a:lstStyle>
            <a:lvl1pPr marL="0" indent="0">
              <a:buNone/>
              <a:defRPr sz="2400" b="1"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5395" y="2958273"/>
            <a:ext cx="4639736" cy="2910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a:xfrm>
            <a:off x="1097279" y="6446838"/>
            <a:ext cx="4846321" cy="365125"/>
          </a:xfrm>
          <a:prstGeom prst="rect">
            <a:avLst/>
          </a:prstGeom>
        </p:spPr>
        <p:txBody>
          <a:bodyPr/>
          <a:lstStyle/>
          <a:p>
            <a:r>
              <a:rPr lang="en-US"/>
              <a:t>Collaborate. Integrate. Succeed. </a:t>
            </a:r>
          </a:p>
        </p:txBody>
      </p:sp>
    </p:spTree>
    <p:extLst>
      <p:ext uri="{BB962C8B-B14F-4D97-AF65-F5344CB8AC3E}">
        <p14:creationId xmlns:p14="http://schemas.microsoft.com/office/powerpoint/2010/main" val="1478476724"/>
      </p:ext>
    </p:extLst>
  </p:cSld>
  <p:clrMapOvr>
    <a:masterClrMapping/>
  </p:clrMapOvr>
  <p:transition spd="med">
    <p:pull/>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a:xfrm>
            <a:off x="1097279" y="6446838"/>
            <a:ext cx="4846321" cy="365125"/>
          </a:xfrm>
          <a:prstGeom prst="rect">
            <a:avLst/>
          </a:prstGeom>
        </p:spPr>
        <p:txBody>
          <a:bodyPr/>
          <a:lstStyle/>
          <a:p>
            <a:r>
              <a:rPr lang="en-US"/>
              <a:t>Collaborate. Integrate. Succeed. </a:t>
            </a:r>
          </a:p>
        </p:txBody>
      </p:sp>
    </p:spTree>
    <p:extLst>
      <p:ext uri="{BB962C8B-B14F-4D97-AF65-F5344CB8AC3E}">
        <p14:creationId xmlns:p14="http://schemas.microsoft.com/office/powerpoint/2010/main" val="2376966771"/>
      </p:ext>
    </p:extLst>
  </p:cSld>
  <p:clrMapOvr>
    <a:masterClrMapping/>
  </p:clrMapOvr>
  <p:transition spd="med">
    <p:pull/>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6" name="Parallélogramme 14">
            <a:extLst>
              <a:ext uri="{FF2B5EF4-FFF2-40B4-BE49-F238E27FC236}">
                <a16:creationId xmlns:a16="http://schemas.microsoft.com/office/drawing/2014/main" id="{AF082EE3-41AA-4817-A1CC-C33DDB8F675F}"/>
              </a:ext>
            </a:extLst>
          </p:cNvPr>
          <p:cNvSpPr/>
          <p:nvPr userDrawn="1"/>
        </p:nvSpPr>
        <p:spPr>
          <a:xfrm>
            <a:off x="4667250" y="0"/>
            <a:ext cx="2857500" cy="6858000"/>
          </a:xfrm>
          <a:prstGeom prst="parallelogram">
            <a:avLst>
              <a:gd name="adj" fmla="val 0"/>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spTree>
    <p:extLst>
      <p:ext uri="{BB962C8B-B14F-4D97-AF65-F5344CB8AC3E}">
        <p14:creationId xmlns:p14="http://schemas.microsoft.com/office/powerpoint/2010/main" val="4054291915"/>
      </p:ext>
    </p:extLst>
  </p:cSld>
  <p:clrMapOvr>
    <a:masterClrMapping/>
  </p:clrMapOvr>
  <p:transition spd="med">
    <p:pull/>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0" name="Parallélogramme 14">
            <a:extLst>
              <a:ext uri="{FF2B5EF4-FFF2-40B4-BE49-F238E27FC236}">
                <a16:creationId xmlns:a16="http://schemas.microsoft.com/office/drawing/2014/main" id="{BA60C70F-7EE5-4927-B922-88B1C47FADB9}"/>
              </a:ext>
            </a:extLst>
          </p:cNvPr>
          <p:cNvSpPr/>
          <p:nvPr userDrawn="1"/>
        </p:nvSpPr>
        <p:spPr>
          <a:xfrm>
            <a:off x="7448550" y="0"/>
            <a:ext cx="2857500" cy="6858000"/>
          </a:xfrm>
          <a:prstGeom prst="parallelogram">
            <a:avLst>
              <a:gd name="adj" fmla="val 0"/>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sp>
        <p:nvSpPr>
          <p:cNvPr id="8" name="Rectangle 7">
            <a:extLst>
              <a:ext uri="{FF2B5EF4-FFF2-40B4-BE49-F238E27FC236}">
                <a16:creationId xmlns:a16="http://schemas.microsoft.com/office/drawing/2014/main" id="{16D90D66-BCB9-4229-A829-628874352AC0}"/>
              </a:ext>
            </a:extLst>
          </p:cNvPr>
          <p:cNvSpPr/>
          <p:nvPr/>
        </p:nvSpPr>
        <p:spPr>
          <a:xfrm>
            <a:off x="16" y="0"/>
            <a:ext cx="4654296" cy="5864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2200" y="786383"/>
            <a:ext cx="3068833" cy="2093975"/>
          </a:xfrm>
        </p:spPr>
        <p:txBody>
          <a:bodyPr anchor="b">
            <a:normAutofit/>
          </a:bodyPr>
          <a:lstStyle>
            <a:lvl1pPr>
              <a:lnSpc>
                <a:spcPct val="90000"/>
              </a:lnSpc>
              <a:defRPr sz="3600" b="0">
                <a:solidFill>
                  <a:schemeClr val="accent4"/>
                </a:solidFill>
              </a:defRPr>
            </a:lvl1pPr>
          </a:lstStyle>
          <a:p>
            <a:r>
              <a:rPr lang="en-US" noProof="0"/>
              <a:t>Click to edit Master title style</a:t>
            </a:r>
          </a:p>
        </p:txBody>
      </p:sp>
      <p:sp>
        <p:nvSpPr>
          <p:cNvPr id="3" name="Content Placeholder 2"/>
          <p:cNvSpPr>
            <a:spLocks noGrp="1"/>
          </p:cNvSpPr>
          <p:nvPr>
            <p:ph idx="1"/>
          </p:nvPr>
        </p:nvSpPr>
        <p:spPr>
          <a:xfrm>
            <a:off x="5458984" y="812800"/>
            <a:ext cx="5713841" cy="486860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p:cNvSpPr>
            <a:spLocks noGrp="1"/>
          </p:cNvSpPr>
          <p:nvPr>
            <p:ph type="body" sz="half" idx="2"/>
          </p:nvPr>
        </p:nvSpPr>
        <p:spPr>
          <a:xfrm>
            <a:off x="1092200" y="3043050"/>
            <a:ext cx="3068832" cy="2638359"/>
          </a:xfrm>
        </p:spPr>
        <p:txBody>
          <a:bodyPr lIns="91440" rIns="91440">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Click to edit Master text styles</a:t>
            </a:r>
          </a:p>
        </p:txBody>
      </p:sp>
      <p:sp>
        <p:nvSpPr>
          <p:cNvPr id="9" name="Rectangle 8">
            <a:extLst>
              <a:ext uri="{FF2B5EF4-FFF2-40B4-BE49-F238E27FC236}">
                <a16:creationId xmlns:a16="http://schemas.microsoft.com/office/drawing/2014/main" id="{4DC51BA7-A5A7-4A7F-A707-DBBDEA7705F3}"/>
              </a:ext>
            </a:extLst>
          </p:cNvPr>
          <p:cNvSpPr/>
          <p:nvPr userDrawn="1"/>
        </p:nvSpPr>
        <p:spPr>
          <a:xfrm>
            <a:off x="0" y="1397000"/>
            <a:ext cx="1036320" cy="13294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tangle 10">
            <a:extLst>
              <a:ext uri="{FF2B5EF4-FFF2-40B4-BE49-F238E27FC236}">
                <a16:creationId xmlns:a16="http://schemas.microsoft.com/office/drawing/2014/main" id="{D23174BA-29D0-4C1A-95C9-5A86FD25E47A}"/>
              </a:ext>
            </a:extLst>
          </p:cNvPr>
          <p:cNvSpPr/>
          <p:nvPr userDrawn="1"/>
        </p:nvSpPr>
        <p:spPr>
          <a:xfrm>
            <a:off x="5458983" y="624142"/>
            <a:ext cx="5713840" cy="125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3105592466"/>
      </p:ext>
    </p:extLst>
  </p:cSld>
  <p:clrMapOvr>
    <a:masterClrMapping/>
  </p:clrMapOvr>
  <p:transition spd="med">
    <p:pull/>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a:xfrm>
            <a:off x="1097279" y="6446838"/>
            <a:ext cx="4846321" cy="365125"/>
          </a:xfrm>
          <a:prstGeom prst="rect">
            <a:avLst/>
          </a:prstGeom>
        </p:spPr>
        <p:txBody>
          <a:bodyPr/>
          <a:lstStyle/>
          <a:p>
            <a:r>
              <a:rPr lang="en-US"/>
              <a:t>Collaborate. Integrate. Succeed. </a:t>
            </a:r>
          </a:p>
        </p:txBody>
      </p:sp>
    </p:spTree>
    <p:extLst>
      <p:ext uri="{BB962C8B-B14F-4D97-AF65-F5344CB8AC3E}">
        <p14:creationId xmlns:p14="http://schemas.microsoft.com/office/powerpoint/2010/main" val="2285982598"/>
      </p:ext>
    </p:extLst>
  </p:cSld>
  <p:clrMapOvr>
    <a:masterClrMapping/>
  </p:clrMapOvr>
  <p:transition spd="med">
    <p:pull/>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1_Content with Caption">
    <p:spTree>
      <p:nvGrpSpPr>
        <p:cNvPr id="1" name=""/>
        <p:cNvGrpSpPr/>
        <p:nvPr/>
      </p:nvGrpSpPr>
      <p:grpSpPr>
        <a:xfrm>
          <a:off x="0" y="0"/>
          <a:ext cx="0" cy="0"/>
          <a:chOff x="0" y="0"/>
          <a:chExt cx="0" cy="0"/>
        </a:xfrm>
      </p:grpSpPr>
      <p:sp>
        <p:nvSpPr>
          <p:cNvPr id="10" name="Parallélogramme 14">
            <a:extLst>
              <a:ext uri="{FF2B5EF4-FFF2-40B4-BE49-F238E27FC236}">
                <a16:creationId xmlns:a16="http://schemas.microsoft.com/office/drawing/2014/main" id="{BA60C70F-7EE5-4927-B922-88B1C47FADB9}"/>
              </a:ext>
            </a:extLst>
          </p:cNvPr>
          <p:cNvSpPr/>
          <p:nvPr userDrawn="1"/>
        </p:nvSpPr>
        <p:spPr>
          <a:xfrm>
            <a:off x="7448550" y="0"/>
            <a:ext cx="2857500" cy="6858000"/>
          </a:xfrm>
          <a:prstGeom prst="parallelogram">
            <a:avLst>
              <a:gd name="adj" fmla="val 0"/>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sp>
        <p:nvSpPr>
          <p:cNvPr id="8" name="Rectangle 7">
            <a:extLst>
              <a:ext uri="{FF2B5EF4-FFF2-40B4-BE49-F238E27FC236}">
                <a16:creationId xmlns:a16="http://schemas.microsoft.com/office/drawing/2014/main" id="{16D90D66-BCB9-4229-A829-628874352AC0}"/>
              </a:ext>
            </a:extLst>
          </p:cNvPr>
          <p:cNvSpPr/>
          <p:nvPr/>
        </p:nvSpPr>
        <p:spPr>
          <a:xfrm>
            <a:off x="16" y="0"/>
            <a:ext cx="4654296" cy="5864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5458984" y="497808"/>
            <a:ext cx="5713841" cy="4868609"/>
          </a:xfrm>
        </p:spPr>
        <p:txBody>
          <a:bodyPr anchor="ct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Rectangle 8">
            <a:extLst>
              <a:ext uri="{FF2B5EF4-FFF2-40B4-BE49-F238E27FC236}">
                <a16:creationId xmlns:a16="http://schemas.microsoft.com/office/drawing/2014/main" id="{4DC51BA7-A5A7-4A7F-A707-DBBDEA7705F3}"/>
              </a:ext>
            </a:extLst>
          </p:cNvPr>
          <p:cNvSpPr/>
          <p:nvPr userDrawn="1"/>
        </p:nvSpPr>
        <p:spPr>
          <a:xfrm>
            <a:off x="0" y="2003424"/>
            <a:ext cx="1036320" cy="18573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tangle 10">
            <a:extLst>
              <a:ext uri="{FF2B5EF4-FFF2-40B4-BE49-F238E27FC236}">
                <a16:creationId xmlns:a16="http://schemas.microsoft.com/office/drawing/2014/main" id="{D23174BA-29D0-4C1A-95C9-5A86FD25E47A}"/>
              </a:ext>
            </a:extLst>
          </p:cNvPr>
          <p:cNvSpPr/>
          <p:nvPr userDrawn="1"/>
        </p:nvSpPr>
        <p:spPr>
          <a:xfrm>
            <a:off x="5458983" y="377398"/>
            <a:ext cx="5713840" cy="125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 name="Rectangle 4">
            <a:extLst>
              <a:ext uri="{FF2B5EF4-FFF2-40B4-BE49-F238E27FC236}">
                <a16:creationId xmlns:a16="http://schemas.microsoft.com/office/drawing/2014/main" id="{6BC7DA98-7B92-4F45-80F8-1AEF72A601CF}"/>
              </a:ext>
            </a:extLst>
          </p:cNvPr>
          <p:cNvSpPr/>
          <p:nvPr userDrawn="1"/>
        </p:nvSpPr>
        <p:spPr>
          <a:xfrm>
            <a:off x="1078230" y="2003423"/>
            <a:ext cx="3576082" cy="185737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p:cNvSpPr>
            <a:spLocks noGrp="1"/>
          </p:cNvSpPr>
          <p:nvPr>
            <p:ph type="title"/>
          </p:nvPr>
        </p:nvSpPr>
        <p:spPr>
          <a:xfrm>
            <a:off x="1092200" y="1885125"/>
            <a:ext cx="3314700" cy="2093975"/>
          </a:xfrm>
        </p:spPr>
        <p:txBody>
          <a:bodyPr anchor="ctr">
            <a:normAutofit/>
          </a:bodyPr>
          <a:lstStyle>
            <a:lvl1pPr>
              <a:lnSpc>
                <a:spcPct val="90000"/>
              </a:lnSpc>
              <a:defRPr sz="4400" b="1">
                <a:solidFill>
                  <a:srgbClr val="FFFFFF"/>
                </a:solidFill>
                <a:latin typeface="+mn-lt"/>
              </a:defRPr>
            </a:lvl1pPr>
          </a:lstStyle>
          <a:p>
            <a:r>
              <a:rPr lang="en-US" noProof="0"/>
              <a:t>Click to edit Master title style</a:t>
            </a:r>
          </a:p>
        </p:txBody>
      </p:sp>
      <p:sp>
        <p:nvSpPr>
          <p:cNvPr id="18" name="Rectangle 17">
            <a:extLst>
              <a:ext uri="{FF2B5EF4-FFF2-40B4-BE49-F238E27FC236}">
                <a16:creationId xmlns:a16="http://schemas.microsoft.com/office/drawing/2014/main" id="{DF96815B-4256-4CE0-9FCF-3A2967CF5792}"/>
              </a:ext>
            </a:extLst>
          </p:cNvPr>
          <p:cNvSpPr/>
          <p:nvPr userDrawn="1"/>
        </p:nvSpPr>
        <p:spPr>
          <a:xfrm>
            <a:off x="1092200" y="993775"/>
            <a:ext cx="1036320" cy="936626"/>
          </a:xfrm>
          <a:prstGeom prst="rect">
            <a:avLst/>
          </a:prstGeom>
          <a:solidFill>
            <a:schemeClr val="tx2">
              <a:lumMod val="20000"/>
              <a:lumOff val="80000"/>
              <a:alpha val="2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2549525400"/>
      </p:ext>
    </p:extLst>
  </p:cSld>
  <p:clrMapOvr>
    <a:masterClrMapping/>
  </p:clrMapOvr>
  <p:transition spd="med">
    <p:pull/>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2_Content with Caption">
    <p:spTree>
      <p:nvGrpSpPr>
        <p:cNvPr id="1" name=""/>
        <p:cNvGrpSpPr/>
        <p:nvPr/>
      </p:nvGrpSpPr>
      <p:grpSpPr>
        <a:xfrm>
          <a:off x="0" y="0"/>
          <a:ext cx="0" cy="0"/>
          <a:chOff x="0" y="0"/>
          <a:chExt cx="0" cy="0"/>
        </a:xfrm>
      </p:grpSpPr>
      <p:sp>
        <p:nvSpPr>
          <p:cNvPr id="18" name="Picture Placeholder 9">
            <a:extLst>
              <a:ext uri="{FF2B5EF4-FFF2-40B4-BE49-F238E27FC236}">
                <a16:creationId xmlns:a16="http://schemas.microsoft.com/office/drawing/2014/main" id="{4F173117-1383-4956-B947-1EA7A51D0D4A}"/>
              </a:ext>
            </a:extLst>
          </p:cNvPr>
          <p:cNvSpPr>
            <a:spLocks noGrp="1"/>
          </p:cNvSpPr>
          <p:nvPr>
            <p:ph type="pic" sz="quarter" idx="13"/>
          </p:nvPr>
        </p:nvSpPr>
        <p:spPr>
          <a:xfrm>
            <a:off x="0" y="0"/>
            <a:ext cx="4654296" cy="5864225"/>
          </a:xfrm>
        </p:spPr>
        <p:txBody>
          <a:bodyPr/>
          <a:lstStyle>
            <a:lvl1pPr>
              <a:defRPr>
                <a:solidFill>
                  <a:schemeClr val="bg1"/>
                </a:solidFill>
              </a:defRPr>
            </a:lvl1pPr>
          </a:lstStyle>
          <a:p>
            <a:r>
              <a:rPr lang="en-US" noProof="0"/>
              <a:t>Click icon to add picture</a:t>
            </a:r>
          </a:p>
        </p:txBody>
      </p:sp>
      <p:sp>
        <p:nvSpPr>
          <p:cNvPr id="10" name="Parallélogramme 14">
            <a:extLst>
              <a:ext uri="{FF2B5EF4-FFF2-40B4-BE49-F238E27FC236}">
                <a16:creationId xmlns:a16="http://schemas.microsoft.com/office/drawing/2014/main" id="{BA60C70F-7EE5-4927-B922-88B1C47FADB9}"/>
              </a:ext>
            </a:extLst>
          </p:cNvPr>
          <p:cNvSpPr/>
          <p:nvPr userDrawn="1"/>
        </p:nvSpPr>
        <p:spPr>
          <a:xfrm>
            <a:off x="7448550" y="0"/>
            <a:ext cx="2857500" cy="6858000"/>
          </a:xfrm>
          <a:prstGeom prst="parallelogram">
            <a:avLst>
              <a:gd name="adj" fmla="val 0"/>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sp>
        <p:nvSpPr>
          <p:cNvPr id="3" name="Content Placeholder 2"/>
          <p:cNvSpPr>
            <a:spLocks noGrp="1"/>
          </p:cNvSpPr>
          <p:nvPr>
            <p:ph idx="1"/>
          </p:nvPr>
        </p:nvSpPr>
        <p:spPr>
          <a:xfrm>
            <a:off x="5458984" y="497808"/>
            <a:ext cx="5713841" cy="4868609"/>
          </a:xfrm>
        </p:spPr>
        <p:txBody>
          <a:bodyPr anchor="ct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1092200" y="1885125"/>
            <a:ext cx="3068833" cy="2093975"/>
          </a:xfrm>
        </p:spPr>
        <p:txBody>
          <a:bodyPr anchor="ctr">
            <a:normAutofit/>
          </a:bodyPr>
          <a:lstStyle>
            <a:lvl1pPr>
              <a:lnSpc>
                <a:spcPct val="90000"/>
              </a:lnSpc>
              <a:defRPr sz="4400" b="1" i="0">
                <a:solidFill>
                  <a:srgbClr val="FFFFFF"/>
                </a:solidFill>
                <a:latin typeface="+mn-lt"/>
              </a:defRPr>
            </a:lvl1pPr>
          </a:lstStyle>
          <a:p>
            <a:r>
              <a:rPr lang="en-US" noProof="0"/>
              <a:t>Click to edit Master title style</a:t>
            </a:r>
          </a:p>
        </p:txBody>
      </p:sp>
    </p:spTree>
    <p:extLst>
      <p:ext uri="{BB962C8B-B14F-4D97-AF65-F5344CB8AC3E}">
        <p14:creationId xmlns:p14="http://schemas.microsoft.com/office/powerpoint/2010/main" val="1861149101"/>
      </p:ext>
    </p:extLst>
  </p:cSld>
  <p:clrMapOvr>
    <a:masterClrMapping/>
  </p:clrMapOvr>
  <p:transition spd="med">
    <p:pull/>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6_Content with Caption">
    <p:spTree>
      <p:nvGrpSpPr>
        <p:cNvPr id="1" name=""/>
        <p:cNvGrpSpPr/>
        <p:nvPr/>
      </p:nvGrpSpPr>
      <p:grpSpPr>
        <a:xfrm>
          <a:off x="0" y="0"/>
          <a:ext cx="0" cy="0"/>
          <a:chOff x="0" y="0"/>
          <a:chExt cx="0" cy="0"/>
        </a:xfrm>
      </p:grpSpPr>
      <p:sp>
        <p:nvSpPr>
          <p:cNvPr id="10" name="Parallélogramme 14">
            <a:extLst>
              <a:ext uri="{FF2B5EF4-FFF2-40B4-BE49-F238E27FC236}">
                <a16:creationId xmlns:a16="http://schemas.microsoft.com/office/drawing/2014/main" id="{BA60C70F-7EE5-4927-B922-88B1C47FADB9}"/>
              </a:ext>
            </a:extLst>
          </p:cNvPr>
          <p:cNvSpPr/>
          <p:nvPr userDrawn="1"/>
        </p:nvSpPr>
        <p:spPr>
          <a:xfrm>
            <a:off x="7448550" y="0"/>
            <a:ext cx="2857500" cy="6858000"/>
          </a:xfrm>
          <a:prstGeom prst="parallelogram">
            <a:avLst>
              <a:gd name="adj" fmla="val 0"/>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sp>
        <p:nvSpPr>
          <p:cNvPr id="2" name="Title 1"/>
          <p:cNvSpPr>
            <a:spLocks noGrp="1"/>
          </p:cNvSpPr>
          <p:nvPr>
            <p:ph type="title"/>
          </p:nvPr>
        </p:nvSpPr>
        <p:spPr>
          <a:xfrm>
            <a:off x="4984722" y="548355"/>
            <a:ext cx="6054846" cy="634336"/>
          </a:xfrm>
        </p:spPr>
        <p:txBody>
          <a:bodyPr anchor="ctr">
            <a:noAutofit/>
          </a:bodyPr>
          <a:lstStyle>
            <a:lvl1pPr>
              <a:lnSpc>
                <a:spcPct val="90000"/>
              </a:lnSpc>
              <a:defRPr sz="3600" b="1" i="0">
                <a:solidFill>
                  <a:srgbClr val="FFFFFF"/>
                </a:solidFill>
                <a:latin typeface="+mn-lt"/>
              </a:defRPr>
            </a:lvl1pPr>
          </a:lstStyle>
          <a:p>
            <a:r>
              <a:rPr lang="en-US" noProof="0"/>
              <a:t>Click to edit Master title style</a:t>
            </a:r>
          </a:p>
        </p:txBody>
      </p:sp>
      <p:sp>
        <p:nvSpPr>
          <p:cNvPr id="3" name="Content Placeholder 2"/>
          <p:cNvSpPr>
            <a:spLocks noGrp="1"/>
          </p:cNvSpPr>
          <p:nvPr>
            <p:ph idx="1"/>
          </p:nvPr>
        </p:nvSpPr>
        <p:spPr>
          <a:xfrm>
            <a:off x="5100833" y="1611313"/>
            <a:ext cx="6072099" cy="3755104"/>
          </a:xfrm>
        </p:spPr>
        <p:txBody>
          <a:bodyPr anchor="t">
            <a:normAutofit/>
          </a:bodyPr>
          <a:lstStyle>
            <a:lvl1pPr>
              <a:defRPr sz="2400"/>
            </a:lvl1pPr>
            <a:lvl2pPr>
              <a:defRPr sz="2000"/>
            </a:lvl2pPr>
            <a:lvl3pPr>
              <a:defRPr sz="16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Picture Placeholder 9">
            <a:extLst>
              <a:ext uri="{FF2B5EF4-FFF2-40B4-BE49-F238E27FC236}">
                <a16:creationId xmlns:a16="http://schemas.microsoft.com/office/drawing/2014/main" id="{4F173117-1383-4956-B947-1EA7A51D0D4A}"/>
              </a:ext>
            </a:extLst>
          </p:cNvPr>
          <p:cNvSpPr>
            <a:spLocks noGrp="1"/>
          </p:cNvSpPr>
          <p:nvPr>
            <p:ph type="pic" sz="quarter" idx="13"/>
          </p:nvPr>
        </p:nvSpPr>
        <p:spPr>
          <a:xfrm>
            <a:off x="0" y="0"/>
            <a:ext cx="4654296" cy="5864225"/>
          </a:xfrm>
        </p:spPr>
        <p:txBody>
          <a:bodyPr/>
          <a:lstStyle>
            <a:lvl1pPr>
              <a:defRPr>
                <a:solidFill>
                  <a:schemeClr val="tx1">
                    <a:lumMod val="75000"/>
                    <a:lumOff val="25000"/>
                  </a:schemeClr>
                </a:solidFill>
              </a:defRPr>
            </a:lvl1pPr>
          </a:lstStyle>
          <a:p>
            <a:r>
              <a:rPr lang="en-US" noProof="0"/>
              <a:t>Click icon to add picture</a:t>
            </a:r>
          </a:p>
        </p:txBody>
      </p:sp>
    </p:spTree>
    <p:extLst>
      <p:ext uri="{BB962C8B-B14F-4D97-AF65-F5344CB8AC3E}">
        <p14:creationId xmlns:p14="http://schemas.microsoft.com/office/powerpoint/2010/main" val="3375952676"/>
      </p:ext>
    </p:extLst>
  </p:cSld>
  <p:clrMapOvr>
    <a:masterClrMapping/>
  </p:clrMapOvr>
  <p:transition spd="med">
    <p:pull/>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7_Content with Caption">
    <p:spTree>
      <p:nvGrpSpPr>
        <p:cNvPr id="1" name=""/>
        <p:cNvGrpSpPr/>
        <p:nvPr/>
      </p:nvGrpSpPr>
      <p:grpSpPr>
        <a:xfrm>
          <a:off x="0" y="0"/>
          <a:ext cx="0" cy="0"/>
          <a:chOff x="0" y="0"/>
          <a:chExt cx="0" cy="0"/>
        </a:xfrm>
      </p:grpSpPr>
      <p:sp>
        <p:nvSpPr>
          <p:cNvPr id="18" name="Picture Placeholder 9">
            <a:extLst>
              <a:ext uri="{FF2B5EF4-FFF2-40B4-BE49-F238E27FC236}">
                <a16:creationId xmlns:a16="http://schemas.microsoft.com/office/drawing/2014/main" id="{4F173117-1383-4956-B947-1EA7A51D0D4A}"/>
              </a:ext>
            </a:extLst>
          </p:cNvPr>
          <p:cNvSpPr>
            <a:spLocks noGrp="1"/>
          </p:cNvSpPr>
          <p:nvPr>
            <p:ph type="pic" sz="quarter" idx="13"/>
          </p:nvPr>
        </p:nvSpPr>
        <p:spPr>
          <a:xfrm>
            <a:off x="0" y="0"/>
            <a:ext cx="12192000" cy="3541486"/>
          </a:xfrm>
        </p:spPr>
        <p:txBody>
          <a:bodyPr/>
          <a:lstStyle>
            <a:lvl1pPr>
              <a:defRPr>
                <a:solidFill>
                  <a:schemeClr val="tx1">
                    <a:lumMod val="75000"/>
                    <a:lumOff val="25000"/>
                  </a:schemeClr>
                </a:solidFill>
              </a:defRPr>
            </a:lvl1pPr>
          </a:lstStyle>
          <a:p>
            <a:r>
              <a:rPr lang="en-US" noProof="0"/>
              <a:t>Click icon to add picture</a:t>
            </a:r>
          </a:p>
        </p:txBody>
      </p:sp>
      <p:sp>
        <p:nvSpPr>
          <p:cNvPr id="10" name="Parallélogramme 14">
            <a:extLst>
              <a:ext uri="{FF2B5EF4-FFF2-40B4-BE49-F238E27FC236}">
                <a16:creationId xmlns:a16="http://schemas.microsoft.com/office/drawing/2014/main" id="{BA60C70F-7EE5-4927-B922-88B1C47FADB9}"/>
              </a:ext>
            </a:extLst>
          </p:cNvPr>
          <p:cNvSpPr/>
          <p:nvPr userDrawn="1"/>
        </p:nvSpPr>
        <p:spPr>
          <a:xfrm>
            <a:off x="7448550" y="0"/>
            <a:ext cx="2857500" cy="6858000"/>
          </a:xfrm>
          <a:prstGeom prst="parallelogram">
            <a:avLst>
              <a:gd name="adj" fmla="val 0"/>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sp>
        <p:nvSpPr>
          <p:cNvPr id="2" name="Title 1"/>
          <p:cNvSpPr>
            <a:spLocks noGrp="1"/>
          </p:cNvSpPr>
          <p:nvPr>
            <p:ph type="title"/>
          </p:nvPr>
        </p:nvSpPr>
        <p:spPr>
          <a:xfrm>
            <a:off x="3068577" y="880375"/>
            <a:ext cx="6054846" cy="634336"/>
          </a:xfrm>
        </p:spPr>
        <p:txBody>
          <a:bodyPr anchor="ctr">
            <a:noAutofit/>
          </a:bodyPr>
          <a:lstStyle>
            <a:lvl1pPr algn="ctr">
              <a:lnSpc>
                <a:spcPct val="90000"/>
              </a:lnSpc>
              <a:defRPr sz="3600" b="1" i="0">
                <a:solidFill>
                  <a:schemeClr val="tx1">
                    <a:lumMod val="75000"/>
                    <a:lumOff val="25000"/>
                  </a:schemeClr>
                </a:solidFill>
                <a:latin typeface="+mn-lt"/>
              </a:defRPr>
            </a:lvl1pPr>
          </a:lstStyle>
          <a:p>
            <a:r>
              <a:rPr lang="en-US" noProof="0"/>
              <a:t>Click to edit Master title style</a:t>
            </a:r>
          </a:p>
        </p:txBody>
      </p:sp>
      <p:sp>
        <p:nvSpPr>
          <p:cNvPr id="19" name="Rectangle 18">
            <a:extLst>
              <a:ext uri="{FF2B5EF4-FFF2-40B4-BE49-F238E27FC236}">
                <a16:creationId xmlns:a16="http://schemas.microsoft.com/office/drawing/2014/main" id="{AF446475-024F-4C71-99D3-501468ACAD11}"/>
              </a:ext>
            </a:extLst>
          </p:cNvPr>
          <p:cNvSpPr/>
          <p:nvPr userDrawn="1"/>
        </p:nvSpPr>
        <p:spPr>
          <a:xfrm>
            <a:off x="5577840" y="0"/>
            <a:ext cx="103632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3348676493"/>
      </p:ext>
    </p:extLst>
  </p:cSld>
  <p:clrMapOvr>
    <a:masterClrMapping/>
  </p:clrMapOvr>
  <p:transition spd="med">
    <p:pull/>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5F57FFFB-CCE3-C058-3729-4EDEEE5E646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0390628D-EDCB-823F-3281-E26163D5C4CD}"/>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6" name="TextBox 5">
            <a:extLst>
              <a:ext uri="{FF2B5EF4-FFF2-40B4-BE49-F238E27FC236}">
                <a16:creationId xmlns:a16="http://schemas.microsoft.com/office/drawing/2014/main" id="{6857A933-0F5D-EB6F-6781-ACE4F612BDFC}"/>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2A1F2F7-3255-A552-A703-7C9BCD3C4BA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E85E7031-34AB-503C-140D-07A8A6D83D3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C4DEFCE-5A10-8D7A-C10A-5C24EDCFF87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703795651"/>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3_Content with Caption">
    <p:spTree>
      <p:nvGrpSpPr>
        <p:cNvPr id="1" name=""/>
        <p:cNvGrpSpPr/>
        <p:nvPr/>
      </p:nvGrpSpPr>
      <p:grpSpPr>
        <a:xfrm>
          <a:off x="0" y="0"/>
          <a:ext cx="0" cy="0"/>
          <a:chOff x="0" y="0"/>
          <a:chExt cx="0" cy="0"/>
        </a:xfrm>
      </p:grpSpPr>
      <p:sp>
        <p:nvSpPr>
          <p:cNvPr id="10" name="Parallélogramme 14">
            <a:extLst>
              <a:ext uri="{FF2B5EF4-FFF2-40B4-BE49-F238E27FC236}">
                <a16:creationId xmlns:a16="http://schemas.microsoft.com/office/drawing/2014/main" id="{BA60C70F-7EE5-4927-B922-88B1C47FADB9}"/>
              </a:ext>
            </a:extLst>
          </p:cNvPr>
          <p:cNvSpPr/>
          <p:nvPr userDrawn="1"/>
        </p:nvSpPr>
        <p:spPr>
          <a:xfrm>
            <a:off x="7448550" y="0"/>
            <a:ext cx="2857500" cy="6858000"/>
          </a:xfrm>
          <a:prstGeom prst="parallelogram">
            <a:avLst>
              <a:gd name="adj" fmla="val 0"/>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sp>
        <p:nvSpPr>
          <p:cNvPr id="4" name="Rectangle 3">
            <a:extLst>
              <a:ext uri="{FF2B5EF4-FFF2-40B4-BE49-F238E27FC236}">
                <a16:creationId xmlns:a16="http://schemas.microsoft.com/office/drawing/2014/main" id="{648F6D61-9E88-4632-A0A8-CB2E0CC5DEAF}"/>
              </a:ext>
            </a:extLst>
          </p:cNvPr>
          <p:cNvSpPr/>
          <p:nvPr userDrawn="1"/>
        </p:nvSpPr>
        <p:spPr>
          <a:xfrm>
            <a:off x="4654312" y="507333"/>
            <a:ext cx="7537688" cy="48495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Rectangle 7">
            <a:extLst>
              <a:ext uri="{FF2B5EF4-FFF2-40B4-BE49-F238E27FC236}">
                <a16:creationId xmlns:a16="http://schemas.microsoft.com/office/drawing/2014/main" id="{16D90D66-BCB9-4229-A829-628874352AC0}"/>
              </a:ext>
            </a:extLst>
          </p:cNvPr>
          <p:cNvSpPr/>
          <p:nvPr/>
        </p:nvSpPr>
        <p:spPr>
          <a:xfrm>
            <a:off x="16" y="0"/>
            <a:ext cx="4654296" cy="58642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2200" y="1885125"/>
            <a:ext cx="3068833" cy="2093975"/>
          </a:xfrm>
        </p:spPr>
        <p:txBody>
          <a:bodyPr anchor="ctr">
            <a:normAutofit/>
          </a:bodyPr>
          <a:lstStyle>
            <a:lvl1pPr>
              <a:lnSpc>
                <a:spcPct val="90000"/>
              </a:lnSpc>
              <a:defRPr sz="4400" b="1" i="0">
                <a:solidFill>
                  <a:srgbClr val="FFFFFF"/>
                </a:solidFill>
                <a:latin typeface="+mn-lt"/>
              </a:defRPr>
            </a:lvl1pPr>
          </a:lstStyle>
          <a:p>
            <a:r>
              <a:rPr lang="en-US" noProof="0"/>
              <a:t>Click to edit Master title style</a:t>
            </a:r>
          </a:p>
        </p:txBody>
      </p:sp>
      <p:sp>
        <p:nvSpPr>
          <p:cNvPr id="3" name="Content Placeholder 2"/>
          <p:cNvSpPr>
            <a:spLocks noGrp="1"/>
          </p:cNvSpPr>
          <p:nvPr>
            <p:ph idx="1"/>
          </p:nvPr>
        </p:nvSpPr>
        <p:spPr>
          <a:xfrm>
            <a:off x="6473373" y="943430"/>
            <a:ext cx="4699452" cy="3977366"/>
          </a:xfrm>
        </p:spPr>
        <p:txBody>
          <a:bodyPr anchor="ctr">
            <a:normAutofit/>
          </a:bodyPr>
          <a:lstStyle>
            <a:lvl1pPr>
              <a:defRPr sz="2400"/>
            </a:lvl1pPr>
            <a:lvl2pPr>
              <a:defRPr sz="2000"/>
            </a:lvl2pPr>
            <a:lvl3pPr>
              <a:defRPr sz="16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Rectangle 19">
            <a:extLst>
              <a:ext uri="{FF2B5EF4-FFF2-40B4-BE49-F238E27FC236}">
                <a16:creationId xmlns:a16="http://schemas.microsoft.com/office/drawing/2014/main" id="{EF73BF96-A07C-4AAA-A37F-65151BD22A70}"/>
              </a:ext>
            </a:extLst>
          </p:cNvPr>
          <p:cNvSpPr/>
          <p:nvPr userDrawn="1"/>
        </p:nvSpPr>
        <p:spPr>
          <a:xfrm>
            <a:off x="4370251" y="2322780"/>
            <a:ext cx="1348378" cy="1218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 name="Rectangle 4">
            <a:extLst>
              <a:ext uri="{FF2B5EF4-FFF2-40B4-BE49-F238E27FC236}">
                <a16:creationId xmlns:a16="http://schemas.microsoft.com/office/drawing/2014/main" id="{18F38DAB-1B74-E52F-68A4-988EAA16BBBC}"/>
              </a:ext>
            </a:extLst>
          </p:cNvPr>
          <p:cNvSpPr/>
          <p:nvPr userDrawn="1"/>
        </p:nvSpPr>
        <p:spPr>
          <a:xfrm>
            <a:off x="0" y="6239933"/>
            <a:ext cx="12192000" cy="618067"/>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oter Placeholder 4">
            <a:extLst>
              <a:ext uri="{FF2B5EF4-FFF2-40B4-BE49-F238E27FC236}">
                <a16:creationId xmlns:a16="http://schemas.microsoft.com/office/drawing/2014/main" id="{63999B36-60F2-BEF4-BC90-A51114B0A842}"/>
              </a:ext>
            </a:extLst>
          </p:cNvPr>
          <p:cNvSpPr>
            <a:spLocks noGrp="1"/>
          </p:cNvSpPr>
          <p:nvPr>
            <p:ph type="ftr" sz="quarter" idx="3"/>
          </p:nvPr>
        </p:nvSpPr>
        <p:spPr>
          <a:xfrm>
            <a:off x="1097279" y="6446838"/>
            <a:ext cx="4846321" cy="365125"/>
          </a:xfrm>
          <a:prstGeom prst="rect">
            <a:avLst/>
          </a:prstGeom>
        </p:spPr>
        <p:txBody>
          <a:bodyPr vert="horz" lIns="91440" tIns="45720" rIns="91440" bIns="45720" rtlCol="0" anchor="ctr"/>
          <a:lstStyle>
            <a:lvl1pPr algn="l">
              <a:defRPr sz="900" cap="all" baseline="0">
                <a:solidFill>
                  <a:schemeClr val="bg1"/>
                </a:solidFill>
                <a:latin typeface="+mj-lt"/>
              </a:defRPr>
            </a:lvl1pPr>
          </a:lstStyle>
          <a:p>
            <a:r>
              <a:rPr lang="en-US"/>
              <a:t>Innovation Through Collaboration</a:t>
            </a:r>
          </a:p>
        </p:txBody>
      </p:sp>
      <p:pic>
        <p:nvPicPr>
          <p:cNvPr id="9" name="Picture 8" descr="A logo with blue circles and dots&#10;&#10;Description automatically generated">
            <a:extLst>
              <a:ext uri="{FF2B5EF4-FFF2-40B4-BE49-F238E27FC236}">
                <a16:creationId xmlns:a16="http://schemas.microsoft.com/office/drawing/2014/main" id="{5E6E4F56-1755-EE20-FFD3-89482AE34C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98654" y="6265734"/>
            <a:ext cx="1057026" cy="528513"/>
          </a:xfrm>
          <a:prstGeom prst="rect">
            <a:avLst/>
          </a:prstGeom>
        </p:spPr>
      </p:pic>
    </p:spTree>
    <p:extLst>
      <p:ext uri="{BB962C8B-B14F-4D97-AF65-F5344CB8AC3E}">
        <p14:creationId xmlns:p14="http://schemas.microsoft.com/office/powerpoint/2010/main" val="3771034752"/>
      </p:ext>
    </p:extLst>
  </p:cSld>
  <p:clrMapOvr>
    <a:masterClrMapping/>
  </p:clrMapOvr>
  <p:transition spd="med">
    <p:pull/>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8_Content with Caption">
    <p:spTree>
      <p:nvGrpSpPr>
        <p:cNvPr id="1" name=""/>
        <p:cNvGrpSpPr/>
        <p:nvPr/>
      </p:nvGrpSpPr>
      <p:grpSpPr>
        <a:xfrm>
          <a:off x="0" y="0"/>
          <a:ext cx="0" cy="0"/>
          <a:chOff x="0" y="0"/>
          <a:chExt cx="0" cy="0"/>
        </a:xfrm>
      </p:grpSpPr>
      <p:sp>
        <p:nvSpPr>
          <p:cNvPr id="10" name="Parallélogramme 14">
            <a:extLst>
              <a:ext uri="{FF2B5EF4-FFF2-40B4-BE49-F238E27FC236}">
                <a16:creationId xmlns:a16="http://schemas.microsoft.com/office/drawing/2014/main" id="{BA60C70F-7EE5-4927-B922-88B1C47FADB9}"/>
              </a:ext>
            </a:extLst>
          </p:cNvPr>
          <p:cNvSpPr/>
          <p:nvPr userDrawn="1"/>
        </p:nvSpPr>
        <p:spPr>
          <a:xfrm>
            <a:off x="7448550" y="0"/>
            <a:ext cx="2857500" cy="6858000"/>
          </a:xfrm>
          <a:prstGeom prst="parallelogram">
            <a:avLst>
              <a:gd name="adj" fmla="val 0"/>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sp>
        <p:nvSpPr>
          <p:cNvPr id="4" name="Rectangle 3">
            <a:extLst>
              <a:ext uri="{FF2B5EF4-FFF2-40B4-BE49-F238E27FC236}">
                <a16:creationId xmlns:a16="http://schemas.microsoft.com/office/drawing/2014/main" id="{648F6D61-9E88-4632-A0A8-CB2E0CC5DEAF}"/>
              </a:ext>
            </a:extLst>
          </p:cNvPr>
          <p:cNvSpPr/>
          <p:nvPr userDrawn="1"/>
        </p:nvSpPr>
        <p:spPr>
          <a:xfrm>
            <a:off x="4654312" y="507333"/>
            <a:ext cx="7537688" cy="48495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Rectangle 7">
            <a:extLst>
              <a:ext uri="{FF2B5EF4-FFF2-40B4-BE49-F238E27FC236}">
                <a16:creationId xmlns:a16="http://schemas.microsoft.com/office/drawing/2014/main" id="{16D90D66-BCB9-4229-A829-628874352AC0}"/>
              </a:ext>
            </a:extLst>
          </p:cNvPr>
          <p:cNvSpPr/>
          <p:nvPr/>
        </p:nvSpPr>
        <p:spPr>
          <a:xfrm>
            <a:off x="16" y="0"/>
            <a:ext cx="4654296" cy="58642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2200" y="1885125"/>
            <a:ext cx="3068833" cy="2093975"/>
          </a:xfrm>
        </p:spPr>
        <p:txBody>
          <a:bodyPr anchor="ctr">
            <a:normAutofit/>
          </a:bodyPr>
          <a:lstStyle>
            <a:lvl1pPr>
              <a:lnSpc>
                <a:spcPct val="90000"/>
              </a:lnSpc>
              <a:defRPr sz="4400" b="1" i="0">
                <a:solidFill>
                  <a:srgbClr val="FFFFFF"/>
                </a:solidFill>
                <a:latin typeface="+mn-lt"/>
              </a:defRPr>
            </a:lvl1pPr>
          </a:lstStyle>
          <a:p>
            <a:r>
              <a:rPr lang="en-US" noProof="0"/>
              <a:t>Click to edit Master title style</a:t>
            </a:r>
          </a:p>
        </p:txBody>
      </p:sp>
      <p:sp>
        <p:nvSpPr>
          <p:cNvPr id="3" name="Content Placeholder 2"/>
          <p:cNvSpPr>
            <a:spLocks noGrp="1"/>
          </p:cNvSpPr>
          <p:nvPr>
            <p:ph idx="1"/>
          </p:nvPr>
        </p:nvSpPr>
        <p:spPr>
          <a:xfrm>
            <a:off x="6473373" y="943430"/>
            <a:ext cx="4699452" cy="3977366"/>
          </a:xfrm>
        </p:spPr>
        <p:txBody>
          <a:bodyPr anchor="ctr">
            <a:normAutofit/>
          </a:bodyPr>
          <a:lstStyle>
            <a:lvl1pPr>
              <a:defRPr sz="2400"/>
            </a:lvl1pPr>
            <a:lvl2pPr>
              <a:defRPr sz="2000"/>
            </a:lvl2pPr>
            <a:lvl3pPr>
              <a:defRPr sz="16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Rectangle 19">
            <a:extLst>
              <a:ext uri="{FF2B5EF4-FFF2-40B4-BE49-F238E27FC236}">
                <a16:creationId xmlns:a16="http://schemas.microsoft.com/office/drawing/2014/main" id="{EF73BF96-A07C-4AAA-A37F-65151BD22A70}"/>
              </a:ext>
            </a:extLst>
          </p:cNvPr>
          <p:cNvSpPr/>
          <p:nvPr userDrawn="1"/>
        </p:nvSpPr>
        <p:spPr>
          <a:xfrm>
            <a:off x="4370251" y="2322780"/>
            <a:ext cx="1348378" cy="1218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 name="Rectangle 4">
            <a:extLst>
              <a:ext uri="{FF2B5EF4-FFF2-40B4-BE49-F238E27FC236}">
                <a16:creationId xmlns:a16="http://schemas.microsoft.com/office/drawing/2014/main" id="{18F38DAB-1B74-E52F-68A4-988EAA16BBBC}"/>
              </a:ext>
            </a:extLst>
          </p:cNvPr>
          <p:cNvSpPr/>
          <p:nvPr userDrawn="1"/>
        </p:nvSpPr>
        <p:spPr>
          <a:xfrm>
            <a:off x="0" y="6239933"/>
            <a:ext cx="12192000" cy="618067"/>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oter Placeholder 4">
            <a:extLst>
              <a:ext uri="{FF2B5EF4-FFF2-40B4-BE49-F238E27FC236}">
                <a16:creationId xmlns:a16="http://schemas.microsoft.com/office/drawing/2014/main" id="{63999B36-60F2-BEF4-BC90-A51114B0A842}"/>
              </a:ext>
            </a:extLst>
          </p:cNvPr>
          <p:cNvSpPr>
            <a:spLocks noGrp="1"/>
          </p:cNvSpPr>
          <p:nvPr>
            <p:ph type="ftr" sz="quarter" idx="3"/>
          </p:nvPr>
        </p:nvSpPr>
        <p:spPr>
          <a:xfrm>
            <a:off x="1097279" y="6446838"/>
            <a:ext cx="4846321" cy="365125"/>
          </a:xfrm>
          <a:prstGeom prst="rect">
            <a:avLst/>
          </a:prstGeom>
        </p:spPr>
        <p:txBody>
          <a:bodyPr vert="horz" lIns="91440" tIns="45720" rIns="91440" bIns="45720" rtlCol="0" anchor="ctr"/>
          <a:lstStyle>
            <a:lvl1pPr algn="l">
              <a:defRPr sz="900" cap="all" baseline="0">
                <a:solidFill>
                  <a:schemeClr val="bg1"/>
                </a:solidFill>
                <a:latin typeface="+mj-lt"/>
              </a:defRPr>
            </a:lvl1pPr>
          </a:lstStyle>
          <a:p>
            <a:r>
              <a:rPr lang="en-US"/>
              <a:t>Innovation Through Collaboration </a:t>
            </a:r>
          </a:p>
        </p:txBody>
      </p:sp>
      <p:pic>
        <p:nvPicPr>
          <p:cNvPr id="11" name="Picture 10" descr="A logo with blue circles and dots&#10;&#10;Description automatically generated">
            <a:extLst>
              <a:ext uri="{FF2B5EF4-FFF2-40B4-BE49-F238E27FC236}">
                <a16:creationId xmlns:a16="http://schemas.microsoft.com/office/drawing/2014/main" id="{9F801362-F197-B75F-44C6-C9DF34E9AE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98654" y="6265734"/>
            <a:ext cx="1057026" cy="528513"/>
          </a:xfrm>
          <a:prstGeom prst="rect">
            <a:avLst/>
          </a:prstGeom>
        </p:spPr>
      </p:pic>
    </p:spTree>
    <p:extLst>
      <p:ext uri="{BB962C8B-B14F-4D97-AF65-F5344CB8AC3E}">
        <p14:creationId xmlns:p14="http://schemas.microsoft.com/office/powerpoint/2010/main" val="3290694169"/>
      </p:ext>
    </p:extLst>
  </p:cSld>
  <p:clrMapOvr>
    <a:masterClrMapping/>
  </p:clrMapOvr>
  <p:transition spd="med">
    <p:pull/>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4_Content with Caption">
    <p:spTree>
      <p:nvGrpSpPr>
        <p:cNvPr id="1" name=""/>
        <p:cNvGrpSpPr/>
        <p:nvPr/>
      </p:nvGrpSpPr>
      <p:grpSpPr>
        <a:xfrm>
          <a:off x="0" y="0"/>
          <a:ext cx="0" cy="0"/>
          <a:chOff x="0" y="0"/>
          <a:chExt cx="0" cy="0"/>
        </a:xfrm>
      </p:grpSpPr>
      <p:sp>
        <p:nvSpPr>
          <p:cNvPr id="10" name="Parallélogramme 14">
            <a:extLst>
              <a:ext uri="{FF2B5EF4-FFF2-40B4-BE49-F238E27FC236}">
                <a16:creationId xmlns:a16="http://schemas.microsoft.com/office/drawing/2014/main" id="{BA60C70F-7EE5-4927-B922-88B1C47FADB9}"/>
              </a:ext>
            </a:extLst>
          </p:cNvPr>
          <p:cNvSpPr/>
          <p:nvPr userDrawn="1"/>
        </p:nvSpPr>
        <p:spPr>
          <a:xfrm>
            <a:off x="7448550" y="0"/>
            <a:ext cx="2857500" cy="6858000"/>
          </a:xfrm>
          <a:prstGeom prst="parallelogram">
            <a:avLst>
              <a:gd name="adj" fmla="val 0"/>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sp>
        <p:nvSpPr>
          <p:cNvPr id="4" name="Rectangle 3">
            <a:extLst>
              <a:ext uri="{FF2B5EF4-FFF2-40B4-BE49-F238E27FC236}">
                <a16:creationId xmlns:a16="http://schemas.microsoft.com/office/drawing/2014/main" id="{648F6D61-9E88-4632-A0A8-CB2E0CC5DEAF}"/>
              </a:ext>
            </a:extLst>
          </p:cNvPr>
          <p:cNvSpPr/>
          <p:nvPr userDrawn="1"/>
        </p:nvSpPr>
        <p:spPr>
          <a:xfrm>
            <a:off x="4654312" y="507333"/>
            <a:ext cx="7537688" cy="48495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Rectangle 7">
            <a:extLst>
              <a:ext uri="{FF2B5EF4-FFF2-40B4-BE49-F238E27FC236}">
                <a16:creationId xmlns:a16="http://schemas.microsoft.com/office/drawing/2014/main" id="{16D90D66-BCB9-4229-A829-628874352AC0}"/>
              </a:ext>
            </a:extLst>
          </p:cNvPr>
          <p:cNvSpPr/>
          <p:nvPr userDrawn="1"/>
        </p:nvSpPr>
        <p:spPr>
          <a:xfrm>
            <a:off x="16" y="0"/>
            <a:ext cx="4654296" cy="5864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2200" y="1885125"/>
            <a:ext cx="3068833" cy="2093975"/>
          </a:xfrm>
        </p:spPr>
        <p:txBody>
          <a:bodyPr anchor="ctr">
            <a:normAutofit/>
          </a:bodyPr>
          <a:lstStyle>
            <a:lvl1pPr>
              <a:lnSpc>
                <a:spcPct val="90000"/>
              </a:lnSpc>
              <a:defRPr sz="4400" b="1" i="0">
                <a:solidFill>
                  <a:srgbClr val="FFFFFF"/>
                </a:solidFill>
                <a:latin typeface="+mn-lt"/>
              </a:defRPr>
            </a:lvl1pPr>
          </a:lstStyle>
          <a:p>
            <a:r>
              <a:rPr lang="en-US" noProof="0"/>
              <a:t>Click to edit Master title style</a:t>
            </a:r>
          </a:p>
        </p:txBody>
      </p:sp>
      <p:sp>
        <p:nvSpPr>
          <p:cNvPr id="3" name="Content Placeholder 2"/>
          <p:cNvSpPr>
            <a:spLocks noGrp="1"/>
          </p:cNvSpPr>
          <p:nvPr>
            <p:ph idx="1"/>
          </p:nvPr>
        </p:nvSpPr>
        <p:spPr>
          <a:xfrm>
            <a:off x="6518529" y="943430"/>
            <a:ext cx="4654296" cy="3977366"/>
          </a:xfrm>
        </p:spPr>
        <p:txBody>
          <a:bodyPr anchor="ctr">
            <a:normAutofit/>
          </a:bodyPr>
          <a:lstStyle>
            <a:lvl1pPr>
              <a:defRPr sz="2400"/>
            </a:lvl1pPr>
            <a:lvl2pPr>
              <a:defRPr sz="2000"/>
            </a:lvl2pPr>
            <a:lvl3pPr>
              <a:defRPr sz="16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Date Placeholder 1">
            <a:extLst>
              <a:ext uri="{FF2B5EF4-FFF2-40B4-BE49-F238E27FC236}">
                <a16:creationId xmlns:a16="http://schemas.microsoft.com/office/drawing/2014/main" id="{F417C55D-4AE8-427B-A32E-9F54E007E686}"/>
              </a:ext>
            </a:extLst>
          </p:cNvPr>
          <p:cNvSpPr>
            <a:spLocks noGrp="1"/>
          </p:cNvSpPr>
          <p:nvPr>
            <p:ph type="dt" sz="half" idx="10"/>
          </p:nvPr>
        </p:nvSpPr>
        <p:spPr>
          <a:xfrm>
            <a:off x="6834126" y="6446838"/>
            <a:ext cx="2584850" cy="365125"/>
          </a:xfrm>
          <a:prstGeom prst="rect">
            <a:avLst/>
          </a:prstGeom>
        </p:spPr>
        <p:txBody>
          <a:bodyPr/>
          <a:lstStyle>
            <a:lvl1pPr>
              <a:defRPr>
                <a:solidFill>
                  <a:schemeClr val="tx1">
                    <a:lumMod val="75000"/>
                    <a:lumOff val="25000"/>
                  </a:schemeClr>
                </a:solidFill>
              </a:defRPr>
            </a:lvl1pPr>
          </a:lstStyle>
          <a:p>
            <a:endParaRPr lang="en-US" noProof="0"/>
          </a:p>
        </p:txBody>
      </p:sp>
      <p:sp>
        <p:nvSpPr>
          <p:cNvPr id="13" name="Footer Placeholder 2">
            <a:extLst>
              <a:ext uri="{FF2B5EF4-FFF2-40B4-BE49-F238E27FC236}">
                <a16:creationId xmlns:a16="http://schemas.microsoft.com/office/drawing/2014/main" id="{8C05871B-E916-40A4-B5E3-65C15F5A4D2A}"/>
              </a:ext>
            </a:extLst>
          </p:cNvPr>
          <p:cNvSpPr>
            <a:spLocks noGrp="1"/>
          </p:cNvSpPr>
          <p:nvPr>
            <p:ph type="ftr" sz="quarter" idx="11"/>
          </p:nvPr>
        </p:nvSpPr>
        <p:spPr>
          <a:xfrm>
            <a:off x="1097279" y="6446838"/>
            <a:ext cx="4846321" cy="365125"/>
          </a:xfrm>
          <a:prstGeom prst="rect">
            <a:avLst/>
          </a:prstGeom>
        </p:spPr>
        <p:txBody>
          <a:bodyPr/>
          <a:lstStyle>
            <a:lvl1pPr>
              <a:defRPr>
                <a:solidFill>
                  <a:schemeClr val="tx1">
                    <a:lumMod val="75000"/>
                    <a:lumOff val="25000"/>
                  </a:schemeClr>
                </a:solidFill>
              </a:defRPr>
            </a:lvl1pPr>
          </a:lstStyle>
          <a:p>
            <a:r>
              <a:rPr lang="en-US" noProof="0"/>
              <a:t>Collaborate. Integrate. Succeed. </a:t>
            </a:r>
          </a:p>
        </p:txBody>
      </p:sp>
      <p:sp>
        <p:nvSpPr>
          <p:cNvPr id="14" name="Slide Number Placeholder 3">
            <a:extLst>
              <a:ext uri="{FF2B5EF4-FFF2-40B4-BE49-F238E27FC236}">
                <a16:creationId xmlns:a16="http://schemas.microsoft.com/office/drawing/2014/main" id="{B45E789F-2E61-4EC0-8973-681625FE518F}"/>
              </a:ext>
            </a:extLst>
          </p:cNvPr>
          <p:cNvSpPr>
            <a:spLocks noGrp="1"/>
          </p:cNvSpPr>
          <p:nvPr>
            <p:ph type="sldNum" sz="quarter" idx="12"/>
          </p:nvPr>
        </p:nvSpPr>
        <p:spPr>
          <a:xfrm>
            <a:off x="10375670" y="6446838"/>
            <a:ext cx="780010" cy="365125"/>
          </a:xfrm>
          <a:prstGeom prst="rect">
            <a:avLst/>
          </a:prstGeom>
        </p:spPr>
        <p:txBody>
          <a:bodyPr/>
          <a:lstStyle>
            <a:lvl1pPr>
              <a:defRPr>
                <a:solidFill>
                  <a:schemeClr val="tx1">
                    <a:lumMod val="75000"/>
                    <a:lumOff val="25000"/>
                  </a:schemeClr>
                </a:solidFill>
              </a:defRPr>
            </a:lvl1pPr>
          </a:lstStyle>
          <a:p>
            <a:fld id="{3A98EE3D-8CD1-4C3F-BD1C-C98C9596463C}" type="slidenum">
              <a:rPr lang="en-US" noProof="0" smtClean="0"/>
              <a:pPr/>
              <a:t>‹#›</a:t>
            </a:fld>
            <a:endParaRPr lang="en-US" noProof="0"/>
          </a:p>
        </p:txBody>
      </p:sp>
      <p:sp>
        <p:nvSpPr>
          <p:cNvPr id="18" name="Rectangle 17">
            <a:extLst>
              <a:ext uri="{FF2B5EF4-FFF2-40B4-BE49-F238E27FC236}">
                <a16:creationId xmlns:a16="http://schemas.microsoft.com/office/drawing/2014/main" id="{6127F28F-6C7B-471B-9839-EF88426C1976}"/>
              </a:ext>
            </a:extLst>
          </p:cNvPr>
          <p:cNvSpPr/>
          <p:nvPr userDrawn="1"/>
        </p:nvSpPr>
        <p:spPr>
          <a:xfrm>
            <a:off x="4370251" y="2322780"/>
            <a:ext cx="1348378" cy="121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 name="Rectangle 4">
            <a:extLst>
              <a:ext uri="{FF2B5EF4-FFF2-40B4-BE49-F238E27FC236}">
                <a16:creationId xmlns:a16="http://schemas.microsoft.com/office/drawing/2014/main" id="{9CC89CF9-87EC-9803-0C48-1C9BB83F0EE9}"/>
              </a:ext>
            </a:extLst>
          </p:cNvPr>
          <p:cNvSpPr/>
          <p:nvPr userDrawn="1"/>
        </p:nvSpPr>
        <p:spPr>
          <a:xfrm>
            <a:off x="-60385" y="6230445"/>
            <a:ext cx="12192000" cy="618067"/>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oter Placeholder 4">
            <a:extLst>
              <a:ext uri="{FF2B5EF4-FFF2-40B4-BE49-F238E27FC236}">
                <a16:creationId xmlns:a16="http://schemas.microsoft.com/office/drawing/2014/main" id="{7B5773DF-0B91-BE9E-2626-7542CAA3C182}"/>
              </a:ext>
            </a:extLst>
          </p:cNvPr>
          <p:cNvSpPr txBox="1">
            <a:spLocks/>
          </p:cNvSpPr>
          <p:nvPr userDrawn="1"/>
        </p:nvSpPr>
        <p:spPr>
          <a:xfrm>
            <a:off x="1175705" y="6460953"/>
            <a:ext cx="4846321" cy="365125"/>
          </a:xfrm>
          <a:prstGeom prst="rect">
            <a:avLst/>
          </a:prstGeom>
        </p:spPr>
        <p:txBody>
          <a:bodyPr vert="horz" lIns="91440" tIns="45720" rIns="91440" bIns="45720" rtlCol="0" anchor="ctr"/>
          <a:lstStyle>
            <a:defPPr>
              <a:defRPr lang="en-US"/>
            </a:defPPr>
            <a:lvl1pPr marL="0" algn="l" defTabSz="914400" rtl="0" eaLnBrk="1" latinLnBrk="0" hangingPunct="1">
              <a:defRPr sz="900" kern="1200" cap="all"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Innovation Through Collaboration </a:t>
            </a:r>
          </a:p>
        </p:txBody>
      </p:sp>
      <p:pic>
        <p:nvPicPr>
          <p:cNvPr id="9" name="Picture 8" descr="A logo with blue circles and dots&#10;&#10;Description automatically generated">
            <a:extLst>
              <a:ext uri="{FF2B5EF4-FFF2-40B4-BE49-F238E27FC236}">
                <a16:creationId xmlns:a16="http://schemas.microsoft.com/office/drawing/2014/main" id="{4F8ED81B-FB4B-C100-634F-05CB9BCCDA5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98654" y="6265734"/>
            <a:ext cx="1057026" cy="528513"/>
          </a:xfrm>
          <a:prstGeom prst="rect">
            <a:avLst/>
          </a:prstGeom>
        </p:spPr>
      </p:pic>
    </p:spTree>
    <p:extLst>
      <p:ext uri="{BB962C8B-B14F-4D97-AF65-F5344CB8AC3E}">
        <p14:creationId xmlns:p14="http://schemas.microsoft.com/office/powerpoint/2010/main" val="1284680739"/>
      </p:ext>
    </p:extLst>
  </p:cSld>
  <p:clrMapOvr>
    <a:masterClrMapping/>
  </p:clrMapOvr>
  <p:transition spd="med">
    <p:pull/>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5_Content with Caption">
    <p:spTree>
      <p:nvGrpSpPr>
        <p:cNvPr id="1" name=""/>
        <p:cNvGrpSpPr/>
        <p:nvPr/>
      </p:nvGrpSpPr>
      <p:grpSpPr>
        <a:xfrm>
          <a:off x="0" y="0"/>
          <a:ext cx="0" cy="0"/>
          <a:chOff x="0" y="0"/>
          <a:chExt cx="0" cy="0"/>
        </a:xfrm>
      </p:grpSpPr>
      <p:sp>
        <p:nvSpPr>
          <p:cNvPr id="10" name="Parallélogramme 14">
            <a:extLst>
              <a:ext uri="{FF2B5EF4-FFF2-40B4-BE49-F238E27FC236}">
                <a16:creationId xmlns:a16="http://schemas.microsoft.com/office/drawing/2014/main" id="{BA60C70F-7EE5-4927-B922-88B1C47FADB9}"/>
              </a:ext>
            </a:extLst>
          </p:cNvPr>
          <p:cNvSpPr/>
          <p:nvPr userDrawn="1"/>
        </p:nvSpPr>
        <p:spPr>
          <a:xfrm>
            <a:off x="7448550" y="0"/>
            <a:ext cx="2857500" cy="6858000"/>
          </a:xfrm>
          <a:prstGeom prst="parallelogram">
            <a:avLst>
              <a:gd name="adj" fmla="val 0"/>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sp>
        <p:nvSpPr>
          <p:cNvPr id="4" name="Rectangle 3">
            <a:extLst>
              <a:ext uri="{FF2B5EF4-FFF2-40B4-BE49-F238E27FC236}">
                <a16:creationId xmlns:a16="http://schemas.microsoft.com/office/drawing/2014/main" id="{648F6D61-9E88-4632-A0A8-CB2E0CC5DEAF}"/>
              </a:ext>
            </a:extLst>
          </p:cNvPr>
          <p:cNvSpPr/>
          <p:nvPr userDrawn="1"/>
        </p:nvSpPr>
        <p:spPr>
          <a:xfrm>
            <a:off x="4654312" y="507333"/>
            <a:ext cx="7537688" cy="48495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Rectangle 7">
            <a:extLst>
              <a:ext uri="{FF2B5EF4-FFF2-40B4-BE49-F238E27FC236}">
                <a16:creationId xmlns:a16="http://schemas.microsoft.com/office/drawing/2014/main" id="{16D90D66-BCB9-4229-A829-628874352AC0}"/>
              </a:ext>
            </a:extLst>
          </p:cNvPr>
          <p:cNvSpPr/>
          <p:nvPr userDrawn="1"/>
        </p:nvSpPr>
        <p:spPr>
          <a:xfrm>
            <a:off x="16" y="0"/>
            <a:ext cx="4654296" cy="58642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2200" y="1885125"/>
            <a:ext cx="3068833" cy="2093975"/>
          </a:xfrm>
        </p:spPr>
        <p:txBody>
          <a:bodyPr anchor="ctr">
            <a:normAutofit/>
          </a:bodyPr>
          <a:lstStyle>
            <a:lvl1pPr>
              <a:lnSpc>
                <a:spcPct val="90000"/>
              </a:lnSpc>
              <a:defRPr sz="4400" b="1" i="0">
                <a:solidFill>
                  <a:srgbClr val="FFFFFF"/>
                </a:solidFill>
                <a:latin typeface="+mn-lt"/>
              </a:defRPr>
            </a:lvl1pPr>
          </a:lstStyle>
          <a:p>
            <a:r>
              <a:rPr lang="en-US" noProof="0"/>
              <a:t>Click to edit Master title style</a:t>
            </a:r>
          </a:p>
        </p:txBody>
      </p:sp>
      <p:sp>
        <p:nvSpPr>
          <p:cNvPr id="3" name="Content Placeholder 2"/>
          <p:cNvSpPr>
            <a:spLocks noGrp="1"/>
          </p:cNvSpPr>
          <p:nvPr>
            <p:ph idx="1"/>
          </p:nvPr>
        </p:nvSpPr>
        <p:spPr>
          <a:xfrm>
            <a:off x="6518529" y="943430"/>
            <a:ext cx="4654296" cy="3977366"/>
          </a:xfrm>
        </p:spPr>
        <p:txBody>
          <a:bodyPr anchor="ctr">
            <a:normAutofit/>
          </a:bodyPr>
          <a:lstStyle>
            <a:lvl1pPr>
              <a:defRPr sz="2400"/>
            </a:lvl1pPr>
            <a:lvl2pPr>
              <a:defRPr sz="2000"/>
            </a:lvl2pPr>
            <a:lvl3pPr>
              <a:defRPr sz="16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Rectangle 17">
            <a:extLst>
              <a:ext uri="{FF2B5EF4-FFF2-40B4-BE49-F238E27FC236}">
                <a16:creationId xmlns:a16="http://schemas.microsoft.com/office/drawing/2014/main" id="{6127F28F-6C7B-471B-9839-EF88426C1976}"/>
              </a:ext>
            </a:extLst>
          </p:cNvPr>
          <p:cNvSpPr/>
          <p:nvPr userDrawn="1"/>
        </p:nvSpPr>
        <p:spPr>
          <a:xfrm>
            <a:off x="4370251" y="2322780"/>
            <a:ext cx="1348378" cy="12186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 name="Rectangle 4">
            <a:extLst>
              <a:ext uri="{FF2B5EF4-FFF2-40B4-BE49-F238E27FC236}">
                <a16:creationId xmlns:a16="http://schemas.microsoft.com/office/drawing/2014/main" id="{A29C4B60-79CD-08DE-DB0E-712DEFBAE9FE}"/>
              </a:ext>
            </a:extLst>
          </p:cNvPr>
          <p:cNvSpPr/>
          <p:nvPr userDrawn="1"/>
        </p:nvSpPr>
        <p:spPr>
          <a:xfrm>
            <a:off x="0" y="6239933"/>
            <a:ext cx="12192000" cy="618067"/>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oter Placeholder 4">
            <a:extLst>
              <a:ext uri="{FF2B5EF4-FFF2-40B4-BE49-F238E27FC236}">
                <a16:creationId xmlns:a16="http://schemas.microsoft.com/office/drawing/2014/main" id="{5ED74DF3-4CAE-609D-479F-BFAC19920605}"/>
              </a:ext>
            </a:extLst>
          </p:cNvPr>
          <p:cNvSpPr>
            <a:spLocks noGrp="1"/>
          </p:cNvSpPr>
          <p:nvPr>
            <p:ph type="ftr" sz="quarter" idx="3"/>
          </p:nvPr>
        </p:nvSpPr>
        <p:spPr>
          <a:xfrm>
            <a:off x="1097279" y="6446838"/>
            <a:ext cx="4846321" cy="365125"/>
          </a:xfrm>
          <a:prstGeom prst="rect">
            <a:avLst/>
          </a:prstGeom>
        </p:spPr>
        <p:txBody>
          <a:bodyPr vert="horz" lIns="91440" tIns="45720" rIns="91440" bIns="45720" rtlCol="0" anchor="ctr"/>
          <a:lstStyle>
            <a:lvl1pPr algn="l">
              <a:defRPr sz="900" cap="all" baseline="0">
                <a:solidFill>
                  <a:schemeClr val="bg1"/>
                </a:solidFill>
                <a:latin typeface="+mj-lt"/>
              </a:defRPr>
            </a:lvl1pPr>
          </a:lstStyle>
          <a:p>
            <a:r>
              <a:rPr lang="en-US"/>
              <a:t>Innovation Through Collaboration </a:t>
            </a:r>
          </a:p>
        </p:txBody>
      </p:sp>
      <p:pic>
        <p:nvPicPr>
          <p:cNvPr id="6" name="Picture 5" descr="A logo with blue circles and dots&#10;&#10;Description automatically generated">
            <a:extLst>
              <a:ext uri="{FF2B5EF4-FFF2-40B4-BE49-F238E27FC236}">
                <a16:creationId xmlns:a16="http://schemas.microsoft.com/office/drawing/2014/main" id="{54399D6F-F05A-AD35-51B1-EEB05F1465D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98654" y="6265734"/>
            <a:ext cx="1057026" cy="528513"/>
          </a:xfrm>
          <a:prstGeom prst="rect">
            <a:avLst/>
          </a:prstGeom>
        </p:spPr>
      </p:pic>
    </p:spTree>
    <p:extLst>
      <p:ext uri="{BB962C8B-B14F-4D97-AF65-F5344CB8AC3E}">
        <p14:creationId xmlns:p14="http://schemas.microsoft.com/office/powerpoint/2010/main" val="1940965660"/>
      </p:ext>
    </p:extLst>
  </p:cSld>
  <p:clrMapOvr>
    <a:masterClrMapping/>
  </p:clrMapOvr>
  <p:transition spd="med">
    <p:pull/>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134939-39C0-4522-A125-A13DFDA66490}"/>
              </a:ext>
            </a:extLst>
          </p:cNvPr>
          <p:cNvSpPr/>
          <p:nvPr userDrawn="1"/>
        </p:nvSpPr>
        <p:spPr>
          <a:xfrm>
            <a:off x="0" y="4578350"/>
            <a:ext cx="12188825" cy="22796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Picture Placeholder 2"/>
          <p:cNvSpPr>
            <a:spLocks noGrp="1" noChangeAspect="1"/>
          </p:cNvSpPr>
          <p:nvPr>
            <p:ph type="pic" idx="1"/>
          </p:nvPr>
        </p:nvSpPr>
        <p:spPr>
          <a:xfrm>
            <a:off x="15" y="0"/>
            <a:ext cx="12191985" cy="4578350"/>
          </a:xfrm>
          <a:solidFill>
            <a:schemeClr val="bg1"/>
          </a:solidFill>
        </p:spPr>
        <p:txBody>
          <a:bodyPr lIns="457200" tIns="457200" anchor="t">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p>
        </p:txBody>
      </p:sp>
      <p:sp>
        <p:nvSpPr>
          <p:cNvPr id="2" name="Title 1"/>
          <p:cNvSpPr>
            <a:spLocks noGrp="1"/>
          </p:cNvSpPr>
          <p:nvPr>
            <p:ph type="title"/>
          </p:nvPr>
        </p:nvSpPr>
        <p:spPr>
          <a:xfrm>
            <a:off x="1097279" y="4799362"/>
            <a:ext cx="10113645" cy="743682"/>
          </a:xfrm>
        </p:spPr>
        <p:txBody>
          <a:bodyPr tIns="0" bIns="0" anchor="b">
            <a:noAutofit/>
          </a:bodyPr>
          <a:lstStyle>
            <a:lvl1pPr algn="ctr">
              <a:defRPr sz="4400" b="1">
                <a:solidFill>
                  <a:srgbClr val="FFFFFF"/>
                </a:solidFill>
              </a:defRPr>
            </a:lvl1pPr>
          </a:lstStyle>
          <a:p>
            <a:r>
              <a:rPr lang="en-US" noProof="0"/>
              <a:t>Click to edit Master title style</a:t>
            </a:r>
          </a:p>
        </p:txBody>
      </p:sp>
      <p:sp>
        <p:nvSpPr>
          <p:cNvPr id="4" name="Text Placeholder 3"/>
          <p:cNvSpPr>
            <a:spLocks noGrp="1"/>
          </p:cNvSpPr>
          <p:nvPr>
            <p:ph type="body" sz="half" idx="2"/>
          </p:nvPr>
        </p:nvSpPr>
        <p:spPr>
          <a:xfrm>
            <a:off x="1097279" y="5715000"/>
            <a:ext cx="10113264" cy="609600"/>
          </a:xfrm>
        </p:spPr>
        <p:txBody>
          <a:bodyPr lIns="91440" tIns="0" rIns="91440" bIns="0">
            <a:normAutofit/>
          </a:bodyPr>
          <a:lstStyle>
            <a:lvl1pPr marL="0" indent="0">
              <a:spcBef>
                <a:spcPts val="0"/>
              </a:spcBef>
              <a:spcAft>
                <a:spcPts val="600"/>
              </a:spcAft>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Click to edit Master text styles</a:t>
            </a:r>
          </a:p>
        </p:txBody>
      </p:sp>
      <p:sp>
        <p:nvSpPr>
          <p:cNvPr id="5" name="Date Placeholder 4"/>
          <p:cNvSpPr>
            <a:spLocks noGrp="1"/>
          </p:cNvSpPr>
          <p:nvPr>
            <p:ph type="dt" sz="half" idx="10"/>
          </p:nvPr>
        </p:nvSpPr>
        <p:spPr>
          <a:xfrm>
            <a:off x="6834126" y="6446838"/>
            <a:ext cx="2584850" cy="365125"/>
          </a:xfrm>
          <a:prstGeom prst="rect">
            <a:avLst/>
          </a:prstGeom>
        </p:spPr>
        <p:txBody>
          <a:bodyPr/>
          <a:lstStyle>
            <a:lvl1pPr>
              <a:defRPr>
                <a:solidFill>
                  <a:schemeClr val="bg1"/>
                </a:solidFill>
              </a:defRPr>
            </a:lvl1pPr>
          </a:lstStyle>
          <a:p>
            <a:endParaRPr lang="en-US" noProof="0"/>
          </a:p>
        </p:txBody>
      </p:sp>
      <p:sp>
        <p:nvSpPr>
          <p:cNvPr id="6" name="Footer Placeholder 5"/>
          <p:cNvSpPr>
            <a:spLocks noGrp="1"/>
          </p:cNvSpPr>
          <p:nvPr>
            <p:ph type="ftr" sz="quarter" idx="11"/>
          </p:nvPr>
        </p:nvSpPr>
        <p:spPr>
          <a:xfrm>
            <a:off x="1097279" y="6446838"/>
            <a:ext cx="6818262" cy="365125"/>
          </a:xfrm>
          <a:prstGeom prst="rect">
            <a:avLst/>
          </a:prstGeom>
        </p:spPr>
        <p:txBody>
          <a:bodyPr/>
          <a:lstStyle>
            <a:lvl1pPr>
              <a:defRPr>
                <a:solidFill>
                  <a:schemeClr val="bg1"/>
                </a:solidFill>
              </a:defRPr>
            </a:lvl1pPr>
          </a:lstStyle>
          <a:p>
            <a:r>
              <a:rPr lang="en-US" noProof="0"/>
              <a:t>Innovation Through Collaboration </a:t>
            </a:r>
          </a:p>
        </p:txBody>
      </p:sp>
      <p:sp>
        <p:nvSpPr>
          <p:cNvPr id="7" name="Slide Number Placeholder 6"/>
          <p:cNvSpPr>
            <a:spLocks noGrp="1"/>
          </p:cNvSpPr>
          <p:nvPr>
            <p:ph type="sldNum" sz="quarter" idx="12"/>
          </p:nvPr>
        </p:nvSpPr>
        <p:spPr>
          <a:xfrm>
            <a:off x="10375670" y="6446838"/>
            <a:ext cx="780010" cy="365125"/>
          </a:xfrm>
          <a:prstGeom prst="rect">
            <a:avLst/>
          </a:prstGeom>
        </p:spPr>
        <p:txBody>
          <a:bodyPr/>
          <a:lstStyle>
            <a:lvl1pPr>
              <a:defRPr>
                <a:solidFill>
                  <a:schemeClr val="bg1"/>
                </a:solidFill>
              </a:defRPr>
            </a:lvl1pPr>
          </a:lstStyle>
          <a:p>
            <a:fld id="{3A98EE3D-8CD1-4C3F-BD1C-C98C9596463C}" type="slidenum">
              <a:rPr lang="en-US" noProof="0" smtClean="0"/>
              <a:pPr/>
              <a:t>‹#›</a:t>
            </a:fld>
            <a:endParaRPr lang="en-US" noProof="0"/>
          </a:p>
        </p:txBody>
      </p:sp>
      <p:sp>
        <p:nvSpPr>
          <p:cNvPr id="9" name="Rectangle 8">
            <a:extLst>
              <a:ext uri="{FF2B5EF4-FFF2-40B4-BE49-F238E27FC236}">
                <a16:creationId xmlns:a16="http://schemas.microsoft.com/office/drawing/2014/main" id="{B4A4DE4A-F8EF-47D5-8C37-A9021C2BB6A3}"/>
              </a:ext>
            </a:extLst>
          </p:cNvPr>
          <p:cNvSpPr/>
          <p:nvPr userDrawn="1"/>
        </p:nvSpPr>
        <p:spPr>
          <a:xfrm>
            <a:off x="3536950" y="4535901"/>
            <a:ext cx="5118100" cy="1256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730653518"/>
      </p:ext>
    </p:extLst>
  </p:cSld>
  <p:clrMapOvr>
    <a:masterClrMapping/>
  </p:clrMapOvr>
  <p:transition spd="med">
    <p:pull/>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B7696E5F-8D95-4450-AE52-5438E6EDE2BF}"/>
              </a:ext>
            </a:extLst>
          </p:cNvPr>
          <p:cNvSpPr>
            <a:spLocks noGrp="1"/>
          </p:cNvSpPr>
          <p:nvPr>
            <p:ph type="ftr" sz="quarter" idx="11"/>
          </p:nvPr>
        </p:nvSpPr>
        <p:spPr>
          <a:xfrm>
            <a:off x="1097279" y="6446838"/>
            <a:ext cx="4846321" cy="365125"/>
          </a:xfrm>
          <a:prstGeom prst="rect">
            <a:avLst/>
          </a:prstGeom>
        </p:spPr>
        <p:txBody>
          <a:bodyPr/>
          <a:lstStyle/>
          <a:p>
            <a:r>
              <a:rPr lang="en-US"/>
              <a:t>Collaborate. Integrate. Succeed. </a:t>
            </a:r>
          </a:p>
        </p:txBody>
      </p:sp>
    </p:spTree>
    <p:extLst>
      <p:ext uri="{BB962C8B-B14F-4D97-AF65-F5344CB8AC3E}">
        <p14:creationId xmlns:p14="http://schemas.microsoft.com/office/powerpoint/2010/main" val="3937532736"/>
      </p:ext>
    </p:extLst>
  </p:cSld>
  <p:clrMapOvr>
    <a:masterClrMapping/>
  </p:clrMapOvr>
  <p:transition spd="med">
    <p:pull/>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1346200"/>
            <a:ext cx="2448033" cy="4530725"/>
          </a:xfrm>
        </p:spPr>
        <p:txBody>
          <a:bodyPr vert="eaVert"/>
          <a:lstStyle/>
          <a:p>
            <a:r>
              <a:rPr lang="en-US" noProof="0"/>
              <a:t>Click to edit Master title style</a:t>
            </a:r>
          </a:p>
        </p:txBody>
      </p:sp>
      <p:sp>
        <p:nvSpPr>
          <p:cNvPr id="3" name="Vertical Text Placeholder 2"/>
          <p:cNvSpPr>
            <a:spLocks noGrp="1"/>
          </p:cNvSpPr>
          <p:nvPr>
            <p:ph type="body" orient="vert" idx="1"/>
          </p:nvPr>
        </p:nvSpPr>
        <p:spPr>
          <a:xfrm>
            <a:off x="1092200" y="1346200"/>
            <a:ext cx="7480300" cy="4530723"/>
          </a:xfrm>
        </p:spPr>
        <p:txBody>
          <a:bodyPr vert="eaVert" lIns="45720" tIns="0" rIns="4572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Rectangle 13">
            <a:extLst>
              <a:ext uri="{FF2B5EF4-FFF2-40B4-BE49-F238E27FC236}">
                <a16:creationId xmlns:a16="http://schemas.microsoft.com/office/drawing/2014/main" id="{6B443CC6-CDCA-4595-ADAE-DCB961FF1A8E}"/>
              </a:ext>
            </a:extLst>
          </p:cNvPr>
          <p:cNvSpPr/>
          <p:nvPr userDrawn="1"/>
        </p:nvSpPr>
        <p:spPr>
          <a:xfrm rot="16200000">
            <a:off x="8871481" y="-146580"/>
            <a:ext cx="1036320" cy="13294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4224469295"/>
      </p:ext>
    </p:extLst>
  </p:cSld>
  <p:clrMapOvr>
    <a:masterClrMapping/>
  </p:clrMapOvr>
  <p:transition spd="med">
    <p:pull/>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40158-E4DD-9A4C-BBD3-2355F5B92AEE}"/>
              </a:ext>
            </a:extLst>
          </p:cNvPr>
          <p:cNvSpPr>
            <a:spLocks noGrp="1"/>
          </p:cNvSpPr>
          <p:nvPr>
            <p:ph type="title"/>
          </p:nvPr>
        </p:nvSpPr>
        <p:spPr/>
        <p:txBody>
          <a:bodyPr/>
          <a:lstStyle>
            <a:lvl1pPr>
              <a:defRPr>
                <a:latin typeface="Lato4" panose="020F0302020204030203"/>
              </a:defRPr>
            </a:lvl1pPr>
          </a:lstStyle>
          <a:p>
            <a:r>
              <a:rPr lang="en-US"/>
              <a:t>Click to edit Master title style</a:t>
            </a:r>
            <a:endParaRPr lang="en-US" dirty="0"/>
          </a:p>
        </p:txBody>
      </p:sp>
      <p:pic>
        <p:nvPicPr>
          <p:cNvPr id="11" name="Google Shape;52;p45">
            <a:extLst>
              <a:ext uri="{FF2B5EF4-FFF2-40B4-BE49-F238E27FC236}">
                <a16:creationId xmlns:a16="http://schemas.microsoft.com/office/drawing/2014/main" id="{BEDD55CE-1BE2-7C41-9BDC-FCA1F000EDEA}"/>
              </a:ext>
            </a:extLst>
          </p:cNvPr>
          <p:cNvPicPr preferRelativeResize="0"/>
          <p:nvPr/>
        </p:nvPicPr>
        <p:blipFill rotWithShape="1">
          <a:blip r:embed="rId2">
            <a:alphaModFix/>
            <a:extLst>
              <a:ext uri="{BEBA8EAE-BF5A-486C-A8C5-ECC9F3942E4B}">
                <a14:imgProps xmlns:a14="http://schemas.microsoft.com/office/drawing/2010/main">
                  <a14:imgLayer r:embed="rId3">
                    <a14:imgEffect>
                      <a14:brightnessContrast bright="29000"/>
                    </a14:imgEffect>
                  </a14:imgLayer>
                </a14:imgProps>
              </a:ext>
            </a:extLst>
          </a:blip>
          <a:srcRect/>
          <a:stretch/>
        </p:blipFill>
        <p:spPr>
          <a:xfrm>
            <a:off x="0" y="6021387"/>
            <a:ext cx="12192000" cy="833438"/>
          </a:xfrm>
          <a:prstGeom prst="rect">
            <a:avLst/>
          </a:prstGeom>
          <a:noFill/>
          <a:ln>
            <a:noFill/>
          </a:ln>
        </p:spPr>
      </p:pic>
      <p:sp>
        <p:nvSpPr>
          <p:cNvPr id="12" name="Google Shape;31;p43">
            <a:extLst>
              <a:ext uri="{FF2B5EF4-FFF2-40B4-BE49-F238E27FC236}">
                <a16:creationId xmlns:a16="http://schemas.microsoft.com/office/drawing/2014/main" id="{09B87FC4-B073-FE40-AF2A-88853C7E4583}"/>
              </a:ext>
            </a:extLst>
          </p:cNvPr>
          <p:cNvSpPr/>
          <p:nvPr/>
        </p:nvSpPr>
        <p:spPr>
          <a:xfrm>
            <a:off x="0" y="5624044"/>
            <a:ext cx="12192000" cy="420824"/>
          </a:xfrm>
          <a:prstGeom prst="rect">
            <a:avLst/>
          </a:prstGeom>
          <a:solidFill>
            <a:schemeClr val="tx1"/>
          </a:solidFill>
          <a:ln w="9525"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 name="Google Shape;32;p43">
            <a:extLst>
              <a:ext uri="{FF2B5EF4-FFF2-40B4-BE49-F238E27FC236}">
                <a16:creationId xmlns:a16="http://schemas.microsoft.com/office/drawing/2014/main" id="{A6C37B31-7785-6B42-8FE6-02A5A4C0AD95}"/>
              </a:ext>
            </a:extLst>
          </p:cNvPr>
          <p:cNvSpPr txBox="1"/>
          <p:nvPr/>
        </p:nvSpPr>
        <p:spPr>
          <a:xfrm>
            <a:off x="11191955" y="5723999"/>
            <a:ext cx="519932" cy="230832"/>
          </a:xfrm>
          <a:prstGeom prst="rect">
            <a:avLst/>
          </a:prstGeom>
          <a:noFill/>
        </p:spPr>
        <p:txBody>
          <a:bodyPr wrap="square">
            <a:spAutoFit/>
          </a:bodyPr>
          <a:lstStyle>
            <a:defPPr marR="0" lvl="0" algn="l" rtl="0">
              <a:lnSpc>
                <a:spcPct val="100000"/>
              </a:lnSpc>
              <a:spcBef>
                <a:spcPts val="0"/>
              </a:spcBef>
              <a:spcAft>
                <a:spcPts val="0"/>
              </a:spcAft>
            </a:defPPr>
            <a:lvl1pPr>
              <a:defRPr sz="1200">
                <a:solidFill>
                  <a:schemeClr val="tx1">
                    <a:lumMod val="50000"/>
                    <a:lumOff val="50000"/>
                  </a:schemeClr>
                </a:solidFill>
                <a:latin typeface="Lato Light" panose="020F0302020204030203" pitchFamily="34" charset="77"/>
              </a:defRPr>
            </a:lvl1pPr>
          </a:lstStyle>
          <a:p>
            <a:pPr lvl="0" algn="r"/>
            <a:fld id="{00000000-1234-1234-1234-123412341234}" type="slidenum">
              <a:rPr lang="en-US" sz="900" b="0" i="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rPr>
              <a:pPr lvl="0" algn="r"/>
              <a:t>‹#›</a:t>
            </a:fld>
            <a:endParaRPr sz="900" b="0" i="0" dirty="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endParaRPr>
          </a:p>
        </p:txBody>
      </p:sp>
      <p:pic>
        <p:nvPicPr>
          <p:cNvPr id="15" name="Picture 14">
            <a:extLst>
              <a:ext uri="{FF2B5EF4-FFF2-40B4-BE49-F238E27FC236}">
                <a16:creationId xmlns:a16="http://schemas.microsoft.com/office/drawing/2014/main" id="{2D4B7D85-3634-1D48-9338-2FC261F58DDF}"/>
              </a:ext>
            </a:extLst>
          </p:cNvPr>
          <p:cNvPicPr>
            <a:picLocks noChangeAspect="1"/>
          </p:cNvPicPr>
          <p:nvPr/>
        </p:nvPicPr>
        <p:blipFill>
          <a:blip r:embed="rId4">
            <a:alphaModFix/>
          </a:blip>
          <a:stretch>
            <a:fillRect/>
          </a:stretch>
        </p:blipFill>
        <p:spPr>
          <a:xfrm>
            <a:off x="543731" y="5710578"/>
            <a:ext cx="1012019" cy="250804"/>
          </a:xfrm>
          <a:prstGeom prst="rect">
            <a:avLst/>
          </a:prstGeom>
        </p:spPr>
      </p:pic>
      <p:sp>
        <p:nvSpPr>
          <p:cNvPr id="9" name="TextBox 8">
            <a:extLst>
              <a:ext uri="{FF2B5EF4-FFF2-40B4-BE49-F238E27FC236}">
                <a16:creationId xmlns:a16="http://schemas.microsoft.com/office/drawing/2014/main" id="{20E73A29-9E2F-C7DA-8952-835BA2404FC9}"/>
              </a:ext>
            </a:extLst>
          </p:cNvPr>
          <p:cNvSpPr txBox="1"/>
          <p:nvPr/>
        </p:nvSpPr>
        <p:spPr>
          <a:xfrm>
            <a:off x="7721599" y="5720830"/>
            <a:ext cx="3470355" cy="230832"/>
          </a:xfrm>
          <a:prstGeom prst="rect">
            <a:avLst/>
          </a:prstGeom>
          <a:noFill/>
        </p:spPr>
        <p:txBody>
          <a:bodyPr wrap="square">
            <a:spAutoFit/>
          </a:bodyPr>
          <a:lstStyle/>
          <a:p>
            <a:r>
              <a:rPr lang="en-US" sz="900" b="0" i="0" dirty="0">
                <a:solidFill>
                  <a:schemeClr val="bg1"/>
                </a:solidFill>
                <a:latin typeface="Tahoma" panose="020B0604030504040204" pitchFamily="34" charset="0"/>
                <a:ea typeface="Tahoma" panose="020B0604030504040204" pitchFamily="34" charset="0"/>
                <a:cs typeface="Tahoma" panose="020B0604030504040204" pitchFamily="34" charset="0"/>
              </a:rPr>
              <a:t>Tarana Wireless, Inc.           </a:t>
            </a:r>
            <a:r>
              <a:rPr lang="en-US" sz="900" b="1" i="0" dirty="0">
                <a:solidFill>
                  <a:srgbClr val="D65527"/>
                </a:solidFill>
                <a:latin typeface="Tahoma" panose="020B0604030504040204" pitchFamily="34" charset="0"/>
                <a:ea typeface="Tahoma" panose="020B0604030504040204" pitchFamily="34" charset="0"/>
                <a:cs typeface="Tahoma" panose="020B0604030504040204" pitchFamily="34" charset="0"/>
              </a:rPr>
              <a:t>Proprietary and Confidential</a:t>
            </a:r>
          </a:p>
        </p:txBody>
      </p:sp>
      <p:sp>
        <p:nvSpPr>
          <p:cNvPr id="5" name="Text Placeholder 2">
            <a:extLst>
              <a:ext uri="{FF2B5EF4-FFF2-40B4-BE49-F238E27FC236}">
                <a16:creationId xmlns:a16="http://schemas.microsoft.com/office/drawing/2014/main" id="{E68573F7-F70E-4255-D3BB-A3CEC0398E45}"/>
              </a:ext>
            </a:extLst>
          </p:cNvPr>
          <p:cNvSpPr>
            <a:spLocks noGrp="1"/>
          </p:cNvSpPr>
          <p:nvPr>
            <p:ph idx="1"/>
          </p:nvPr>
        </p:nvSpPr>
        <p:spPr>
          <a:xfrm>
            <a:off x="838200" y="1333042"/>
            <a:ext cx="10515600" cy="3960318"/>
          </a:xfrm>
          <a:prstGeom prst="rect">
            <a:avLst/>
          </a:prstGeom>
        </p:spPr>
        <p:txBody>
          <a:bodyPr vert="horz" lIns="91440" tIns="45720" rIns="91440" bIns="45720" rtlCol="0">
            <a:normAutofit/>
          </a:bodyPr>
          <a:lstStyle>
            <a:lvl1pPr>
              <a:defRPr>
                <a:latin typeface="Lato4" panose="020F0302020204030203"/>
              </a:defRPr>
            </a:lvl1pPr>
            <a:lvl2pPr>
              <a:defRPr>
                <a:latin typeface="Lato4" panose="020F0302020204030203"/>
              </a:defRPr>
            </a:lvl2pPr>
            <a:lvl3pPr>
              <a:defRPr>
                <a:latin typeface="Lato4" panose="020F0302020204030203"/>
              </a:defRPr>
            </a:lvl3pPr>
            <a:lvl4pPr>
              <a:defRPr>
                <a:latin typeface="Lato4" panose="020F0302020204030203"/>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 name="Google Shape;52;p45">
            <a:extLst>
              <a:ext uri="{FF2B5EF4-FFF2-40B4-BE49-F238E27FC236}">
                <a16:creationId xmlns:a16="http://schemas.microsoft.com/office/drawing/2014/main" id="{84ECBC89-542A-1671-CFDA-776A1AE60A09}"/>
              </a:ext>
            </a:extLst>
          </p:cNvPr>
          <p:cNvPicPr preferRelativeResize="0"/>
          <p:nvPr userDrawn="1"/>
        </p:nvPicPr>
        <p:blipFill rotWithShape="1">
          <a:blip r:embed="rId2">
            <a:alphaModFix/>
            <a:extLst>
              <a:ext uri="{BEBA8EAE-BF5A-486C-A8C5-ECC9F3942E4B}">
                <a14:imgProps xmlns:a14="http://schemas.microsoft.com/office/drawing/2010/main">
                  <a14:imgLayer r:embed="rId3">
                    <a14:imgEffect>
                      <a14:brightnessContrast bright="29000"/>
                    </a14:imgEffect>
                  </a14:imgLayer>
                </a14:imgProps>
              </a:ext>
            </a:extLst>
          </a:blip>
          <a:srcRect/>
          <a:stretch/>
        </p:blipFill>
        <p:spPr>
          <a:xfrm>
            <a:off x="0" y="6021387"/>
            <a:ext cx="12192000" cy="833438"/>
          </a:xfrm>
          <a:prstGeom prst="rect">
            <a:avLst/>
          </a:prstGeom>
          <a:noFill/>
          <a:ln>
            <a:noFill/>
          </a:ln>
        </p:spPr>
      </p:pic>
      <p:sp>
        <p:nvSpPr>
          <p:cNvPr id="4" name="Google Shape;31;p43">
            <a:extLst>
              <a:ext uri="{FF2B5EF4-FFF2-40B4-BE49-F238E27FC236}">
                <a16:creationId xmlns:a16="http://schemas.microsoft.com/office/drawing/2014/main" id="{F5457AD9-35D3-5511-C9C9-DE1D08397052}"/>
              </a:ext>
            </a:extLst>
          </p:cNvPr>
          <p:cNvSpPr/>
          <p:nvPr userDrawn="1"/>
        </p:nvSpPr>
        <p:spPr>
          <a:xfrm>
            <a:off x="0" y="5624044"/>
            <a:ext cx="12192000" cy="420824"/>
          </a:xfrm>
          <a:prstGeom prst="rect">
            <a:avLst/>
          </a:prstGeom>
          <a:solidFill>
            <a:schemeClr val="tx1"/>
          </a:solidFill>
          <a:ln w="9525"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 name="Google Shape;32;p43">
            <a:extLst>
              <a:ext uri="{FF2B5EF4-FFF2-40B4-BE49-F238E27FC236}">
                <a16:creationId xmlns:a16="http://schemas.microsoft.com/office/drawing/2014/main" id="{BA9590C1-EE45-25D4-0BDB-422840C7163B}"/>
              </a:ext>
            </a:extLst>
          </p:cNvPr>
          <p:cNvSpPr txBox="1"/>
          <p:nvPr userDrawn="1"/>
        </p:nvSpPr>
        <p:spPr>
          <a:xfrm>
            <a:off x="11191955" y="5723999"/>
            <a:ext cx="519932" cy="230832"/>
          </a:xfrm>
          <a:prstGeom prst="rect">
            <a:avLst/>
          </a:prstGeom>
          <a:noFill/>
        </p:spPr>
        <p:txBody>
          <a:bodyPr wrap="square">
            <a:spAutoFit/>
          </a:bodyPr>
          <a:lstStyle>
            <a:defPPr marR="0" lvl="0" algn="l" rtl="0">
              <a:lnSpc>
                <a:spcPct val="100000"/>
              </a:lnSpc>
              <a:spcBef>
                <a:spcPts val="0"/>
              </a:spcBef>
              <a:spcAft>
                <a:spcPts val="0"/>
              </a:spcAft>
            </a:defPPr>
            <a:lvl1pPr>
              <a:defRPr sz="1200">
                <a:solidFill>
                  <a:schemeClr val="tx1">
                    <a:lumMod val="50000"/>
                    <a:lumOff val="50000"/>
                  </a:schemeClr>
                </a:solidFill>
                <a:latin typeface="Lato Light" panose="020F0302020204030203" pitchFamily="34" charset="77"/>
              </a:defRPr>
            </a:lvl1pPr>
          </a:lstStyle>
          <a:p>
            <a:pPr lvl="0" algn="r"/>
            <a:fld id="{00000000-1234-1234-1234-123412341234}" type="slidenum">
              <a:rPr lang="en-US" sz="900" b="0" i="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rPr>
              <a:pPr lvl="0" algn="r"/>
              <a:t>‹#›</a:t>
            </a:fld>
            <a:endParaRPr sz="900" b="0" i="0" dirty="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endParaRPr>
          </a:p>
        </p:txBody>
      </p:sp>
      <p:pic>
        <p:nvPicPr>
          <p:cNvPr id="7" name="Picture 6">
            <a:extLst>
              <a:ext uri="{FF2B5EF4-FFF2-40B4-BE49-F238E27FC236}">
                <a16:creationId xmlns:a16="http://schemas.microsoft.com/office/drawing/2014/main" id="{E5A00621-4B09-9081-0638-2987A91D8AE1}"/>
              </a:ext>
            </a:extLst>
          </p:cNvPr>
          <p:cNvPicPr>
            <a:picLocks noChangeAspect="1"/>
          </p:cNvPicPr>
          <p:nvPr userDrawn="1"/>
        </p:nvPicPr>
        <p:blipFill>
          <a:blip r:embed="rId4">
            <a:alphaModFix/>
          </a:blip>
          <a:stretch>
            <a:fillRect/>
          </a:stretch>
        </p:blipFill>
        <p:spPr>
          <a:xfrm>
            <a:off x="543731" y="5710578"/>
            <a:ext cx="1012019" cy="250804"/>
          </a:xfrm>
          <a:prstGeom prst="rect">
            <a:avLst/>
          </a:prstGeom>
        </p:spPr>
      </p:pic>
      <p:sp>
        <p:nvSpPr>
          <p:cNvPr id="8" name="TextBox 7">
            <a:extLst>
              <a:ext uri="{FF2B5EF4-FFF2-40B4-BE49-F238E27FC236}">
                <a16:creationId xmlns:a16="http://schemas.microsoft.com/office/drawing/2014/main" id="{EFFB0CA5-6B2E-3003-0114-39EEF92F12D3}"/>
              </a:ext>
            </a:extLst>
          </p:cNvPr>
          <p:cNvSpPr txBox="1"/>
          <p:nvPr userDrawn="1"/>
        </p:nvSpPr>
        <p:spPr>
          <a:xfrm>
            <a:off x="7721599" y="5720830"/>
            <a:ext cx="3470355" cy="230832"/>
          </a:xfrm>
          <a:prstGeom prst="rect">
            <a:avLst/>
          </a:prstGeom>
          <a:noFill/>
        </p:spPr>
        <p:txBody>
          <a:bodyPr wrap="square">
            <a:spAutoFit/>
          </a:bodyPr>
          <a:lstStyle/>
          <a:p>
            <a:r>
              <a:rPr lang="en-US" sz="900" b="0" i="0" dirty="0">
                <a:solidFill>
                  <a:schemeClr val="bg1"/>
                </a:solidFill>
                <a:latin typeface="Tahoma" panose="020B0604030504040204" pitchFamily="34" charset="0"/>
                <a:ea typeface="Tahoma" panose="020B0604030504040204" pitchFamily="34" charset="0"/>
                <a:cs typeface="Tahoma" panose="020B0604030504040204" pitchFamily="34" charset="0"/>
              </a:rPr>
              <a:t>Tarana Wireless, Inc.           </a:t>
            </a:r>
            <a:r>
              <a:rPr lang="en-US" sz="900" b="1" i="0" dirty="0">
                <a:solidFill>
                  <a:srgbClr val="D65527"/>
                </a:solidFill>
                <a:latin typeface="Tahoma" panose="020B0604030504040204" pitchFamily="34" charset="0"/>
                <a:ea typeface="Tahoma" panose="020B0604030504040204" pitchFamily="34" charset="0"/>
                <a:cs typeface="Tahoma" panose="020B0604030504040204" pitchFamily="34" charset="0"/>
              </a:rPr>
              <a:t>Proprietary and Confidential</a:t>
            </a:r>
          </a:p>
        </p:txBody>
      </p:sp>
    </p:spTree>
    <p:extLst>
      <p:ext uri="{BB962C8B-B14F-4D97-AF65-F5344CB8AC3E}">
        <p14:creationId xmlns:p14="http://schemas.microsoft.com/office/powerpoint/2010/main" val="3629126569"/>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Title and Cont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40158-E4DD-9A4C-BBD3-2355F5B92AEE}"/>
              </a:ext>
            </a:extLst>
          </p:cNvPr>
          <p:cNvSpPr>
            <a:spLocks noGrp="1"/>
          </p:cNvSpPr>
          <p:nvPr>
            <p:ph type="title"/>
          </p:nvPr>
        </p:nvSpPr>
        <p:spPr/>
        <p:txBody>
          <a:bodyPr/>
          <a:lstStyle>
            <a:lvl1pPr>
              <a:defRPr>
                <a:latin typeface="Lato4" panose="020F0302020204030203"/>
              </a:defRPr>
            </a:lvl1pPr>
          </a:lstStyle>
          <a:p>
            <a:r>
              <a:rPr lang="en-US"/>
              <a:t>Click to edit Master title style</a:t>
            </a:r>
            <a:endParaRPr lang="en-US" dirty="0"/>
          </a:p>
        </p:txBody>
      </p:sp>
      <p:sp>
        <p:nvSpPr>
          <p:cNvPr id="12" name="Google Shape;31;p43">
            <a:extLst>
              <a:ext uri="{FF2B5EF4-FFF2-40B4-BE49-F238E27FC236}">
                <a16:creationId xmlns:a16="http://schemas.microsoft.com/office/drawing/2014/main" id="{09B87FC4-B073-FE40-AF2A-88853C7E4583}"/>
              </a:ext>
            </a:extLst>
          </p:cNvPr>
          <p:cNvSpPr/>
          <p:nvPr/>
        </p:nvSpPr>
        <p:spPr>
          <a:xfrm>
            <a:off x="0" y="5624044"/>
            <a:ext cx="12192000" cy="420824"/>
          </a:xfrm>
          <a:prstGeom prst="rect">
            <a:avLst/>
          </a:prstGeom>
          <a:solidFill>
            <a:schemeClr val="tx1"/>
          </a:solidFill>
          <a:ln w="9525"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 name="Google Shape;32;p43">
            <a:extLst>
              <a:ext uri="{FF2B5EF4-FFF2-40B4-BE49-F238E27FC236}">
                <a16:creationId xmlns:a16="http://schemas.microsoft.com/office/drawing/2014/main" id="{A6C37B31-7785-6B42-8FE6-02A5A4C0AD95}"/>
              </a:ext>
            </a:extLst>
          </p:cNvPr>
          <p:cNvSpPr txBox="1"/>
          <p:nvPr/>
        </p:nvSpPr>
        <p:spPr>
          <a:xfrm>
            <a:off x="11191955" y="5723999"/>
            <a:ext cx="519932" cy="230832"/>
          </a:xfrm>
          <a:prstGeom prst="rect">
            <a:avLst/>
          </a:prstGeom>
          <a:noFill/>
        </p:spPr>
        <p:txBody>
          <a:bodyPr wrap="square">
            <a:spAutoFit/>
          </a:bodyPr>
          <a:lstStyle>
            <a:defPPr marR="0" lvl="0" algn="l" rtl="0">
              <a:lnSpc>
                <a:spcPct val="100000"/>
              </a:lnSpc>
              <a:spcBef>
                <a:spcPts val="0"/>
              </a:spcBef>
              <a:spcAft>
                <a:spcPts val="0"/>
              </a:spcAft>
            </a:defPPr>
            <a:lvl1pPr>
              <a:defRPr sz="1200">
                <a:solidFill>
                  <a:schemeClr val="tx1">
                    <a:lumMod val="50000"/>
                    <a:lumOff val="50000"/>
                  </a:schemeClr>
                </a:solidFill>
                <a:latin typeface="Lato Light" panose="020F0302020204030203" pitchFamily="34" charset="77"/>
              </a:defRPr>
            </a:lvl1pPr>
          </a:lstStyle>
          <a:p>
            <a:pPr lvl="0" algn="r"/>
            <a:fld id="{00000000-1234-1234-1234-123412341234}" type="slidenum">
              <a:rPr lang="en-US" sz="900" b="0" i="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rPr>
              <a:pPr lvl="0" algn="r"/>
              <a:t>‹#›</a:t>
            </a:fld>
            <a:endParaRPr sz="900" b="0" i="0" dirty="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endParaRPr>
          </a:p>
        </p:txBody>
      </p:sp>
      <p:pic>
        <p:nvPicPr>
          <p:cNvPr id="15" name="Picture 14">
            <a:extLst>
              <a:ext uri="{FF2B5EF4-FFF2-40B4-BE49-F238E27FC236}">
                <a16:creationId xmlns:a16="http://schemas.microsoft.com/office/drawing/2014/main" id="{2D4B7D85-3634-1D48-9338-2FC261F58DDF}"/>
              </a:ext>
            </a:extLst>
          </p:cNvPr>
          <p:cNvPicPr>
            <a:picLocks noChangeAspect="1"/>
          </p:cNvPicPr>
          <p:nvPr/>
        </p:nvPicPr>
        <p:blipFill>
          <a:blip r:embed="rId2">
            <a:alphaModFix/>
          </a:blip>
          <a:stretch>
            <a:fillRect/>
          </a:stretch>
        </p:blipFill>
        <p:spPr>
          <a:xfrm>
            <a:off x="543731" y="5710578"/>
            <a:ext cx="1012019" cy="250804"/>
          </a:xfrm>
          <a:prstGeom prst="rect">
            <a:avLst/>
          </a:prstGeom>
        </p:spPr>
      </p:pic>
      <p:pic>
        <p:nvPicPr>
          <p:cNvPr id="9" name="Google Shape;44;p48">
            <a:extLst>
              <a:ext uri="{FF2B5EF4-FFF2-40B4-BE49-F238E27FC236}">
                <a16:creationId xmlns:a16="http://schemas.microsoft.com/office/drawing/2014/main" id="{6140FF17-885D-ACE2-0BE1-D236BFB3CA2F}"/>
              </a:ext>
            </a:extLst>
          </p:cNvPr>
          <p:cNvPicPr preferRelativeResize="0"/>
          <p:nvPr/>
        </p:nvPicPr>
        <p:blipFill rotWithShape="1">
          <a:blip r:embed="rId3">
            <a:alphaModFix/>
            <a:extLst>
              <a:ext uri="{BEBA8EAE-BF5A-486C-A8C5-ECC9F3942E4B}">
                <a14:imgProps xmlns:a14="http://schemas.microsoft.com/office/drawing/2010/main">
                  <a14:imgLayer r:embed="rId4">
                    <a14:imgEffect>
                      <a14:brightnessContrast bright="20000" contrast="-40000"/>
                    </a14:imgEffect>
                  </a14:imgLayer>
                </a14:imgProps>
              </a:ext>
            </a:extLst>
          </a:blip>
          <a:srcRect/>
          <a:stretch/>
        </p:blipFill>
        <p:spPr>
          <a:xfrm>
            <a:off x="0" y="6024562"/>
            <a:ext cx="12192000" cy="833438"/>
          </a:xfrm>
          <a:prstGeom prst="rect">
            <a:avLst/>
          </a:prstGeom>
          <a:noFill/>
          <a:ln>
            <a:noFill/>
          </a:ln>
        </p:spPr>
      </p:pic>
      <p:sp>
        <p:nvSpPr>
          <p:cNvPr id="11" name="TextBox 10">
            <a:extLst>
              <a:ext uri="{FF2B5EF4-FFF2-40B4-BE49-F238E27FC236}">
                <a16:creationId xmlns:a16="http://schemas.microsoft.com/office/drawing/2014/main" id="{42BE8978-ACA5-40DF-B2EE-DB246E1C1D82}"/>
              </a:ext>
            </a:extLst>
          </p:cNvPr>
          <p:cNvSpPr txBox="1"/>
          <p:nvPr/>
        </p:nvSpPr>
        <p:spPr>
          <a:xfrm>
            <a:off x="7721599" y="5720830"/>
            <a:ext cx="3470355" cy="230832"/>
          </a:xfrm>
          <a:prstGeom prst="rect">
            <a:avLst/>
          </a:prstGeom>
          <a:noFill/>
        </p:spPr>
        <p:txBody>
          <a:bodyPr wrap="square">
            <a:spAutoFit/>
          </a:bodyPr>
          <a:lstStyle/>
          <a:p>
            <a:r>
              <a:rPr lang="en-US" sz="900" b="0" i="0" dirty="0">
                <a:solidFill>
                  <a:schemeClr val="bg1"/>
                </a:solidFill>
                <a:latin typeface="Tahoma" panose="020B0604030504040204" pitchFamily="34" charset="0"/>
                <a:ea typeface="Tahoma" panose="020B0604030504040204" pitchFamily="34" charset="0"/>
                <a:cs typeface="Tahoma" panose="020B0604030504040204" pitchFamily="34" charset="0"/>
              </a:rPr>
              <a:t>Tarana Wireless, Inc.           </a:t>
            </a:r>
            <a:r>
              <a:rPr lang="en-US" sz="900" b="1" i="0" dirty="0">
                <a:solidFill>
                  <a:srgbClr val="D65527"/>
                </a:solidFill>
                <a:latin typeface="Tahoma" panose="020B0604030504040204" pitchFamily="34" charset="0"/>
                <a:ea typeface="Tahoma" panose="020B0604030504040204" pitchFamily="34" charset="0"/>
                <a:cs typeface="Tahoma" panose="020B0604030504040204" pitchFamily="34" charset="0"/>
              </a:rPr>
              <a:t>Proprietary and Confidential</a:t>
            </a:r>
          </a:p>
        </p:txBody>
      </p:sp>
      <p:sp>
        <p:nvSpPr>
          <p:cNvPr id="4" name="Text Placeholder 2">
            <a:extLst>
              <a:ext uri="{FF2B5EF4-FFF2-40B4-BE49-F238E27FC236}">
                <a16:creationId xmlns:a16="http://schemas.microsoft.com/office/drawing/2014/main" id="{C5768737-E8C3-4CD2-1CF1-C750491E6A10}"/>
              </a:ext>
            </a:extLst>
          </p:cNvPr>
          <p:cNvSpPr>
            <a:spLocks noGrp="1"/>
          </p:cNvSpPr>
          <p:nvPr>
            <p:ph idx="1"/>
          </p:nvPr>
        </p:nvSpPr>
        <p:spPr>
          <a:xfrm>
            <a:off x="838200" y="1333042"/>
            <a:ext cx="10515600" cy="4041598"/>
          </a:xfrm>
          <a:prstGeom prst="rect">
            <a:avLst/>
          </a:prstGeom>
        </p:spPr>
        <p:txBody>
          <a:bodyPr vert="horz" lIns="91440" tIns="45720" rIns="91440" bIns="45720" rtlCol="0">
            <a:normAutofit/>
          </a:bodyPr>
          <a:lstStyle>
            <a:lvl1pPr>
              <a:defRPr>
                <a:latin typeface="Lato4" panose="020F0302020204030203"/>
              </a:defRPr>
            </a:lvl1pPr>
            <a:lvl2pPr>
              <a:defRPr>
                <a:latin typeface="Lato4" panose="020F0302020204030203"/>
              </a:defRPr>
            </a:lvl2pPr>
            <a:lvl3pPr>
              <a:defRPr>
                <a:latin typeface="Lato4" panose="020F0302020204030203"/>
              </a:defRPr>
            </a:lvl3pPr>
            <a:lvl4pPr>
              <a:defRPr>
                <a:latin typeface="Lato4" panose="020F0302020204030203"/>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Google Shape;31;p43">
            <a:extLst>
              <a:ext uri="{FF2B5EF4-FFF2-40B4-BE49-F238E27FC236}">
                <a16:creationId xmlns:a16="http://schemas.microsoft.com/office/drawing/2014/main" id="{C0B86C83-CF33-FEB8-1B12-F7E5320B6B1B}"/>
              </a:ext>
            </a:extLst>
          </p:cNvPr>
          <p:cNvSpPr/>
          <p:nvPr userDrawn="1"/>
        </p:nvSpPr>
        <p:spPr>
          <a:xfrm>
            <a:off x="0" y="5624044"/>
            <a:ext cx="12192000" cy="420824"/>
          </a:xfrm>
          <a:prstGeom prst="rect">
            <a:avLst/>
          </a:prstGeom>
          <a:solidFill>
            <a:schemeClr val="tx1"/>
          </a:solidFill>
          <a:ln w="9525"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 name="Google Shape;32;p43">
            <a:extLst>
              <a:ext uri="{FF2B5EF4-FFF2-40B4-BE49-F238E27FC236}">
                <a16:creationId xmlns:a16="http://schemas.microsoft.com/office/drawing/2014/main" id="{9EB1F399-6D20-0E3B-C3F6-E809D7578588}"/>
              </a:ext>
            </a:extLst>
          </p:cNvPr>
          <p:cNvSpPr txBox="1"/>
          <p:nvPr userDrawn="1"/>
        </p:nvSpPr>
        <p:spPr>
          <a:xfrm>
            <a:off x="11191955" y="5723999"/>
            <a:ext cx="519932" cy="230832"/>
          </a:xfrm>
          <a:prstGeom prst="rect">
            <a:avLst/>
          </a:prstGeom>
          <a:noFill/>
        </p:spPr>
        <p:txBody>
          <a:bodyPr wrap="square">
            <a:spAutoFit/>
          </a:bodyPr>
          <a:lstStyle>
            <a:defPPr marR="0" lvl="0" algn="l" rtl="0">
              <a:lnSpc>
                <a:spcPct val="100000"/>
              </a:lnSpc>
              <a:spcBef>
                <a:spcPts val="0"/>
              </a:spcBef>
              <a:spcAft>
                <a:spcPts val="0"/>
              </a:spcAft>
            </a:defPPr>
            <a:lvl1pPr>
              <a:defRPr sz="1200">
                <a:solidFill>
                  <a:schemeClr val="tx1">
                    <a:lumMod val="50000"/>
                    <a:lumOff val="50000"/>
                  </a:schemeClr>
                </a:solidFill>
                <a:latin typeface="Lato Light" panose="020F0302020204030203" pitchFamily="34" charset="77"/>
              </a:defRPr>
            </a:lvl1pPr>
          </a:lstStyle>
          <a:p>
            <a:pPr lvl="0" algn="r"/>
            <a:fld id="{00000000-1234-1234-1234-123412341234}" type="slidenum">
              <a:rPr lang="en-US" sz="900" b="0" i="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rPr>
              <a:pPr lvl="0" algn="r"/>
              <a:t>‹#›</a:t>
            </a:fld>
            <a:endParaRPr sz="900" b="0" i="0" dirty="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endParaRPr>
          </a:p>
        </p:txBody>
      </p:sp>
      <p:pic>
        <p:nvPicPr>
          <p:cNvPr id="6" name="Picture 5">
            <a:extLst>
              <a:ext uri="{FF2B5EF4-FFF2-40B4-BE49-F238E27FC236}">
                <a16:creationId xmlns:a16="http://schemas.microsoft.com/office/drawing/2014/main" id="{396076B1-67F0-C133-A052-79EE18F6B836}"/>
              </a:ext>
            </a:extLst>
          </p:cNvPr>
          <p:cNvPicPr>
            <a:picLocks noChangeAspect="1"/>
          </p:cNvPicPr>
          <p:nvPr userDrawn="1"/>
        </p:nvPicPr>
        <p:blipFill>
          <a:blip r:embed="rId2">
            <a:alphaModFix/>
          </a:blip>
          <a:stretch>
            <a:fillRect/>
          </a:stretch>
        </p:blipFill>
        <p:spPr>
          <a:xfrm>
            <a:off x="543731" y="5710578"/>
            <a:ext cx="1012019" cy="250804"/>
          </a:xfrm>
          <a:prstGeom prst="rect">
            <a:avLst/>
          </a:prstGeom>
        </p:spPr>
      </p:pic>
      <p:pic>
        <p:nvPicPr>
          <p:cNvPr id="7" name="Google Shape;44;p48">
            <a:extLst>
              <a:ext uri="{FF2B5EF4-FFF2-40B4-BE49-F238E27FC236}">
                <a16:creationId xmlns:a16="http://schemas.microsoft.com/office/drawing/2014/main" id="{7E3562DE-AAC3-2381-E438-97244FED9D0B}"/>
              </a:ext>
            </a:extLst>
          </p:cNvPr>
          <p:cNvPicPr preferRelativeResize="0"/>
          <p:nvPr userDrawn="1"/>
        </p:nvPicPr>
        <p:blipFill rotWithShape="1">
          <a:blip r:embed="rId3">
            <a:alphaModFix/>
            <a:extLst>
              <a:ext uri="{BEBA8EAE-BF5A-486C-A8C5-ECC9F3942E4B}">
                <a14:imgProps xmlns:a14="http://schemas.microsoft.com/office/drawing/2010/main">
                  <a14:imgLayer r:embed="rId4">
                    <a14:imgEffect>
                      <a14:brightnessContrast bright="20000" contrast="-40000"/>
                    </a14:imgEffect>
                  </a14:imgLayer>
                </a14:imgProps>
              </a:ext>
            </a:extLst>
          </a:blip>
          <a:srcRect/>
          <a:stretch/>
        </p:blipFill>
        <p:spPr>
          <a:xfrm>
            <a:off x="0" y="6024562"/>
            <a:ext cx="12192000" cy="833438"/>
          </a:xfrm>
          <a:prstGeom prst="rect">
            <a:avLst/>
          </a:prstGeom>
          <a:noFill/>
          <a:ln>
            <a:noFill/>
          </a:ln>
        </p:spPr>
      </p:pic>
      <p:sp>
        <p:nvSpPr>
          <p:cNvPr id="8" name="TextBox 7">
            <a:extLst>
              <a:ext uri="{FF2B5EF4-FFF2-40B4-BE49-F238E27FC236}">
                <a16:creationId xmlns:a16="http://schemas.microsoft.com/office/drawing/2014/main" id="{B3F54C5F-2542-4BC7-3789-F89C46437C3D}"/>
              </a:ext>
            </a:extLst>
          </p:cNvPr>
          <p:cNvSpPr txBox="1"/>
          <p:nvPr userDrawn="1"/>
        </p:nvSpPr>
        <p:spPr>
          <a:xfrm>
            <a:off x="7721599" y="5720830"/>
            <a:ext cx="3470355" cy="230832"/>
          </a:xfrm>
          <a:prstGeom prst="rect">
            <a:avLst/>
          </a:prstGeom>
          <a:noFill/>
        </p:spPr>
        <p:txBody>
          <a:bodyPr wrap="square">
            <a:spAutoFit/>
          </a:bodyPr>
          <a:lstStyle/>
          <a:p>
            <a:r>
              <a:rPr lang="en-US" sz="900" b="0" i="0" dirty="0">
                <a:solidFill>
                  <a:schemeClr val="bg1"/>
                </a:solidFill>
                <a:latin typeface="Tahoma" panose="020B0604030504040204" pitchFamily="34" charset="0"/>
                <a:ea typeface="Tahoma" panose="020B0604030504040204" pitchFamily="34" charset="0"/>
                <a:cs typeface="Tahoma" panose="020B0604030504040204" pitchFamily="34" charset="0"/>
              </a:rPr>
              <a:t>Tarana Wireless, Inc.           </a:t>
            </a:r>
            <a:r>
              <a:rPr lang="en-US" sz="900" b="1" i="0" dirty="0">
                <a:solidFill>
                  <a:srgbClr val="D65527"/>
                </a:solidFill>
                <a:latin typeface="Tahoma" panose="020B0604030504040204" pitchFamily="34" charset="0"/>
                <a:ea typeface="Tahoma" panose="020B0604030504040204" pitchFamily="34" charset="0"/>
                <a:cs typeface="Tahoma" panose="020B0604030504040204" pitchFamily="34" charset="0"/>
              </a:rPr>
              <a:t>Proprietary and Confidential</a:t>
            </a:r>
          </a:p>
        </p:txBody>
      </p:sp>
    </p:spTree>
    <p:extLst>
      <p:ext uri="{BB962C8B-B14F-4D97-AF65-F5344CB8AC3E}">
        <p14:creationId xmlns:p14="http://schemas.microsoft.com/office/powerpoint/2010/main" val="76940371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Title and Conten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40158-E4DD-9A4C-BBD3-2355F5B92AEE}"/>
              </a:ext>
            </a:extLst>
          </p:cNvPr>
          <p:cNvSpPr>
            <a:spLocks noGrp="1"/>
          </p:cNvSpPr>
          <p:nvPr>
            <p:ph type="title"/>
          </p:nvPr>
        </p:nvSpPr>
        <p:spPr/>
        <p:txBody>
          <a:bodyPr/>
          <a:lstStyle>
            <a:lvl1pPr>
              <a:defRPr>
                <a:latin typeface="Lato4" panose="020F0302020204030203"/>
              </a:defRPr>
            </a:lvl1pPr>
          </a:lstStyle>
          <a:p>
            <a:r>
              <a:rPr lang="en-US"/>
              <a:t>Click to edit Master title style</a:t>
            </a:r>
            <a:endParaRPr lang="en-US" dirty="0"/>
          </a:p>
        </p:txBody>
      </p:sp>
      <p:sp>
        <p:nvSpPr>
          <p:cNvPr id="12" name="Google Shape;31;p43">
            <a:extLst>
              <a:ext uri="{FF2B5EF4-FFF2-40B4-BE49-F238E27FC236}">
                <a16:creationId xmlns:a16="http://schemas.microsoft.com/office/drawing/2014/main" id="{09B87FC4-B073-FE40-AF2A-88853C7E4583}"/>
              </a:ext>
            </a:extLst>
          </p:cNvPr>
          <p:cNvSpPr/>
          <p:nvPr/>
        </p:nvSpPr>
        <p:spPr>
          <a:xfrm>
            <a:off x="0" y="5624044"/>
            <a:ext cx="12192000" cy="420824"/>
          </a:xfrm>
          <a:prstGeom prst="rect">
            <a:avLst/>
          </a:prstGeom>
          <a:solidFill>
            <a:schemeClr val="tx1"/>
          </a:solidFill>
          <a:ln w="9525"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 name="Google Shape;32;p43">
            <a:extLst>
              <a:ext uri="{FF2B5EF4-FFF2-40B4-BE49-F238E27FC236}">
                <a16:creationId xmlns:a16="http://schemas.microsoft.com/office/drawing/2014/main" id="{A6C37B31-7785-6B42-8FE6-02A5A4C0AD95}"/>
              </a:ext>
            </a:extLst>
          </p:cNvPr>
          <p:cNvSpPr txBox="1"/>
          <p:nvPr/>
        </p:nvSpPr>
        <p:spPr>
          <a:xfrm>
            <a:off x="11191955" y="5723999"/>
            <a:ext cx="519932" cy="230832"/>
          </a:xfrm>
          <a:prstGeom prst="rect">
            <a:avLst/>
          </a:prstGeom>
          <a:noFill/>
        </p:spPr>
        <p:txBody>
          <a:bodyPr wrap="square">
            <a:spAutoFit/>
          </a:bodyPr>
          <a:lstStyle>
            <a:defPPr marR="0" lvl="0" algn="l" rtl="0">
              <a:lnSpc>
                <a:spcPct val="100000"/>
              </a:lnSpc>
              <a:spcBef>
                <a:spcPts val="0"/>
              </a:spcBef>
              <a:spcAft>
                <a:spcPts val="0"/>
              </a:spcAft>
            </a:defPPr>
            <a:lvl1pPr>
              <a:defRPr sz="1200">
                <a:solidFill>
                  <a:schemeClr val="tx1">
                    <a:lumMod val="50000"/>
                    <a:lumOff val="50000"/>
                  </a:schemeClr>
                </a:solidFill>
                <a:latin typeface="Lato Light" panose="020F0302020204030203" pitchFamily="34" charset="77"/>
              </a:defRPr>
            </a:lvl1pPr>
          </a:lstStyle>
          <a:p>
            <a:pPr lvl="0" algn="r"/>
            <a:fld id="{00000000-1234-1234-1234-123412341234}" type="slidenum">
              <a:rPr lang="en-US" sz="900" b="0" i="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rPr>
              <a:pPr lvl="0" algn="r"/>
              <a:t>‹#›</a:t>
            </a:fld>
            <a:endParaRPr sz="900" b="0" i="0" dirty="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endParaRPr>
          </a:p>
        </p:txBody>
      </p:sp>
      <p:pic>
        <p:nvPicPr>
          <p:cNvPr id="15" name="Picture 14">
            <a:extLst>
              <a:ext uri="{FF2B5EF4-FFF2-40B4-BE49-F238E27FC236}">
                <a16:creationId xmlns:a16="http://schemas.microsoft.com/office/drawing/2014/main" id="{2D4B7D85-3634-1D48-9338-2FC261F58DDF}"/>
              </a:ext>
            </a:extLst>
          </p:cNvPr>
          <p:cNvPicPr>
            <a:picLocks noChangeAspect="1"/>
          </p:cNvPicPr>
          <p:nvPr/>
        </p:nvPicPr>
        <p:blipFill>
          <a:blip r:embed="rId2">
            <a:alphaModFix/>
          </a:blip>
          <a:stretch>
            <a:fillRect/>
          </a:stretch>
        </p:blipFill>
        <p:spPr>
          <a:xfrm>
            <a:off x="543731" y="5710578"/>
            <a:ext cx="1012019" cy="250804"/>
          </a:xfrm>
          <a:prstGeom prst="rect">
            <a:avLst/>
          </a:prstGeom>
        </p:spPr>
      </p:pic>
      <p:pic>
        <p:nvPicPr>
          <p:cNvPr id="9" name="Google Shape;62;p46">
            <a:extLst>
              <a:ext uri="{FF2B5EF4-FFF2-40B4-BE49-F238E27FC236}">
                <a16:creationId xmlns:a16="http://schemas.microsoft.com/office/drawing/2014/main" id="{750EB238-1225-AED0-1B9B-ED1A853A1DB1}"/>
              </a:ext>
            </a:extLst>
          </p:cNvPr>
          <p:cNvPicPr preferRelativeResize="0"/>
          <p:nvPr/>
        </p:nvPicPr>
        <p:blipFill rotWithShape="1">
          <a:blip r:embed="rId3">
            <a:alphaModFix/>
            <a:extLst>
              <a:ext uri="{BEBA8EAE-BF5A-486C-A8C5-ECC9F3942E4B}">
                <a14:imgProps xmlns:a14="http://schemas.microsoft.com/office/drawing/2010/main">
                  <a14:imgLayer r:embed="rId4">
                    <a14:imgEffect>
                      <a14:brightnessContrast bright="20000" contrast="-20000"/>
                    </a14:imgEffect>
                  </a14:imgLayer>
                </a14:imgProps>
              </a:ext>
            </a:extLst>
          </a:blip>
          <a:srcRect/>
          <a:stretch/>
        </p:blipFill>
        <p:spPr>
          <a:xfrm>
            <a:off x="0" y="6024562"/>
            <a:ext cx="12192000" cy="833438"/>
          </a:xfrm>
          <a:prstGeom prst="rect">
            <a:avLst/>
          </a:prstGeom>
          <a:noFill/>
          <a:ln>
            <a:noFill/>
          </a:ln>
        </p:spPr>
      </p:pic>
      <p:sp>
        <p:nvSpPr>
          <p:cNvPr id="11" name="TextBox 10">
            <a:extLst>
              <a:ext uri="{FF2B5EF4-FFF2-40B4-BE49-F238E27FC236}">
                <a16:creationId xmlns:a16="http://schemas.microsoft.com/office/drawing/2014/main" id="{7B2B09FA-01F7-16FA-83BF-C9551C06FC66}"/>
              </a:ext>
            </a:extLst>
          </p:cNvPr>
          <p:cNvSpPr txBox="1"/>
          <p:nvPr/>
        </p:nvSpPr>
        <p:spPr>
          <a:xfrm>
            <a:off x="7721599" y="5720830"/>
            <a:ext cx="3470355" cy="230832"/>
          </a:xfrm>
          <a:prstGeom prst="rect">
            <a:avLst/>
          </a:prstGeom>
          <a:noFill/>
        </p:spPr>
        <p:txBody>
          <a:bodyPr wrap="square">
            <a:spAutoFit/>
          </a:bodyPr>
          <a:lstStyle/>
          <a:p>
            <a:r>
              <a:rPr lang="en-US" sz="900" b="0" i="0" dirty="0">
                <a:solidFill>
                  <a:schemeClr val="bg1"/>
                </a:solidFill>
                <a:latin typeface="Tahoma" panose="020B0604030504040204" pitchFamily="34" charset="0"/>
                <a:ea typeface="Tahoma" panose="020B0604030504040204" pitchFamily="34" charset="0"/>
                <a:cs typeface="Tahoma" panose="020B0604030504040204" pitchFamily="34" charset="0"/>
              </a:rPr>
              <a:t>Tarana Wireless, Inc.           </a:t>
            </a:r>
            <a:r>
              <a:rPr lang="en-US" sz="900" b="1" i="0" dirty="0">
                <a:solidFill>
                  <a:srgbClr val="D65527"/>
                </a:solidFill>
                <a:latin typeface="Tahoma" panose="020B0604030504040204" pitchFamily="34" charset="0"/>
                <a:ea typeface="Tahoma" panose="020B0604030504040204" pitchFamily="34" charset="0"/>
                <a:cs typeface="Tahoma" panose="020B0604030504040204" pitchFamily="34" charset="0"/>
              </a:rPr>
              <a:t>Proprietary and Confidential</a:t>
            </a:r>
          </a:p>
        </p:txBody>
      </p:sp>
      <p:sp>
        <p:nvSpPr>
          <p:cNvPr id="4" name="Text Placeholder 2">
            <a:extLst>
              <a:ext uri="{FF2B5EF4-FFF2-40B4-BE49-F238E27FC236}">
                <a16:creationId xmlns:a16="http://schemas.microsoft.com/office/drawing/2014/main" id="{F79CF213-B45D-1D6C-1C19-26004436A45E}"/>
              </a:ext>
            </a:extLst>
          </p:cNvPr>
          <p:cNvSpPr>
            <a:spLocks noGrp="1"/>
          </p:cNvSpPr>
          <p:nvPr>
            <p:ph idx="1"/>
          </p:nvPr>
        </p:nvSpPr>
        <p:spPr>
          <a:xfrm>
            <a:off x="838200" y="1333042"/>
            <a:ext cx="10515600" cy="4051758"/>
          </a:xfrm>
          <a:prstGeom prst="rect">
            <a:avLst/>
          </a:prstGeom>
        </p:spPr>
        <p:txBody>
          <a:bodyPr vert="horz" lIns="91440" tIns="45720" rIns="91440" bIns="45720" rtlCol="0">
            <a:normAutofit/>
          </a:bodyPr>
          <a:lstStyle>
            <a:lvl1pPr>
              <a:defRPr>
                <a:latin typeface="Lato4" panose="020F0302020204030203"/>
              </a:defRPr>
            </a:lvl1pPr>
            <a:lvl2pPr>
              <a:defRPr>
                <a:latin typeface="Lato4" panose="020F0302020204030203"/>
              </a:defRPr>
            </a:lvl2pPr>
            <a:lvl3pPr>
              <a:defRPr>
                <a:latin typeface="Lato4" panose="020F0302020204030203"/>
              </a:defRPr>
            </a:lvl3pPr>
            <a:lvl4pPr>
              <a:defRPr>
                <a:latin typeface="Lato4" panose="020F0302020204030203"/>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Google Shape;31;p43">
            <a:extLst>
              <a:ext uri="{FF2B5EF4-FFF2-40B4-BE49-F238E27FC236}">
                <a16:creationId xmlns:a16="http://schemas.microsoft.com/office/drawing/2014/main" id="{29F5E984-18C1-4A18-B791-E645645DD9E5}"/>
              </a:ext>
            </a:extLst>
          </p:cNvPr>
          <p:cNvSpPr/>
          <p:nvPr userDrawn="1"/>
        </p:nvSpPr>
        <p:spPr>
          <a:xfrm>
            <a:off x="0" y="5624044"/>
            <a:ext cx="12192000" cy="420824"/>
          </a:xfrm>
          <a:prstGeom prst="rect">
            <a:avLst/>
          </a:prstGeom>
          <a:solidFill>
            <a:schemeClr val="tx1"/>
          </a:solidFill>
          <a:ln w="9525"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 name="Google Shape;32;p43">
            <a:extLst>
              <a:ext uri="{FF2B5EF4-FFF2-40B4-BE49-F238E27FC236}">
                <a16:creationId xmlns:a16="http://schemas.microsoft.com/office/drawing/2014/main" id="{398C9623-B159-2BBF-EBB8-857AB3CFE15E}"/>
              </a:ext>
            </a:extLst>
          </p:cNvPr>
          <p:cNvSpPr txBox="1"/>
          <p:nvPr userDrawn="1"/>
        </p:nvSpPr>
        <p:spPr>
          <a:xfrm>
            <a:off x="11191955" y="5723999"/>
            <a:ext cx="519932" cy="230832"/>
          </a:xfrm>
          <a:prstGeom prst="rect">
            <a:avLst/>
          </a:prstGeom>
          <a:noFill/>
        </p:spPr>
        <p:txBody>
          <a:bodyPr wrap="square">
            <a:spAutoFit/>
          </a:bodyPr>
          <a:lstStyle>
            <a:defPPr marR="0" lvl="0" algn="l" rtl="0">
              <a:lnSpc>
                <a:spcPct val="100000"/>
              </a:lnSpc>
              <a:spcBef>
                <a:spcPts val="0"/>
              </a:spcBef>
              <a:spcAft>
                <a:spcPts val="0"/>
              </a:spcAft>
            </a:defPPr>
            <a:lvl1pPr>
              <a:defRPr sz="1200">
                <a:solidFill>
                  <a:schemeClr val="tx1">
                    <a:lumMod val="50000"/>
                    <a:lumOff val="50000"/>
                  </a:schemeClr>
                </a:solidFill>
                <a:latin typeface="Lato Light" panose="020F0302020204030203" pitchFamily="34" charset="77"/>
              </a:defRPr>
            </a:lvl1pPr>
          </a:lstStyle>
          <a:p>
            <a:pPr lvl="0" algn="r"/>
            <a:fld id="{00000000-1234-1234-1234-123412341234}" type="slidenum">
              <a:rPr lang="en-US" sz="900" b="0" i="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rPr>
              <a:pPr lvl="0" algn="r"/>
              <a:t>‹#›</a:t>
            </a:fld>
            <a:endParaRPr sz="900" b="0" i="0" dirty="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endParaRPr>
          </a:p>
        </p:txBody>
      </p:sp>
      <p:pic>
        <p:nvPicPr>
          <p:cNvPr id="6" name="Picture 5">
            <a:extLst>
              <a:ext uri="{FF2B5EF4-FFF2-40B4-BE49-F238E27FC236}">
                <a16:creationId xmlns:a16="http://schemas.microsoft.com/office/drawing/2014/main" id="{2BD1DB38-0B33-38BF-E99B-F1CEEEE1FD0F}"/>
              </a:ext>
            </a:extLst>
          </p:cNvPr>
          <p:cNvPicPr>
            <a:picLocks noChangeAspect="1"/>
          </p:cNvPicPr>
          <p:nvPr userDrawn="1"/>
        </p:nvPicPr>
        <p:blipFill>
          <a:blip r:embed="rId2">
            <a:alphaModFix/>
          </a:blip>
          <a:stretch>
            <a:fillRect/>
          </a:stretch>
        </p:blipFill>
        <p:spPr>
          <a:xfrm>
            <a:off x="543731" y="5710578"/>
            <a:ext cx="1012019" cy="250804"/>
          </a:xfrm>
          <a:prstGeom prst="rect">
            <a:avLst/>
          </a:prstGeom>
        </p:spPr>
      </p:pic>
      <p:pic>
        <p:nvPicPr>
          <p:cNvPr id="7" name="Google Shape;62;p46">
            <a:extLst>
              <a:ext uri="{FF2B5EF4-FFF2-40B4-BE49-F238E27FC236}">
                <a16:creationId xmlns:a16="http://schemas.microsoft.com/office/drawing/2014/main" id="{99070E8D-1138-0EF8-E47F-5FE81B2654FF}"/>
              </a:ext>
            </a:extLst>
          </p:cNvPr>
          <p:cNvPicPr preferRelativeResize="0"/>
          <p:nvPr userDrawn="1"/>
        </p:nvPicPr>
        <p:blipFill rotWithShape="1">
          <a:blip r:embed="rId3">
            <a:alphaModFix/>
            <a:extLst>
              <a:ext uri="{BEBA8EAE-BF5A-486C-A8C5-ECC9F3942E4B}">
                <a14:imgProps xmlns:a14="http://schemas.microsoft.com/office/drawing/2010/main">
                  <a14:imgLayer r:embed="rId4">
                    <a14:imgEffect>
                      <a14:brightnessContrast bright="20000" contrast="-20000"/>
                    </a14:imgEffect>
                  </a14:imgLayer>
                </a14:imgProps>
              </a:ext>
            </a:extLst>
          </a:blip>
          <a:srcRect/>
          <a:stretch/>
        </p:blipFill>
        <p:spPr>
          <a:xfrm>
            <a:off x="0" y="6024562"/>
            <a:ext cx="12192000" cy="833438"/>
          </a:xfrm>
          <a:prstGeom prst="rect">
            <a:avLst/>
          </a:prstGeom>
          <a:noFill/>
          <a:ln>
            <a:noFill/>
          </a:ln>
        </p:spPr>
      </p:pic>
      <p:sp>
        <p:nvSpPr>
          <p:cNvPr id="8" name="TextBox 7">
            <a:extLst>
              <a:ext uri="{FF2B5EF4-FFF2-40B4-BE49-F238E27FC236}">
                <a16:creationId xmlns:a16="http://schemas.microsoft.com/office/drawing/2014/main" id="{F01FCD77-5514-8DA0-C4A3-0345A90D3B9A}"/>
              </a:ext>
            </a:extLst>
          </p:cNvPr>
          <p:cNvSpPr txBox="1"/>
          <p:nvPr userDrawn="1"/>
        </p:nvSpPr>
        <p:spPr>
          <a:xfrm>
            <a:off x="7721599" y="5720830"/>
            <a:ext cx="3470355" cy="230832"/>
          </a:xfrm>
          <a:prstGeom prst="rect">
            <a:avLst/>
          </a:prstGeom>
          <a:noFill/>
        </p:spPr>
        <p:txBody>
          <a:bodyPr wrap="square">
            <a:spAutoFit/>
          </a:bodyPr>
          <a:lstStyle/>
          <a:p>
            <a:r>
              <a:rPr lang="en-US" sz="900" b="0" i="0" dirty="0">
                <a:solidFill>
                  <a:schemeClr val="bg1"/>
                </a:solidFill>
                <a:latin typeface="Tahoma" panose="020B0604030504040204" pitchFamily="34" charset="0"/>
                <a:ea typeface="Tahoma" panose="020B0604030504040204" pitchFamily="34" charset="0"/>
                <a:cs typeface="Tahoma" panose="020B0604030504040204" pitchFamily="34" charset="0"/>
              </a:rPr>
              <a:t>Tarana Wireless, Inc.           </a:t>
            </a:r>
            <a:r>
              <a:rPr lang="en-US" sz="900" b="1" i="0" dirty="0">
                <a:solidFill>
                  <a:srgbClr val="D65527"/>
                </a:solidFill>
                <a:latin typeface="Tahoma" panose="020B0604030504040204" pitchFamily="34" charset="0"/>
                <a:ea typeface="Tahoma" panose="020B0604030504040204" pitchFamily="34" charset="0"/>
                <a:cs typeface="Tahoma" panose="020B0604030504040204" pitchFamily="34" charset="0"/>
              </a:rPr>
              <a:t>Proprietary and Confidential</a:t>
            </a:r>
          </a:p>
        </p:txBody>
      </p:sp>
    </p:spTree>
    <p:extLst>
      <p:ext uri="{BB962C8B-B14F-4D97-AF65-F5344CB8AC3E}">
        <p14:creationId xmlns:p14="http://schemas.microsoft.com/office/powerpoint/2010/main" val="16240537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Pink">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AB3FE475-1931-B109-EFE4-3720BF54E14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E64CD9D7-6169-977F-2770-ADEC0D6EE84D}"/>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FB666C31-62D7-CEFA-FFA5-6E39B2A9667C}"/>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17E83870-7680-0EC5-A60C-DDC82D20159B}"/>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B3FD35A0-F98B-4E10-5EEB-CC206A99D77A}"/>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26AEA66-94E0-CBBE-2810-477A8B621DF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2682850985"/>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Title and Conten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40158-E4DD-9A4C-BBD3-2355F5B92AEE}"/>
              </a:ext>
            </a:extLst>
          </p:cNvPr>
          <p:cNvSpPr>
            <a:spLocks noGrp="1"/>
          </p:cNvSpPr>
          <p:nvPr>
            <p:ph type="title"/>
          </p:nvPr>
        </p:nvSpPr>
        <p:spPr/>
        <p:txBody>
          <a:bodyPr/>
          <a:lstStyle>
            <a:lvl1pPr>
              <a:defRPr>
                <a:latin typeface="Lato4" panose="020F0302020204030203"/>
              </a:defRPr>
            </a:lvl1pPr>
          </a:lstStyle>
          <a:p>
            <a:r>
              <a:rPr lang="en-US" dirty="0"/>
              <a:t>Click to edit Master title style</a:t>
            </a:r>
          </a:p>
        </p:txBody>
      </p:sp>
      <p:sp>
        <p:nvSpPr>
          <p:cNvPr id="12" name="Google Shape;31;p43">
            <a:extLst>
              <a:ext uri="{FF2B5EF4-FFF2-40B4-BE49-F238E27FC236}">
                <a16:creationId xmlns:a16="http://schemas.microsoft.com/office/drawing/2014/main" id="{09B87FC4-B073-FE40-AF2A-88853C7E4583}"/>
              </a:ext>
            </a:extLst>
          </p:cNvPr>
          <p:cNvSpPr/>
          <p:nvPr/>
        </p:nvSpPr>
        <p:spPr>
          <a:xfrm>
            <a:off x="0" y="5624044"/>
            <a:ext cx="12192000" cy="420824"/>
          </a:xfrm>
          <a:prstGeom prst="rect">
            <a:avLst/>
          </a:prstGeom>
          <a:solidFill>
            <a:schemeClr val="tx1"/>
          </a:solidFill>
          <a:ln w="9525"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 name="Google Shape;32;p43">
            <a:extLst>
              <a:ext uri="{FF2B5EF4-FFF2-40B4-BE49-F238E27FC236}">
                <a16:creationId xmlns:a16="http://schemas.microsoft.com/office/drawing/2014/main" id="{A6C37B31-7785-6B42-8FE6-02A5A4C0AD95}"/>
              </a:ext>
            </a:extLst>
          </p:cNvPr>
          <p:cNvSpPr txBox="1"/>
          <p:nvPr/>
        </p:nvSpPr>
        <p:spPr>
          <a:xfrm>
            <a:off x="11191955" y="5723999"/>
            <a:ext cx="519932" cy="230832"/>
          </a:xfrm>
          <a:prstGeom prst="rect">
            <a:avLst/>
          </a:prstGeom>
          <a:noFill/>
        </p:spPr>
        <p:txBody>
          <a:bodyPr wrap="square">
            <a:spAutoFit/>
          </a:bodyPr>
          <a:lstStyle>
            <a:defPPr marR="0" lvl="0" algn="l" rtl="0">
              <a:lnSpc>
                <a:spcPct val="100000"/>
              </a:lnSpc>
              <a:spcBef>
                <a:spcPts val="0"/>
              </a:spcBef>
              <a:spcAft>
                <a:spcPts val="0"/>
              </a:spcAft>
            </a:defPPr>
            <a:lvl1pPr>
              <a:defRPr sz="1200">
                <a:solidFill>
                  <a:schemeClr val="tx1">
                    <a:lumMod val="50000"/>
                    <a:lumOff val="50000"/>
                  </a:schemeClr>
                </a:solidFill>
                <a:latin typeface="Lato Light" panose="020F0302020204030203" pitchFamily="34" charset="77"/>
              </a:defRPr>
            </a:lvl1pPr>
          </a:lstStyle>
          <a:p>
            <a:pPr lvl="0" algn="r"/>
            <a:fld id="{00000000-1234-1234-1234-123412341234}" type="slidenum">
              <a:rPr lang="en-US" sz="900" b="0" i="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rPr>
              <a:pPr lvl="0" algn="r"/>
              <a:t>‹#›</a:t>
            </a:fld>
            <a:endParaRPr sz="900" b="0" i="0" dirty="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endParaRPr>
          </a:p>
        </p:txBody>
      </p:sp>
      <p:pic>
        <p:nvPicPr>
          <p:cNvPr id="15" name="Picture 14">
            <a:extLst>
              <a:ext uri="{FF2B5EF4-FFF2-40B4-BE49-F238E27FC236}">
                <a16:creationId xmlns:a16="http://schemas.microsoft.com/office/drawing/2014/main" id="{2D4B7D85-3634-1D48-9338-2FC261F58DDF}"/>
              </a:ext>
            </a:extLst>
          </p:cNvPr>
          <p:cNvPicPr>
            <a:picLocks noChangeAspect="1"/>
          </p:cNvPicPr>
          <p:nvPr/>
        </p:nvPicPr>
        <p:blipFill>
          <a:blip r:embed="rId2">
            <a:alphaModFix/>
          </a:blip>
          <a:stretch>
            <a:fillRect/>
          </a:stretch>
        </p:blipFill>
        <p:spPr>
          <a:xfrm>
            <a:off x="543731" y="5710578"/>
            <a:ext cx="1012019" cy="250804"/>
          </a:xfrm>
          <a:prstGeom prst="rect">
            <a:avLst/>
          </a:prstGeom>
        </p:spPr>
      </p:pic>
      <p:pic>
        <p:nvPicPr>
          <p:cNvPr id="9" name="Google Shape;72;p47">
            <a:extLst>
              <a:ext uri="{FF2B5EF4-FFF2-40B4-BE49-F238E27FC236}">
                <a16:creationId xmlns:a16="http://schemas.microsoft.com/office/drawing/2014/main" id="{4AA96F2D-EF65-083E-AB11-C794E39A67FB}"/>
              </a:ext>
            </a:extLst>
          </p:cNvPr>
          <p:cNvPicPr preferRelativeResize="0"/>
          <p:nvPr/>
        </p:nvPicPr>
        <p:blipFill rotWithShape="1">
          <a:blip r:embed="rId3">
            <a:alphaModFix/>
          </a:blip>
          <a:srcRect/>
          <a:stretch/>
        </p:blipFill>
        <p:spPr>
          <a:xfrm>
            <a:off x="0" y="6024562"/>
            <a:ext cx="12192000" cy="833438"/>
          </a:xfrm>
          <a:prstGeom prst="rect">
            <a:avLst/>
          </a:prstGeom>
          <a:noFill/>
          <a:ln>
            <a:noFill/>
          </a:ln>
        </p:spPr>
      </p:pic>
      <p:sp>
        <p:nvSpPr>
          <p:cNvPr id="11" name="TextBox 10">
            <a:extLst>
              <a:ext uri="{FF2B5EF4-FFF2-40B4-BE49-F238E27FC236}">
                <a16:creationId xmlns:a16="http://schemas.microsoft.com/office/drawing/2014/main" id="{F7FDCA0C-D093-F2C3-0AB4-803D1AE8B319}"/>
              </a:ext>
            </a:extLst>
          </p:cNvPr>
          <p:cNvSpPr txBox="1"/>
          <p:nvPr/>
        </p:nvSpPr>
        <p:spPr>
          <a:xfrm>
            <a:off x="7721599" y="5720830"/>
            <a:ext cx="3470355" cy="230832"/>
          </a:xfrm>
          <a:prstGeom prst="rect">
            <a:avLst/>
          </a:prstGeom>
          <a:noFill/>
        </p:spPr>
        <p:txBody>
          <a:bodyPr wrap="square">
            <a:spAutoFit/>
          </a:bodyPr>
          <a:lstStyle/>
          <a:p>
            <a:r>
              <a:rPr lang="en-US" sz="900" b="0" i="0" dirty="0">
                <a:solidFill>
                  <a:schemeClr val="bg1"/>
                </a:solidFill>
                <a:latin typeface="Tahoma" panose="020B0604030504040204" pitchFamily="34" charset="0"/>
                <a:ea typeface="Tahoma" panose="020B0604030504040204" pitchFamily="34" charset="0"/>
                <a:cs typeface="Tahoma" panose="020B0604030504040204" pitchFamily="34" charset="0"/>
              </a:rPr>
              <a:t>Tarana Wireless, Inc.           </a:t>
            </a:r>
            <a:r>
              <a:rPr lang="en-US" sz="900" b="1" i="0" dirty="0">
                <a:solidFill>
                  <a:srgbClr val="D65527"/>
                </a:solidFill>
                <a:latin typeface="Tahoma" panose="020B0604030504040204" pitchFamily="34" charset="0"/>
                <a:ea typeface="Tahoma" panose="020B0604030504040204" pitchFamily="34" charset="0"/>
                <a:cs typeface="Tahoma" panose="020B0604030504040204" pitchFamily="34" charset="0"/>
              </a:rPr>
              <a:t>Proprietary and Confidential</a:t>
            </a:r>
          </a:p>
        </p:txBody>
      </p:sp>
      <p:sp>
        <p:nvSpPr>
          <p:cNvPr id="4" name="Text Placeholder 2">
            <a:extLst>
              <a:ext uri="{FF2B5EF4-FFF2-40B4-BE49-F238E27FC236}">
                <a16:creationId xmlns:a16="http://schemas.microsoft.com/office/drawing/2014/main" id="{F4559777-DCB1-7CC9-574A-A96F1EF9904E}"/>
              </a:ext>
            </a:extLst>
          </p:cNvPr>
          <p:cNvSpPr>
            <a:spLocks noGrp="1"/>
          </p:cNvSpPr>
          <p:nvPr>
            <p:ph idx="1"/>
          </p:nvPr>
        </p:nvSpPr>
        <p:spPr>
          <a:xfrm>
            <a:off x="838200" y="1333042"/>
            <a:ext cx="10515600" cy="4021278"/>
          </a:xfrm>
          <a:prstGeom prst="rect">
            <a:avLst/>
          </a:prstGeom>
        </p:spPr>
        <p:txBody>
          <a:bodyPr vert="horz" lIns="91440" tIns="45720" rIns="91440" bIns="45720" rtlCol="0">
            <a:normAutofit/>
          </a:bodyPr>
          <a:lstStyle>
            <a:lvl1pPr>
              <a:defRPr>
                <a:latin typeface="Lato4" panose="020F0302020204030203"/>
              </a:defRPr>
            </a:lvl1pPr>
            <a:lvl2pPr>
              <a:defRPr>
                <a:latin typeface="Lato4" panose="020F0302020204030203"/>
              </a:defRPr>
            </a:lvl2pPr>
            <a:lvl3pPr>
              <a:defRPr>
                <a:latin typeface="Lato4" panose="020F0302020204030203"/>
              </a:defRPr>
            </a:lvl3pPr>
            <a:lvl4pPr>
              <a:defRPr>
                <a:latin typeface="Lato4" panose="020F0302020204030203"/>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Google Shape;31;p43">
            <a:extLst>
              <a:ext uri="{FF2B5EF4-FFF2-40B4-BE49-F238E27FC236}">
                <a16:creationId xmlns:a16="http://schemas.microsoft.com/office/drawing/2014/main" id="{23881578-31E1-AD5A-540F-7C212284ED33}"/>
              </a:ext>
            </a:extLst>
          </p:cNvPr>
          <p:cNvSpPr/>
          <p:nvPr userDrawn="1"/>
        </p:nvSpPr>
        <p:spPr>
          <a:xfrm>
            <a:off x="0" y="5624044"/>
            <a:ext cx="12192000" cy="420824"/>
          </a:xfrm>
          <a:prstGeom prst="rect">
            <a:avLst/>
          </a:prstGeom>
          <a:solidFill>
            <a:schemeClr val="tx1"/>
          </a:solidFill>
          <a:ln w="9525"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 name="Google Shape;32;p43">
            <a:extLst>
              <a:ext uri="{FF2B5EF4-FFF2-40B4-BE49-F238E27FC236}">
                <a16:creationId xmlns:a16="http://schemas.microsoft.com/office/drawing/2014/main" id="{1778D787-4DAC-7A06-C020-0BA5643A1B62}"/>
              </a:ext>
            </a:extLst>
          </p:cNvPr>
          <p:cNvSpPr txBox="1"/>
          <p:nvPr userDrawn="1"/>
        </p:nvSpPr>
        <p:spPr>
          <a:xfrm>
            <a:off x="11191955" y="5723999"/>
            <a:ext cx="519932" cy="230832"/>
          </a:xfrm>
          <a:prstGeom prst="rect">
            <a:avLst/>
          </a:prstGeom>
          <a:noFill/>
        </p:spPr>
        <p:txBody>
          <a:bodyPr wrap="square">
            <a:spAutoFit/>
          </a:bodyPr>
          <a:lstStyle>
            <a:defPPr marR="0" lvl="0" algn="l" rtl="0">
              <a:lnSpc>
                <a:spcPct val="100000"/>
              </a:lnSpc>
              <a:spcBef>
                <a:spcPts val="0"/>
              </a:spcBef>
              <a:spcAft>
                <a:spcPts val="0"/>
              </a:spcAft>
            </a:defPPr>
            <a:lvl1pPr>
              <a:defRPr sz="1200">
                <a:solidFill>
                  <a:schemeClr val="tx1">
                    <a:lumMod val="50000"/>
                    <a:lumOff val="50000"/>
                  </a:schemeClr>
                </a:solidFill>
                <a:latin typeface="Lato Light" panose="020F0302020204030203" pitchFamily="34" charset="77"/>
              </a:defRPr>
            </a:lvl1pPr>
          </a:lstStyle>
          <a:p>
            <a:pPr lvl="0" algn="r"/>
            <a:fld id="{00000000-1234-1234-1234-123412341234}" type="slidenum">
              <a:rPr lang="en-US" sz="900" b="0" i="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rPr>
              <a:pPr lvl="0" algn="r"/>
              <a:t>‹#›</a:t>
            </a:fld>
            <a:endParaRPr sz="900" b="0" i="0" dirty="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endParaRPr>
          </a:p>
        </p:txBody>
      </p:sp>
      <p:pic>
        <p:nvPicPr>
          <p:cNvPr id="6" name="Picture 5">
            <a:extLst>
              <a:ext uri="{FF2B5EF4-FFF2-40B4-BE49-F238E27FC236}">
                <a16:creationId xmlns:a16="http://schemas.microsoft.com/office/drawing/2014/main" id="{EF68663F-67BE-7BE2-D16B-5B461460F852}"/>
              </a:ext>
            </a:extLst>
          </p:cNvPr>
          <p:cNvPicPr>
            <a:picLocks noChangeAspect="1"/>
          </p:cNvPicPr>
          <p:nvPr userDrawn="1"/>
        </p:nvPicPr>
        <p:blipFill>
          <a:blip r:embed="rId2">
            <a:alphaModFix/>
          </a:blip>
          <a:stretch>
            <a:fillRect/>
          </a:stretch>
        </p:blipFill>
        <p:spPr>
          <a:xfrm>
            <a:off x="543731" y="5710578"/>
            <a:ext cx="1012019" cy="250804"/>
          </a:xfrm>
          <a:prstGeom prst="rect">
            <a:avLst/>
          </a:prstGeom>
        </p:spPr>
      </p:pic>
      <p:pic>
        <p:nvPicPr>
          <p:cNvPr id="7" name="Google Shape;72;p47">
            <a:extLst>
              <a:ext uri="{FF2B5EF4-FFF2-40B4-BE49-F238E27FC236}">
                <a16:creationId xmlns:a16="http://schemas.microsoft.com/office/drawing/2014/main" id="{E1E45CBE-4A77-F479-90CD-25ECE3E06EDE}"/>
              </a:ext>
            </a:extLst>
          </p:cNvPr>
          <p:cNvPicPr preferRelativeResize="0"/>
          <p:nvPr userDrawn="1"/>
        </p:nvPicPr>
        <p:blipFill rotWithShape="1">
          <a:blip r:embed="rId3">
            <a:alphaModFix/>
          </a:blip>
          <a:srcRect/>
          <a:stretch/>
        </p:blipFill>
        <p:spPr>
          <a:xfrm>
            <a:off x="0" y="6024562"/>
            <a:ext cx="12192000" cy="833438"/>
          </a:xfrm>
          <a:prstGeom prst="rect">
            <a:avLst/>
          </a:prstGeom>
          <a:noFill/>
          <a:ln>
            <a:noFill/>
          </a:ln>
        </p:spPr>
      </p:pic>
      <p:sp>
        <p:nvSpPr>
          <p:cNvPr id="8" name="TextBox 7">
            <a:extLst>
              <a:ext uri="{FF2B5EF4-FFF2-40B4-BE49-F238E27FC236}">
                <a16:creationId xmlns:a16="http://schemas.microsoft.com/office/drawing/2014/main" id="{9C91FED4-D11F-C77B-D28B-CB76B7FDB8E1}"/>
              </a:ext>
            </a:extLst>
          </p:cNvPr>
          <p:cNvSpPr txBox="1"/>
          <p:nvPr userDrawn="1"/>
        </p:nvSpPr>
        <p:spPr>
          <a:xfrm>
            <a:off x="7721599" y="5720830"/>
            <a:ext cx="3470355" cy="230832"/>
          </a:xfrm>
          <a:prstGeom prst="rect">
            <a:avLst/>
          </a:prstGeom>
          <a:noFill/>
        </p:spPr>
        <p:txBody>
          <a:bodyPr wrap="square">
            <a:spAutoFit/>
          </a:bodyPr>
          <a:lstStyle/>
          <a:p>
            <a:r>
              <a:rPr lang="en-US" sz="900" b="0" i="0" dirty="0">
                <a:solidFill>
                  <a:schemeClr val="bg1"/>
                </a:solidFill>
                <a:latin typeface="Tahoma" panose="020B0604030504040204" pitchFamily="34" charset="0"/>
                <a:ea typeface="Tahoma" panose="020B0604030504040204" pitchFamily="34" charset="0"/>
                <a:cs typeface="Tahoma" panose="020B0604030504040204" pitchFamily="34" charset="0"/>
              </a:rPr>
              <a:t>Tarana Wireless, Inc.           </a:t>
            </a:r>
            <a:r>
              <a:rPr lang="en-US" sz="900" b="1" i="0" dirty="0">
                <a:solidFill>
                  <a:srgbClr val="D65527"/>
                </a:solidFill>
                <a:latin typeface="Tahoma" panose="020B0604030504040204" pitchFamily="34" charset="0"/>
                <a:ea typeface="Tahoma" panose="020B0604030504040204" pitchFamily="34" charset="0"/>
                <a:cs typeface="Tahoma" panose="020B0604030504040204" pitchFamily="34" charset="0"/>
              </a:rPr>
              <a:t>Proprietary and Confidential</a:t>
            </a:r>
          </a:p>
        </p:txBody>
      </p:sp>
    </p:spTree>
    <p:extLst>
      <p:ext uri="{BB962C8B-B14F-4D97-AF65-F5344CB8AC3E}">
        <p14:creationId xmlns:p14="http://schemas.microsoft.com/office/powerpoint/2010/main" val="2189953308"/>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867481-2A58-9944-BAEE-1181D9F90458}"/>
              </a:ext>
            </a:extLst>
          </p:cNvPr>
          <p:cNvSpPr/>
          <p:nvPr/>
        </p:nvSpPr>
        <p:spPr>
          <a:xfrm>
            <a:off x="0" y="1541633"/>
            <a:ext cx="12192000" cy="2328426"/>
          </a:xfrm>
          <a:prstGeom prst="rect">
            <a:avLst/>
          </a:prstGeom>
          <a:solidFill>
            <a:schemeClr val="bg1">
              <a:lumMod val="85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Google Shape;16;p42">
            <a:extLst>
              <a:ext uri="{FF2B5EF4-FFF2-40B4-BE49-F238E27FC236}">
                <a16:creationId xmlns:a16="http://schemas.microsoft.com/office/drawing/2014/main" id="{EB395CCC-9F1B-3D49-9608-DB2F159FF207}"/>
              </a:ext>
            </a:extLst>
          </p:cNvPr>
          <p:cNvPicPr preferRelativeResize="0"/>
          <p:nvPr/>
        </p:nvPicPr>
        <p:blipFill rotWithShape="1">
          <a:blip r:embed="rId2">
            <a:alphaModFix/>
            <a:extLst>
              <a:ext uri="{BEBA8EAE-BF5A-486C-A8C5-ECC9F3942E4B}">
                <a14:imgProps xmlns:a14="http://schemas.microsoft.com/office/drawing/2010/main">
                  <a14:imgLayer r:embed="rId3">
                    <a14:imgEffect>
                      <a14:brightnessContrast bright="27000"/>
                    </a14:imgEffect>
                  </a14:imgLayer>
                </a14:imgProps>
              </a:ext>
            </a:extLst>
          </a:blip>
          <a:srcRect b="38373"/>
          <a:stretch/>
        </p:blipFill>
        <p:spPr>
          <a:xfrm>
            <a:off x="0" y="5842178"/>
            <a:ext cx="12192000" cy="1408786"/>
          </a:xfrm>
          <a:prstGeom prst="rect">
            <a:avLst/>
          </a:prstGeom>
          <a:noFill/>
          <a:ln>
            <a:noFill/>
          </a:ln>
        </p:spPr>
      </p:pic>
      <p:sp>
        <p:nvSpPr>
          <p:cNvPr id="9" name="Google Shape;31;p43">
            <a:extLst>
              <a:ext uri="{FF2B5EF4-FFF2-40B4-BE49-F238E27FC236}">
                <a16:creationId xmlns:a16="http://schemas.microsoft.com/office/drawing/2014/main" id="{1ADDBEE2-9C02-BF4A-9622-3E4C140A0E17}"/>
              </a:ext>
            </a:extLst>
          </p:cNvPr>
          <p:cNvSpPr/>
          <p:nvPr/>
        </p:nvSpPr>
        <p:spPr>
          <a:xfrm>
            <a:off x="0" y="5624044"/>
            <a:ext cx="12192000" cy="420824"/>
          </a:xfrm>
          <a:prstGeom prst="rect">
            <a:avLst/>
          </a:prstGeom>
          <a:solidFill>
            <a:schemeClr val="accent1"/>
          </a:solidFill>
          <a:ln w="9525"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 name="Google Shape;32;p43">
            <a:extLst>
              <a:ext uri="{FF2B5EF4-FFF2-40B4-BE49-F238E27FC236}">
                <a16:creationId xmlns:a16="http://schemas.microsoft.com/office/drawing/2014/main" id="{6EEDE32E-0C77-D84C-898C-5F353198DA1A}"/>
              </a:ext>
            </a:extLst>
          </p:cNvPr>
          <p:cNvSpPr txBox="1"/>
          <p:nvPr/>
        </p:nvSpPr>
        <p:spPr>
          <a:xfrm>
            <a:off x="11191955" y="5723999"/>
            <a:ext cx="519932" cy="230832"/>
          </a:xfrm>
          <a:prstGeom prst="rect">
            <a:avLst/>
          </a:prstGeom>
          <a:noFill/>
        </p:spPr>
        <p:txBody>
          <a:bodyPr wrap="square">
            <a:spAutoFit/>
          </a:bodyPr>
          <a:lstStyle>
            <a:defPPr marR="0" lvl="0" algn="l" rtl="0">
              <a:lnSpc>
                <a:spcPct val="100000"/>
              </a:lnSpc>
              <a:spcBef>
                <a:spcPts val="0"/>
              </a:spcBef>
              <a:spcAft>
                <a:spcPts val="0"/>
              </a:spcAft>
            </a:defPPr>
            <a:lvl1pPr>
              <a:defRPr sz="1200">
                <a:solidFill>
                  <a:schemeClr val="tx1">
                    <a:lumMod val="50000"/>
                    <a:lumOff val="50000"/>
                  </a:schemeClr>
                </a:solidFill>
                <a:latin typeface="Lato Light" panose="020F0302020204030203" pitchFamily="34" charset="77"/>
              </a:defRPr>
            </a:lvl1pPr>
          </a:lstStyle>
          <a:p>
            <a:pPr lvl="0" algn="r"/>
            <a:fld id="{00000000-1234-1234-1234-123412341234}" type="slidenum">
              <a:rPr lang="en-US" sz="900" b="0" i="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rPr>
              <a:pPr lvl="0" algn="r"/>
              <a:t>‹#›</a:t>
            </a:fld>
            <a:endParaRPr sz="900" b="0" i="0" dirty="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endParaRPr>
          </a:p>
        </p:txBody>
      </p:sp>
      <p:pic>
        <p:nvPicPr>
          <p:cNvPr id="12" name="Picture 11">
            <a:extLst>
              <a:ext uri="{FF2B5EF4-FFF2-40B4-BE49-F238E27FC236}">
                <a16:creationId xmlns:a16="http://schemas.microsoft.com/office/drawing/2014/main" id="{125ED56C-358E-A34F-8199-F439980BE7C3}"/>
              </a:ext>
            </a:extLst>
          </p:cNvPr>
          <p:cNvPicPr>
            <a:picLocks noChangeAspect="1"/>
          </p:cNvPicPr>
          <p:nvPr/>
        </p:nvPicPr>
        <p:blipFill>
          <a:blip r:embed="rId4">
            <a:alphaModFix/>
          </a:blip>
          <a:stretch>
            <a:fillRect/>
          </a:stretch>
        </p:blipFill>
        <p:spPr>
          <a:xfrm>
            <a:off x="543731" y="5710578"/>
            <a:ext cx="1012019" cy="250804"/>
          </a:xfrm>
          <a:prstGeom prst="rect">
            <a:avLst/>
          </a:prstGeom>
        </p:spPr>
      </p:pic>
      <p:sp>
        <p:nvSpPr>
          <p:cNvPr id="13" name="Google Shape;17;p42">
            <a:extLst>
              <a:ext uri="{FF2B5EF4-FFF2-40B4-BE49-F238E27FC236}">
                <a16:creationId xmlns:a16="http://schemas.microsoft.com/office/drawing/2014/main" id="{1AD3429D-6985-9248-B52D-B09A82C62E3A}"/>
              </a:ext>
            </a:extLst>
          </p:cNvPr>
          <p:cNvSpPr txBox="1">
            <a:spLocks noGrp="1"/>
          </p:cNvSpPr>
          <p:nvPr>
            <p:ph type="ctrTitle"/>
          </p:nvPr>
        </p:nvSpPr>
        <p:spPr>
          <a:xfrm>
            <a:off x="0" y="2507298"/>
            <a:ext cx="12192000" cy="430887"/>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Clr>
                <a:srgbClr val="000000"/>
              </a:buClr>
              <a:buSzPts val="2800"/>
              <a:buFont typeface="Encode Sans SemiBold"/>
              <a:buNone/>
              <a:defRPr sz="2800" b="1" i="0">
                <a:solidFill>
                  <a:srgbClr val="000000"/>
                </a:solidFill>
                <a:latin typeface="Tahoma" panose="020B0604030504040204" pitchFamily="34" charset="0"/>
                <a:ea typeface="Tahoma" panose="020B0604030504040204" pitchFamily="34" charset="0"/>
                <a:cs typeface="Tahoma" panose="020B0604030504040204" pitchFamily="34" charset="0"/>
                <a:sym typeface="Encode Sans SemiBold"/>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dirty="0"/>
          </a:p>
        </p:txBody>
      </p:sp>
      <p:sp>
        <p:nvSpPr>
          <p:cNvPr id="14" name="Rectangle 13">
            <a:extLst>
              <a:ext uri="{FF2B5EF4-FFF2-40B4-BE49-F238E27FC236}">
                <a16:creationId xmlns:a16="http://schemas.microsoft.com/office/drawing/2014/main" id="{A0171184-2FF4-C648-8970-02BCF76B84E6}"/>
              </a:ext>
            </a:extLst>
          </p:cNvPr>
          <p:cNvSpPr/>
          <p:nvPr/>
        </p:nvSpPr>
        <p:spPr>
          <a:xfrm>
            <a:off x="287167" y="710360"/>
            <a:ext cx="2047954" cy="4307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04410FD0-5B6C-4B5A-BB7E-B0463094727C}"/>
              </a:ext>
            </a:extLst>
          </p:cNvPr>
          <p:cNvSpPr txBox="1"/>
          <p:nvPr/>
        </p:nvSpPr>
        <p:spPr>
          <a:xfrm>
            <a:off x="7721599" y="5720830"/>
            <a:ext cx="3470355" cy="230832"/>
          </a:xfrm>
          <a:prstGeom prst="rect">
            <a:avLst/>
          </a:prstGeom>
          <a:noFill/>
        </p:spPr>
        <p:txBody>
          <a:bodyPr wrap="square">
            <a:spAutoFit/>
          </a:bodyPr>
          <a:lstStyle/>
          <a:p>
            <a:r>
              <a:rPr lang="en-US" sz="900" b="0" i="0" dirty="0">
                <a:solidFill>
                  <a:schemeClr val="bg1"/>
                </a:solidFill>
                <a:latin typeface="Tahoma" panose="020B0604030504040204" pitchFamily="34" charset="0"/>
                <a:ea typeface="Tahoma" panose="020B0604030504040204" pitchFamily="34" charset="0"/>
                <a:cs typeface="Tahoma" panose="020B0604030504040204" pitchFamily="34" charset="0"/>
              </a:rPr>
              <a:t>Tarana Wireless, Inc.           </a:t>
            </a:r>
            <a:r>
              <a:rPr lang="en-US" sz="900" b="1" i="0" dirty="0">
                <a:solidFill>
                  <a:schemeClr val="bg1"/>
                </a:solidFill>
                <a:latin typeface="Tahoma" panose="020B0604030504040204" pitchFamily="34" charset="0"/>
                <a:ea typeface="Tahoma" panose="020B0604030504040204" pitchFamily="34" charset="0"/>
                <a:cs typeface="Tahoma" panose="020B0604030504040204" pitchFamily="34" charset="0"/>
              </a:rPr>
              <a:t>Proprietary and Confidential</a:t>
            </a:r>
          </a:p>
        </p:txBody>
      </p:sp>
      <p:sp>
        <p:nvSpPr>
          <p:cNvPr id="2" name="Rectangle 1">
            <a:extLst>
              <a:ext uri="{FF2B5EF4-FFF2-40B4-BE49-F238E27FC236}">
                <a16:creationId xmlns:a16="http://schemas.microsoft.com/office/drawing/2014/main" id="{F72EC94E-67E2-355E-8C8D-27B5B751A71D}"/>
              </a:ext>
            </a:extLst>
          </p:cNvPr>
          <p:cNvSpPr/>
          <p:nvPr userDrawn="1"/>
        </p:nvSpPr>
        <p:spPr>
          <a:xfrm>
            <a:off x="0" y="1541633"/>
            <a:ext cx="12192000" cy="2328426"/>
          </a:xfrm>
          <a:prstGeom prst="rect">
            <a:avLst/>
          </a:prstGeom>
          <a:solidFill>
            <a:schemeClr val="bg1">
              <a:lumMod val="85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ahoma" panose="020B0604030504040204" pitchFamily="34" charset="0"/>
              <a:ea typeface="Tahoma" panose="020B0604030504040204" pitchFamily="34" charset="0"/>
              <a:cs typeface="Tahoma" panose="020B0604030504040204" pitchFamily="34" charset="0"/>
            </a:endParaRPr>
          </a:p>
        </p:txBody>
      </p:sp>
      <p:pic>
        <p:nvPicPr>
          <p:cNvPr id="3" name="Google Shape;16;p42">
            <a:extLst>
              <a:ext uri="{FF2B5EF4-FFF2-40B4-BE49-F238E27FC236}">
                <a16:creationId xmlns:a16="http://schemas.microsoft.com/office/drawing/2014/main" id="{A50B5D95-73A7-D879-2CE2-19F3B369C373}"/>
              </a:ext>
            </a:extLst>
          </p:cNvPr>
          <p:cNvPicPr preferRelativeResize="0"/>
          <p:nvPr userDrawn="1"/>
        </p:nvPicPr>
        <p:blipFill rotWithShape="1">
          <a:blip r:embed="rId2">
            <a:alphaModFix/>
            <a:extLst>
              <a:ext uri="{BEBA8EAE-BF5A-486C-A8C5-ECC9F3942E4B}">
                <a14:imgProps xmlns:a14="http://schemas.microsoft.com/office/drawing/2010/main">
                  <a14:imgLayer r:embed="rId3">
                    <a14:imgEffect>
                      <a14:brightnessContrast bright="27000"/>
                    </a14:imgEffect>
                  </a14:imgLayer>
                </a14:imgProps>
              </a:ext>
            </a:extLst>
          </a:blip>
          <a:srcRect b="38373"/>
          <a:stretch/>
        </p:blipFill>
        <p:spPr>
          <a:xfrm>
            <a:off x="0" y="5842178"/>
            <a:ext cx="12192000" cy="1408786"/>
          </a:xfrm>
          <a:prstGeom prst="rect">
            <a:avLst/>
          </a:prstGeom>
          <a:noFill/>
          <a:ln>
            <a:noFill/>
          </a:ln>
        </p:spPr>
      </p:pic>
      <p:sp>
        <p:nvSpPr>
          <p:cNvPr id="4" name="Google Shape;31;p43">
            <a:extLst>
              <a:ext uri="{FF2B5EF4-FFF2-40B4-BE49-F238E27FC236}">
                <a16:creationId xmlns:a16="http://schemas.microsoft.com/office/drawing/2014/main" id="{060B513E-9922-BE04-1330-E37554259ED2}"/>
              </a:ext>
            </a:extLst>
          </p:cNvPr>
          <p:cNvSpPr/>
          <p:nvPr userDrawn="1"/>
        </p:nvSpPr>
        <p:spPr>
          <a:xfrm>
            <a:off x="0" y="5624044"/>
            <a:ext cx="12192000" cy="420824"/>
          </a:xfrm>
          <a:prstGeom prst="rect">
            <a:avLst/>
          </a:prstGeom>
          <a:solidFill>
            <a:schemeClr val="accent1"/>
          </a:solidFill>
          <a:ln w="9525"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 name="Google Shape;32;p43">
            <a:extLst>
              <a:ext uri="{FF2B5EF4-FFF2-40B4-BE49-F238E27FC236}">
                <a16:creationId xmlns:a16="http://schemas.microsoft.com/office/drawing/2014/main" id="{C972C9A4-B1AE-E56E-B548-D5D5910E1103}"/>
              </a:ext>
            </a:extLst>
          </p:cNvPr>
          <p:cNvSpPr txBox="1"/>
          <p:nvPr userDrawn="1"/>
        </p:nvSpPr>
        <p:spPr>
          <a:xfrm>
            <a:off x="11191955" y="5723999"/>
            <a:ext cx="519932" cy="230832"/>
          </a:xfrm>
          <a:prstGeom prst="rect">
            <a:avLst/>
          </a:prstGeom>
          <a:noFill/>
        </p:spPr>
        <p:txBody>
          <a:bodyPr wrap="square">
            <a:spAutoFit/>
          </a:bodyPr>
          <a:lstStyle>
            <a:defPPr marR="0" lvl="0" algn="l" rtl="0">
              <a:lnSpc>
                <a:spcPct val="100000"/>
              </a:lnSpc>
              <a:spcBef>
                <a:spcPts val="0"/>
              </a:spcBef>
              <a:spcAft>
                <a:spcPts val="0"/>
              </a:spcAft>
            </a:defPPr>
            <a:lvl1pPr>
              <a:defRPr sz="1200">
                <a:solidFill>
                  <a:schemeClr val="tx1">
                    <a:lumMod val="50000"/>
                    <a:lumOff val="50000"/>
                  </a:schemeClr>
                </a:solidFill>
                <a:latin typeface="Lato Light" panose="020F0302020204030203" pitchFamily="34" charset="77"/>
              </a:defRPr>
            </a:lvl1pPr>
          </a:lstStyle>
          <a:p>
            <a:pPr lvl="0" algn="r"/>
            <a:fld id="{00000000-1234-1234-1234-123412341234}" type="slidenum">
              <a:rPr lang="en-US" sz="900" b="0" i="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rPr>
              <a:pPr lvl="0" algn="r"/>
              <a:t>‹#›</a:t>
            </a:fld>
            <a:endParaRPr sz="900" b="0" i="0" dirty="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endParaRPr>
          </a:p>
        </p:txBody>
      </p:sp>
      <p:pic>
        <p:nvPicPr>
          <p:cNvPr id="6" name="Picture 5">
            <a:extLst>
              <a:ext uri="{FF2B5EF4-FFF2-40B4-BE49-F238E27FC236}">
                <a16:creationId xmlns:a16="http://schemas.microsoft.com/office/drawing/2014/main" id="{2C461C32-26D3-5DCE-C6A2-2B46ADBF93BA}"/>
              </a:ext>
            </a:extLst>
          </p:cNvPr>
          <p:cNvPicPr>
            <a:picLocks noChangeAspect="1"/>
          </p:cNvPicPr>
          <p:nvPr userDrawn="1"/>
        </p:nvPicPr>
        <p:blipFill>
          <a:blip r:embed="rId4">
            <a:alphaModFix/>
          </a:blip>
          <a:stretch>
            <a:fillRect/>
          </a:stretch>
        </p:blipFill>
        <p:spPr>
          <a:xfrm>
            <a:off x="543731" y="5710578"/>
            <a:ext cx="1012019" cy="250804"/>
          </a:xfrm>
          <a:prstGeom prst="rect">
            <a:avLst/>
          </a:prstGeom>
        </p:spPr>
      </p:pic>
      <p:sp>
        <p:nvSpPr>
          <p:cNvPr id="11" name="Rectangle 10">
            <a:extLst>
              <a:ext uri="{FF2B5EF4-FFF2-40B4-BE49-F238E27FC236}">
                <a16:creationId xmlns:a16="http://schemas.microsoft.com/office/drawing/2014/main" id="{E3DD24E9-83BB-F1BE-B88E-46EE9CD3C24F}"/>
              </a:ext>
            </a:extLst>
          </p:cNvPr>
          <p:cNvSpPr/>
          <p:nvPr userDrawn="1"/>
        </p:nvSpPr>
        <p:spPr>
          <a:xfrm>
            <a:off x="287167" y="710360"/>
            <a:ext cx="2047954" cy="4307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D893335-1BD3-892D-E60F-D25B2C54A0BA}"/>
              </a:ext>
            </a:extLst>
          </p:cNvPr>
          <p:cNvSpPr txBox="1"/>
          <p:nvPr userDrawn="1"/>
        </p:nvSpPr>
        <p:spPr>
          <a:xfrm>
            <a:off x="7721599" y="5720830"/>
            <a:ext cx="3470355" cy="230832"/>
          </a:xfrm>
          <a:prstGeom prst="rect">
            <a:avLst/>
          </a:prstGeom>
          <a:noFill/>
        </p:spPr>
        <p:txBody>
          <a:bodyPr wrap="square">
            <a:spAutoFit/>
          </a:bodyPr>
          <a:lstStyle/>
          <a:p>
            <a:r>
              <a:rPr lang="en-US" sz="900" b="0" i="0" dirty="0">
                <a:solidFill>
                  <a:schemeClr val="bg1"/>
                </a:solidFill>
                <a:latin typeface="Tahoma" panose="020B0604030504040204" pitchFamily="34" charset="0"/>
                <a:ea typeface="Tahoma" panose="020B0604030504040204" pitchFamily="34" charset="0"/>
                <a:cs typeface="Tahoma" panose="020B0604030504040204" pitchFamily="34" charset="0"/>
              </a:rPr>
              <a:t>Tarana Wireless, Inc.           </a:t>
            </a:r>
            <a:r>
              <a:rPr lang="en-US" sz="900" b="1" i="0" dirty="0">
                <a:solidFill>
                  <a:schemeClr val="bg1"/>
                </a:solidFill>
                <a:latin typeface="Tahoma" panose="020B0604030504040204" pitchFamily="34" charset="0"/>
                <a:ea typeface="Tahoma" panose="020B0604030504040204" pitchFamily="34" charset="0"/>
                <a:cs typeface="Tahoma" panose="020B0604030504040204" pitchFamily="34" charset="0"/>
              </a:rPr>
              <a:t>Proprietary and Confidential</a:t>
            </a:r>
          </a:p>
        </p:txBody>
      </p:sp>
    </p:spTree>
    <p:extLst>
      <p:ext uri="{BB962C8B-B14F-4D97-AF65-F5344CB8AC3E}">
        <p14:creationId xmlns:p14="http://schemas.microsoft.com/office/powerpoint/2010/main" val="4035690565"/>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E2E64D-DB03-A743-8C12-372AA868C7D5}"/>
              </a:ext>
            </a:extLst>
          </p:cNvPr>
          <p:cNvSpPr>
            <a:spLocks noGrp="1"/>
          </p:cNvSpPr>
          <p:nvPr>
            <p:ph type="title"/>
          </p:nvPr>
        </p:nvSpPr>
        <p:spPr/>
        <p:txBody>
          <a:bodyPr/>
          <a:lstStyle>
            <a:lvl1pPr>
              <a:defRPr>
                <a:latin typeface="Lato4" panose="020F0302020204030203"/>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D1A1F62-1833-CA45-A55E-73A30E929AAC}"/>
              </a:ext>
            </a:extLst>
          </p:cNvPr>
          <p:cNvSpPr>
            <a:spLocks noGrp="1"/>
          </p:cNvSpPr>
          <p:nvPr>
            <p:ph sz="half" idx="1"/>
          </p:nvPr>
        </p:nvSpPr>
        <p:spPr>
          <a:xfrm>
            <a:off x="838200" y="1336344"/>
            <a:ext cx="5181600" cy="3789110"/>
          </a:xfrm>
        </p:spPr>
        <p:txBody>
          <a:bodyPr/>
          <a:lstStyle>
            <a:lvl1pPr>
              <a:lnSpc>
                <a:spcPct val="100000"/>
              </a:lnSpc>
              <a:defRPr>
                <a:latin typeface="Lato4" panose="020F0302020204030203"/>
              </a:defRPr>
            </a:lvl1pPr>
            <a:lvl2pPr>
              <a:lnSpc>
                <a:spcPct val="100000"/>
              </a:lnSpc>
              <a:defRPr>
                <a:latin typeface="Lato4" panose="020F0302020204030203"/>
              </a:defRPr>
            </a:lvl2pPr>
            <a:lvl3pPr>
              <a:lnSpc>
                <a:spcPct val="100000"/>
              </a:lnSpc>
              <a:defRPr>
                <a:latin typeface="Lato4" panose="020F0302020204030203"/>
              </a:defRPr>
            </a:lvl3pPr>
            <a:lvl4pPr>
              <a:lnSpc>
                <a:spcPct val="100000"/>
              </a:lnSpc>
              <a:defRPr>
                <a:latin typeface="Lato4" panose="020F0302020204030203"/>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9C98B973-99B9-734A-AE27-F9C4766247D7}"/>
              </a:ext>
            </a:extLst>
          </p:cNvPr>
          <p:cNvSpPr>
            <a:spLocks noGrp="1"/>
          </p:cNvSpPr>
          <p:nvPr>
            <p:ph sz="half" idx="2"/>
          </p:nvPr>
        </p:nvSpPr>
        <p:spPr>
          <a:xfrm>
            <a:off x="6172200" y="1336344"/>
            <a:ext cx="5181600" cy="3789110"/>
          </a:xfrm>
        </p:spPr>
        <p:txBody>
          <a:bodyPr/>
          <a:lstStyle>
            <a:lvl1pPr>
              <a:lnSpc>
                <a:spcPct val="100000"/>
              </a:lnSpc>
              <a:defRPr>
                <a:latin typeface="Lato4" panose="020F0302020204030203"/>
              </a:defRPr>
            </a:lvl1pPr>
            <a:lvl2pPr>
              <a:lnSpc>
                <a:spcPct val="100000"/>
              </a:lnSpc>
              <a:defRPr>
                <a:latin typeface="Lato4" panose="020F0302020204030203"/>
              </a:defRPr>
            </a:lvl2pPr>
            <a:lvl3pPr>
              <a:lnSpc>
                <a:spcPct val="100000"/>
              </a:lnSpc>
              <a:defRPr>
                <a:latin typeface="Lato4" panose="020F0302020204030203"/>
              </a:defRPr>
            </a:lvl3pPr>
            <a:lvl4pPr>
              <a:lnSpc>
                <a:spcPct val="100000"/>
              </a:lnSpc>
              <a:defRPr>
                <a:latin typeface="Lato4" panose="020F0302020204030203"/>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3" name="Google Shape;44;p48">
            <a:extLst>
              <a:ext uri="{FF2B5EF4-FFF2-40B4-BE49-F238E27FC236}">
                <a16:creationId xmlns:a16="http://schemas.microsoft.com/office/drawing/2014/main" id="{E0273668-7295-8F45-8D54-D1D7A202D61F}"/>
              </a:ext>
            </a:extLst>
          </p:cNvPr>
          <p:cNvPicPr preferRelativeResize="0"/>
          <p:nvPr/>
        </p:nvPicPr>
        <p:blipFill rotWithShape="1">
          <a:blip r:embed="rId2">
            <a:alphaModFix/>
            <a:extLst>
              <a:ext uri="{BEBA8EAE-BF5A-486C-A8C5-ECC9F3942E4B}">
                <a14:imgProps xmlns:a14="http://schemas.microsoft.com/office/drawing/2010/main">
                  <a14:imgLayer r:embed="rId3">
                    <a14:imgEffect>
                      <a14:brightnessContrast bright="38000"/>
                    </a14:imgEffect>
                  </a14:imgLayer>
                </a14:imgProps>
              </a:ext>
            </a:extLst>
          </a:blip>
          <a:srcRect/>
          <a:stretch/>
        </p:blipFill>
        <p:spPr>
          <a:xfrm>
            <a:off x="0" y="6044868"/>
            <a:ext cx="12192000" cy="833438"/>
          </a:xfrm>
          <a:prstGeom prst="rect">
            <a:avLst/>
          </a:prstGeom>
          <a:noFill/>
          <a:ln>
            <a:noFill/>
          </a:ln>
        </p:spPr>
      </p:pic>
      <p:sp>
        <p:nvSpPr>
          <p:cNvPr id="14" name="Google Shape;31;p43">
            <a:extLst>
              <a:ext uri="{FF2B5EF4-FFF2-40B4-BE49-F238E27FC236}">
                <a16:creationId xmlns:a16="http://schemas.microsoft.com/office/drawing/2014/main" id="{C45A1286-3024-7943-88BE-8E30581734E9}"/>
              </a:ext>
            </a:extLst>
          </p:cNvPr>
          <p:cNvSpPr/>
          <p:nvPr/>
        </p:nvSpPr>
        <p:spPr>
          <a:xfrm>
            <a:off x="0" y="5624044"/>
            <a:ext cx="12192000" cy="420824"/>
          </a:xfrm>
          <a:prstGeom prst="rect">
            <a:avLst/>
          </a:prstGeom>
          <a:solidFill>
            <a:schemeClr val="tx1"/>
          </a:solidFill>
          <a:ln w="9525"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 name="Google Shape;32;p43">
            <a:extLst>
              <a:ext uri="{FF2B5EF4-FFF2-40B4-BE49-F238E27FC236}">
                <a16:creationId xmlns:a16="http://schemas.microsoft.com/office/drawing/2014/main" id="{93627911-6C86-1A44-B3A7-9F4CC1CD78C3}"/>
              </a:ext>
            </a:extLst>
          </p:cNvPr>
          <p:cNvSpPr txBox="1"/>
          <p:nvPr/>
        </p:nvSpPr>
        <p:spPr>
          <a:xfrm>
            <a:off x="11191955" y="5723999"/>
            <a:ext cx="519932" cy="230832"/>
          </a:xfrm>
          <a:prstGeom prst="rect">
            <a:avLst/>
          </a:prstGeom>
          <a:noFill/>
        </p:spPr>
        <p:txBody>
          <a:bodyPr wrap="square">
            <a:spAutoFit/>
          </a:bodyPr>
          <a:lstStyle>
            <a:defPPr marR="0" lvl="0" algn="l" rtl="0">
              <a:lnSpc>
                <a:spcPct val="100000"/>
              </a:lnSpc>
              <a:spcBef>
                <a:spcPts val="0"/>
              </a:spcBef>
              <a:spcAft>
                <a:spcPts val="0"/>
              </a:spcAft>
            </a:defPPr>
            <a:lvl1pPr>
              <a:defRPr sz="1200">
                <a:solidFill>
                  <a:schemeClr val="tx1">
                    <a:lumMod val="50000"/>
                    <a:lumOff val="50000"/>
                  </a:schemeClr>
                </a:solidFill>
                <a:latin typeface="Lato Light" panose="020F0302020204030203" pitchFamily="34" charset="77"/>
              </a:defRPr>
            </a:lvl1pPr>
          </a:lstStyle>
          <a:p>
            <a:pPr lvl="0" algn="r"/>
            <a:fld id="{00000000-1234-1234-1234-123412341234}" type="slidenum">
              <a:rPr lang="en-US" sz="900" b="0" i="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rPr>
              <a:pPr lvl="0" algn="r"/>
              <a:t>‹#›</a:t>
            </a:fld>
            <a:endParaRPr sz="900" b="0" i="0" dirty="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endParaRPr>
          </a:p>
        </p:txBody>
      </p:sp>
      <p:pic>
        <p:nvPicPr>
          <p:cNvPr id="17" name="Picture 16">
            <a:extLst>
              <a:ext uri="{FF2B5EF4-FFF2-40B4-BE49-F238E27FC236}">
                <a16:creationId xmlns:a16="http://schemas.microsoft.com/office/drawing/2014/main" id="{A7E42A04-01CF-C54E-AA0F-03336441972E}"/>
              </a:ext>
            </a:extLst>
          </p:cNvPr>
          <p:cNvPicPr>
            <a:picLocks noChangeAspect="1"/>
          </p:cNvPicPr>
          <p:nvPr/>
        </p:nvPicPr>
        <p:blipFill>
          <a:blip r:embed="rId4">
            <a:alphaModFix/>
          </a:blip>
          <a:stretch>
            <a:fillRect/>
          </a:stretch>
        </p:blipFill>
        <p:spPr>
          <a:xfrm>
            <a:off x="543731" y="5710578"/>
            <a:ext cx="1012019" cy="250804"/>
          </a:xfrm>
          <a:prstGeom prst="rect">
            <a:avLst/>
          </a:prstGeom>
        </p:spPr>
      </p:pic>
      <p:sp>
        <p:nvSpPr>
          <p:cNvPr id="11" name="TextBox 10">
            <a:extLst>
              <a:ext uri="{FF2B5EF4-FFF2-40B4-BE49-F238E27FC236}">
                <a16:creationId xmlns:a16="http://schemas.microsoft.com/office/drawing/2014/main" id="{1A0E94A2-D265-747D-27B9-0AA3AA9EFA42}"/>
              </a:ext>
            </a:extLst>
          </p:cNvPr>
          <p:cNvSpPr txBox="1"/>
          <p:nvPr/>
        </p:nvSpPr>
        <p:spPr>
          <a:xfrm>
            <a:off x="7721599" y="5720830"/>
            <a:ext cx="3470355" cy="230832"/>
          </a:xfrm>
          <a:prstGeom prst="rect">
            <a:avLst/>
          </a:prstGeom>
          <a:noFill/>
        </p:spPr>
        <p:txBody>
          <a:bodyPr wrap="square">
            <a:spAutoFit/>
          </a:bodyPr>
          <a:lstStyle/>
          <a:p>
            <a:r>
              <a:rPr lang="en-US" sz="900" b="0" i="0" dirty="0">
                <a:solidFill>
                  <a:schemeClr val="bg1"/>
                </a:solidFill>
                <a:latin typeface="Tahoma" panose="020B0604030504040204" pitchFamily="34" charset="0"/>
                <a:ea typeface="Tahoma" panose="020B0604030504040204" pitchFamily="34" charset="0"/>
                <a:cs typeface="Tahoma" panose="020B0604030504040204" pitchFamily="34" charset="0"/>
              </a:rPr>
              <a:t>Tarana Wireless, Inc.           </a:t>
            </a:r>
            <a:r>
              <a:rPr lang="en-US" sz="900" b="1" i="0" dirty="0">
                <a:solidFill>
                  <a:srgbClr val="D65527"/>
                </a:solidFill>
                <a:latin typeface="Tahoma" panose="020B0604030504040204" pitchFamily="34" charset="0"/>
                <a:ea typeface="Tahoma" panose="020B0604030504040204" pitchFamily="34" charset="0"/>
                <a:cs typeface="Tahoma" panose="020B0604030504040204" pitchFamily="34" charset="0"/>
              </a:rPr>
              <a:t>Proprietary and Confidential</a:t>
            </a:r>
          </a:p>
        </p:txBody>
      </p:sp>
      <p:pic>
        <p:nvPicPr>
          <p:cNvPr id="5" name="Google Shape;44;p48">
            <a:extLst>
              <a:ext uri="{FF2B5EF4-FFF2-40B4-BE49-F238E27FC236}">
                <a16:creationId xmlns:a16="http://schemas.microsoft.com/office/drawing/2014/main" id="{B774CA44-9A15-0BAC-B75B-EADA9A407ABB}"/>
              </a:ext>
            </a:extLst>
          </p:cNvPr>
          <p:cNvPicPr preferRelativeResize="0"/>
          <p:nvPr userDrawn="1"/>
        </p:nvPicPr>
        <p:blipFill rotWithShape="1">
          <a:blip r:embed="rId2">
            <a:alphaModFix/>
            <a:extLst>
              <a:ext uri="{BEBA8EAE-BF5A-486C-A8C5-ECC9F3942E4B}">
                <a14:imgProps xmlns:a14="http://schemas.microsoft.com/office/drawing/2010/main">
                  <a14:imgLayer r:embed="rId3">
                    <a14:imgEffect>
                      <a14:brightnessContrast bright="38000"/>
                    </a14:imgEffect>
                  </a14:imgLayer>
                </a14:imgProps>
              </a:ext>
            </a:extLst>
          </a:blip>
          <a:srcRect/>
          <a:stretch/>
        </p:blipFill>
        <p:spPr>
          <a:xfrm>
            <a:off x="0" y="6044868"/>
            <a:ext cx="12192000" cy="833438"/>
          </a:xfrm>
          <a:prstGeom prst="rect">
            <a:avLst/>
          </a:prstGeom>
          <a:noFill/>
          <a:ln>
            <a:noFill/>
          </a:ln>
        </p:spPr>
      </p:pic>
      <p:sp>
        <p:nvSpPr>
          <p:cNvPr id="6" name="Google Shape;31;p43">
            <a:extLst>
              <a:ext uri="{FF2B5EF4-FFF2-40B4-BE49-F238E27FC236}">
                <a16:creationId xmlns:a16="http://schemas.microsoft.com/office/drawing/2014/main" id="{EDFAA828-2547-C2D7-F4B2-8E4093DCAAED}"/>
              </a:ext>
            </a:extLst>
          </p:cNvPr>
          <p:cNvSpPr/>
          <p:nvPr userDrawn="1"/>
        </p:nvSpPr>
        <p:spPr>
          <a:xfrm>
            <a:off x="0" y="5624044"/>
            <a:ext cx="12192000" cy="420824"/>
          </a:xfrm>
          <a:prstGeom prst="rect">
            <a:avLst/>
          </a:prstGeom>
          <a:solidFill>
            <a:schemeClr val="tx1"/>
          </a:solidFill>
          <a:ln w="9525"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 name="Google Shape;32;p43">
            <a:extLst>
              <a:ext uri="{FF2B5EF4-FFF2-40B4-BE49-F238E27FC236}">
                <a16:creationId xmlns:a16="http://schemas.microsoft.com/office/drawing/2014/main" id="{6E95C478-4C57-646F-5C92-961DF73D1DB8}"/>
              </a:ext>
            </a:extLst>
          </p:cNvPr>
          <p:cNvSpPr txBox="1"/>
          <p:nvPr userDrawn="1"/>
        </p:nvSpPr>
        <p:spPr>
          <a:xfrm>
            <a:off x="11191955" y="5723999"/>
            <a:ext cx="519932" cy="230832"/>
          </a:xfrm>
          <a:prstGeom prst="rect">
            <a:avLst/>
          </a:prstGeom>
          <a:noFill/>
        </p:spPr>
        <p:txBody>
          <a:bodyPr wrap="square">
            <a:spAutoFit/>
          </a:bodyPr>
          <a:lstStyle>
            <a:defPPr marR="0" lvl="0" algn="l" rtl="0">
              <a:lnSpc>
                <a:spcPct val="100000"/>
              </a:lnSpc>
              <a:spcBef>
                <a:spcPts val="0"/>
              </a:spcBef>
              <a:spcAft>
                <a:spcPts val="0"/>
              </a:spcAft>
            </a:defPPr>
            <a:lvl1pPr>
              <a:defRPr sz="1200">
                <a:solidFill>
                  <a:schemeClr val="tx1">
                    <a:lumMod val="50000"/>
                    <a:lumOff val="50000"/>
                  </a:schemeClr>
                </a:solidFill>
                <a:latin typeface="Lato Light" panose="020F0302020204030203" pitchFamily="34" charset="77"/>
              </a:defRPr>
            </a:lvl1pPr>
          </a:lstStyle>
          <a:p>
            <a:pPr lvl="0" algn="r"/>
            <a:fld id="{00000000-1234-1234-1234-123412341234}" type="slidenum">
              <a:rPr lang="en-US" sz="900" b="0" i="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rPr>
              <a:pPr lvl="0" algn="r"/>
              <a:t>‹#›</a:t>
            </a:fld>
            <a:endParaRPr sz="900" b="0" i="0" dirty="0">
              <a:solidFill>
                <a:schemeClr val="bg1"/>
              </a:solidFill>
              <a:latin typeface="Tahoma" panose="020B0604030504040204" pitchFamily="34" charset="0"/>
              <a:ea typeface="Tahoma" panose="020B0604030504040204" pitchFamily="34" charset="0"/>
              <a:cs typeface="Tahoma" panose="020B0604030504040204" pitchFamily="34" charset="0"/>
              <a:sym typeface="Encode Sans Medium"/>
            </a:endParaRPr>
          </a:p>
        </p:txBody>
      </p:sp>
      <p:pic>
        <p:nvPicPr>
          <p:cNvPr id="8" name="Picture 7">
            <a:extLst>
              <a:ext uri="{FF2B5EF4-FFF2-40B4-BE49-F238E27FC236}">
                <a16:creationId xmlns:a16="http://schemas.microsoft.com/office/drawing/2014/main" id="{C7AB46F7-E3C7-675D-8347-F419E617EBA6}"/>
              </a:ext>
            </a:extLst>
          </p:cNvPr>
          <p:cNvPicPr>
            <a:picLocks noChangeAspect="1"/>
          </p:cNvPicPr>
          <p:nvPr userDrawn="1"/>
        </p:nvPicPr>
        <p:blipFill>
          <a:blip r:embed="rId4">
            <a:alphaModFix/>
          </a:blip>
          <a:stretch>
            <a:fillRect/>
          </a:stretch>
        </p:blipFill>
        <p:spPr>
          <a:xfrm>
            <a:off x="543731" y="5710578"/>
            <a:ext cx="1012019" cy="250804"/>
          </a:xfrm>
          <a:prstGeom prst="rect">
            <a:avLst/>
          </a:prstGeom>
        </p:spPr>
      </p:pic>
      <p:sp>
        <p:nvSpPr>
          <p:cNvPr id="9" name="TextBox 8">
            <a:extLst>
              <a:ext uri="{FF2B5EF4-FFF2-40B4-BE49-F238E27FC236}">
                <a16:creationId xmlns:a16="http://schemas.microsoft.com/office/drawing/2014/main" id="{E8A9979A-38C9-456B-CF6A-85D8F3B7D25C}"/>
              </a:ext>
            </a:extLst>
          </p:cNvPr>
          <p:cNvSpPr txBox="1"/>
          <p:nvPr userDrawn="1"/>
        </p:nvSpPr>
        <p:spPr>
          <a:xfrm>
            <a:off x="7721599" y="5720830"/>
            <a:ext cx="3470355" cy="230832"/>
          </a:xfrm>
          <a:prstGeom prst="rect">
            <a:avLst/>
          </a:prstGeom>
          <a:noFill/>
        </p:spPr>
        <p:txBody>
          <a:bodyPr wrap="square">
            <a:spAutoFit/>
          </a:bodyPr>
          <a:lstStyle/>
          <a:p>
            <a:r>
              <a:rPr lang="en-US" sz="900" b="0" i="0" dirty="0">
                <a:solidFill>
                  <a:schemeClr val="bg1"/>
                </a:solidFill>
                <a:latin typeface="Tahoma" panose="020B0604030504040204" pitchFamily="34" charset="0"/>
                <a:ea typeface="Tahoma" panose="020B0604030504040204" pitchFamily="34" charset="0"/>
                <a:cs typeface="Tahoma" panose="020B0604030504040204" pitchFamily="34" charset="0"/>
              </a:rPr>
              <a:t>Tarana Wireless, Inc.           </a:t>
            </a:r>
            <a:r>
              <a:rPr lang="en-US" sz="900" b="1" i="0" dirty="0">
                <a:solidFill>
                  <a:srgbClr val="D65527"/>
                </a:solidFill>
                <a:latin typeface="Tahoma" panose="020B0604030504040204" pitchFamily="34" charset="0"/>
                <a:ea typeface="Tahoma" panose="020B0604030504040204" pitchFamily="34" charset="0"/>
                <a:cs typeface="Tahoma" panose="020B0604030504040204" pitchFamily="34" charset="0"/>
              </a:rPr>
              <a:t>Proprietary and Confidential</a:t>
            </a:r>
          </a:p>
        </p:txBody>
      </p:sp>
    </p:spTree>
    <p:extLst>
      <p:ext uri="{BB962C8B-B14F-4D97-AF65-F5344CB8AC3E}">
        <p14:creationId xmlns:p14="http://schemas.microsoft.com/office/powerpoint/2010/main" val="3830425865"/>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7" name="Google Shape;16;p42">
            <a:extLst>
              <a:ext uri="{FF2B5EF4-FFF2-40B4-BE49-F238E27FC236}">
                <a16:creationId xmlns:a16="http://schemas.microsoft.com/office/drawing/2014/main" id="{5DB7414A-9D79-434C-9A4C-FC46D77E168E}"/>
              </a:ext>
            </a:extLst>
          </p:cNvPr>
          <p:cNvPicPr preferRelativeResize="0"/>
          <p:nvPr userDrawn="1"/>
        </p:nvPicPr>
        <p:blipFill rotWithShape="1">
          <a:blip r:embed="rId2">
            <a:alphaModFix/>
            <a:extLst>
              <a:ext uri="{BEBA8EAE-BF5A-486C-A8C5-ECC9F3942E4B}">
                <a14:imgProps xmlns:a14="http://schemas.microsoft.com/office/drawing/2010/main">
                  <a14:imgLayer r:embed="rId3">
                    <a14:imgEffect>
                      <a14:brightnessContrast bright="27000"/>
                    </a14:imgEffect>
                  </a14:imgLayer>
                </a14:imgProps>
              </a:ext>
            </a:extLst>
          </a:blip>
          <a:srcRect/>
          <a:stretch/>
        </p:blipFill>
        <p:spPr>
          <a:xfrm>
            <a:off x="0" y="4572000"/>
            <a:ext cx="12192000" cy="2285999"/>
          </a:xfrm>
          <a:prstGeom prst="rect">
            <a:avLst/>
          </a:prstGeom>
          <a:noFill/>
          <a:ln>
            <a:noFill/>
          </a:ln>
        </p:spPr>
      </p:pic>
      <p:sp>
        <p:nvSpPr>
          <p:cNvPr id="8" name="Google Shape;17;p42">
            <a:extLst>
              <a:ext uri="{FF2B5EF4-FFF2-40B4-BE49-F238E27FC236}">
                <a16:creationId xmlns:a16="http://schemas.microsoft.com/office/drawing/2014/main" id="{54B525B7-E95C-B543-9466-D4BC2D65E883}"/>
              </a:ext>
            </a:extLst>
          </p:cNvPr>
          <p:cNvSpPr txBox="1">
            <a:spLocks noGrp="1"/>
          </p:cNvSpPr>
          <p:nvPr>
            <p:ph type="ctrTitle"/>
          </p:nvPr>
        </p:nvSpPr>
        <p:spPr>
          <a:xfrm>
            <a:off x="5732553" y="2854921"/>
            <a:ext cx="5534024" cy="387798"/>
          </a:xfrm>
          <a:prstGeom prst="rect">
            <a:avLst/>
          </a:prstGeom>
          <a:noFill/>
          <a:ln>
            <a:noFill/>
          </a:ln>
        </p:spPr>
        <p:txBody>
          <a:bodyPr spcFirstLastPara="1" wrap="square" lIns="0" tIns="0" rIns="0" bIns="0" anchor="t" anchorCtr="0">
            <a:spAutoFit/>
          </a:bodyPr>
          <a:lstStyle>
            <a:lvl1pPr lvl="0" algn="r">
              <a:lnSpc>
                <a:spcPct val="90000"/>
              </a:lnSpc>
              <a:spcBef>
                <a:spcPts val="0"/>
              </a:spcBef>
              <a:spcAft>
                <a:spcPts val="0"/>
              </a:spcAft>
              <a:buClr>
                <a:srgbClr val="000000"/>
              </a:buClr>
              <a:buSzPts val="2800"/>
              <a:buFont typeface="Encode Sans SemiBold"/>
              <a:buNone/>
              <a:defRPr sz="2800" b="1" i="0">
                <a:solidFill>
                  <a:srgbClr val="000000"/>
                </a:solidFill>
                <a:latin typeface="Tahoma" panose="020B0604030504040204" pitchFamily="34" charset="0"/>
                <a:ea typeface="Tahoma" panose="020B0604030504040204" pitchFamily="34" charset="0"/>
                <a:cs typeface="Tahoma" panose="020B0604030504040204" pitchFamily="34" charset="0"/>
                <a:sym typeface="Encode Sans SemiBold"/>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dirty="0"/>
              <a:t>Click to edit Master title style</a:t>
            </a:r>
            <a:endParaRPr dirty="0"/>
          </a:p>
        </p:txBody>
      </p:sp>
      <p:sp>
        <p:nvSpPr>
          <p:cNvPr id="9" name="Google Shape;18;p42">
            <a:extLst>
              <a:ext uri="{FF2B5EF4-FFF2-40B4-BE49-F238E27FC236}">
                <a16:creationId xmlns:a16="http://schemas.microsoft.com/office/drawing/2014/main" id="{EFA2F5E8-0693-FF4C-8CAC-2247EABBC436}"/>
              </a:ext>
            </a:extLst>
          </p:cNvPr>
          <p:cNvSpPr/>
          <p:nvPr userDrawn="1"/>
        </p:nvSpPr>
        <p:spPr>
          <a:xfrm>
            <a:off x="3175" y="4516889"/>
            <a:ext cx="12188825" cy="387797"/>
          </a:xfrm>
          <a:prstGeom prst="rect">
            <a:avLst/>
          </a:prstGeom>
          <a:solidFill>
            <a:schemeClr val="accent1"/>
          </a:solidFill>
          <a:ln w="9525"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10" name="Google Shape;19;p42">
            <a:extLst>
              <a:ext uri="{FF2B5EF4-FFF2-40B4-BE49-F238E27FC236}">
                <a16:creationId xmlns:a16="http://schemas.microsoft.com/office/drawing/2014/main" id="{40339C70-8351-F945-97D0-2D4C6DFCE27E}"/>
              </a:ext>
            </a:extLst>
          </p:cNvPr>
          <p:cNvSpPr txBox="1">
            <a:spLocks noGrp="1"/>
          </p:cNvSpPr>
          <p:nvPr>
            <p:ph type="body" idx="1"/>
          </p:nvPr>
        </p:nvSpPr>
        <p:spPr>
          <a:xfrm>
            <a:off x="5732551" y="3249010"/>
            <a:ext cx="5534024" cy="387798"/>
          </a:xfrm>
          <a:prstGeom prst="rect">
            <a:avLst/>
          </a:prstGeom>
          <a:noFill/>
          <a:ln>
            <a:noFill/>
          </a:ln>
        </p:spPr>
        <p:txBody>
          <a:bodyPr spcFirstLastPara="1" wrap="square" lIns="0" tIns="0" rIns="0" bIns="0" anchor="t" anchorCtr="0">
            <a:normAutofit/>
          </a:bodyPr>
          <a:lstStyle>
            <a:lvl1pPr marL="457200" lvl="0" indent="-228600" algn="r">
              <a:lnSpc>
                <a:spcPct val="95000"/>
              </a:lnSpc>
              <a:spcBef>
                <a:spcPts val="500"/>
              </a:spcBef>
              <a:spcAft>
                <a:spcPts val="0"/>
              </a:spcAft>
              <a:buSzPts val="2000"/>
              <a:buFont typeface="Encode Sans Semi Expanded Light"/>
              <a:buNone/>
              <a:defRPr sz="1600" b="0" i="0">
                <a:solidFill>
                  <a:schemeClr val="tx1"/>
                </a:solidFill>
                <a:latin typeface="Tahoma" panose="020B0604030504040204" pitchFamily="34" charset="0"/>
                <a:ea typeface="Tahoma" panose="020B0604030504040204" pitchFamily="34" charset="0"/>
                <a:cs typeface="Tahoma" panose="020B0604030504040204" pitchFamily="34" charset="0"/>
                <a:sym typeface="Encode Sans Semi Expanded Light"/>
              </a:defRPr>
            </a:lvl1pPr>
            <a:lvl2pPr marL="914400" lvl="1" indent="-228600" algn="l">
              <a:lnSpc>
                <a:spcPct val="95000"/>
              </a:lnSpc>
              <a:spcBef>
                <a:spcPts val="500"/>
              </a:spcBef>
              <a:spcAft>
                <a:spcPts val="0"/>
              </a:spcAft>
              <a:buSzPts val="2000"/>
              <a:buFont typeface="Encode Sans Semi Expanded Light"/>
              <a:buNone/>
              <a:defRPr/>
            </a:lvl2pPr>
            <a:lvl3pPr marL="1371600" lvl="2" indent="-342900" algn="l">
              <a:lnSpc>
                <a:spcPct val="95000"/>
              </a:lnSpc>
              <a:spcBef>
                <a:spcPts val="500"/>
              </a:spcBef>
              <a:spcAft>
                <a:spcPts val="0"/>
              </a:spcAft>
              <a:buSzPts val="1800"/>
              <a:buChar char="▸"/>
              <a:defRPr/>
            </a:lvl3pPr>
            <a:lvl4pPr marL="1828800" lvl="3" indent="-342900" algn="l">
              <a:lnSpc>
                <a:spcPct val="95000"/>
              </a:lnSpc>
              <a:spcBef>
                <a:spcPts val="500"/>
              </a:spcBef>
              <a:spcAft>
                <a:spcPts val="0"/>
              </a:spcAft>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11" name="Google Shape;24;p42">
            <a:extLst>
              <a:ext uri="{FF2B5EF4-FFF2-40B4-BE49-F238E27FC236}">
                <a16:creationId xmlns:a16="http://schemas.microsoft.com/office/drawing/2014/main" id="{985CEE4C-ECCD-684A-9C31-B26B6BCD92D2}"/>
              </a:ext>
            </a:extLst>
          </p:cNvPr>
          <p:cNvSpPr/>
          <p:nvPr userDrawn="1"/>
        </p:nvSpPr>
        <p:spPr>
          <a:xfrm>
            <a:off x="1" y="779779"/>
            <a:ext cx="2220686" cy="232833"/>
          </a:xfrm>
          <a:prstGeom prst="rect">
            <a:avLst/>
          </a:prstGeom>
          <a:solidFill>
            <a:schemeClr val="lt1"/>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dk1"/>
              </a:solidFill>
              <a:latin typeface="Encode Sans Semi Expanded Light"/>
              <a:ea typeface="Encode Sans Semi Expanded Light"/>
              <a:cs typeface="Encode Sans Semi Expanded Light"/>
              <a:sym typeface="Encode Sans Semi Expanded Light"/>
            </a:endParaRPr>
          </a:p>
        </p:txBody>
      </p:sp>
      <p:pic>
        <p:nvPicPr>
          <p:cNvPr id="12" name="Picture 11" descr="Text&#10;&#10;Description automatically generated">
            <a:extLst>
              <a:ext uri="{FF2B5EF4-FFF2-40B4-BE49-F238E27FC236}">
                <a16:creationId xmlns:a16="http://schemas.microsoft.com/office/drawing/2014/main" id="{8F11D614-26C4-314F-AC20-D15BC01AF609}"/>
              </a:ext>
            </a:extLst>
          </p:cNvPr>
          <p:cNvPicPr>
            <a:picLocks noChangeAspect="1"/>
          </p:cNvPicPr>
          <p:nvPr userDrawn="1"/>
        </p:nvPicPr>
        <p:blipFill>
          <a:blip r:embed="rId4"/>
          <a:stretch>
            <a:fillRect/>
          </a:stretch>
        </p:blipFill>
        <p:spPr>
          <a:xfrm>
            <a:off x="770738" y="624379"/>
            <a:ext cx="2724663" cy="1289088"/>
          </a:xfrm>
          <a:prstGeom prst="rect">
            <a:avLst/>
          </a:prstGeom>
        </p:spPr>
      </p:pic>
      <p:sp>
        <p:nvSpPr>
          <p:cNvPr id="13" name="TextBox 12">
            <a:extLst>
              <a:ext uri="{FF2B5EF4-FFF2-40B4-BE49-F238E27FC236}">
                <a16:creationId xmlns:a16="http://schemas.microsoft.com/office/drawing/2014/main" id="{7AFDE520-6926-2AB6-46F8-5E2273B8DDEE}"/>
              </a:ext>
            </a:extLst>
          </p:cNvPr>
          <p:cNvSpPr txBox="1"/>
          <p:nvPr userDrawn="1"/>
        </p:nvSpPr>
        <p:spPr>
          <a:xfrm>
            <a:off x="8084970" y="3741452"/>
            <a:ext cx="3181605" cy="261610"/>
          </a:xfrm>
          <a:prstGeom prst="rect">
            <a:avLst/>
          </a:prstGeom>
          <a:noFill/>
        </p:spPr>
        <p:txBody>
          <a:bodyPr wrap="square" lIns="0" rIns="0">
            <a:spAutoFit/>
          </a:bodyPr>
          <a:lstStyle/>
          <a:p>
            <a:pPr algn="r"/>
            <a:r>
              <a:rPr lang="en-US" sz="1100" b="1" i="0" dirty="0">
                <a:solidFill>
                  <a:srgbClr val="D65527"/>
                </a:solidFill>
                <a:latin typeface="Tahoma" panose="020B0604030504040204" pitchFamily="34" charset="0"/>
                <a:ea typeface="Tahoma" panose="020B0604030504040204" pitchFamily="34" charset="0"/>
                <a:cs typeface="Tahoma" panose="020B0604030504040204" pitchFamily="34" charset="0"/>
              </a:rPr>
              <a:t>Proprietary and Confidential</a:t>
            </a:r>
          </a:p>
        </p:txBody>
      </p:sp>
    </p:spTree>
    <p:extLst>
      <p:ext uri="{BB962C8B-B14F-4D97-AF65-F5344CB8AC3E}">
        <p14:creationId xmlns:p14="http://schemas.microsoft.com/office/powerpoint/2010/main" val="8860341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E8A36BB1-1CB4-70E4-B774-36E6FFADAD7B}"/>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5990E264-5D0F-60E1-079B-4D9441DFD2FA}"/>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1F513913-81F1-BE35-BEE1-E4F3B331C19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5A2E6516-E21C-B9AB-D96C-01D89E1C188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FC57D9E6-836B-E344-7053-C5B54572FBF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6842204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1 Blank">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0FF79836-BBB3-F465-E1C5-425AB4A83E4B}"/>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D4E9A04A-3145-3809-19A7-33EF3021A9A7}"/>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E5C3DF80-A3E4-DDDB-D584-7BEE3A84C96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16E76675-E286-0D90-FB5C-6C963712349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4457093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Orange red">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34BF0FE-66B0-30DC-7C7E-0C60AC6208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11B8FE6-8F1C-8435-F33C-EE04C6A6A16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0006201F-5816-C391-0FF2-7B730063C18B}"/>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Tree>
    <p:extLst>
      <p:ext uri="{BB962C8B-B14F-4D97-AF65-F5344CB8AC3E}">
        <p14:creationId xmlns:p14="http://schemas.microsoft.com/office/powerpoint/2010/main" val="11057863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EF5C81FB-4A41-2E38-2638-F82CC70C7B5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C60B55E3-C61F-0403-A878-5F9E203C5E50}"/>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EA08C83F-D17C-0CF7-307E-6CDC00953C24}"/>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7AC91DB6-E398-955E-AA6E-6AE046DE8258}"/>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9550249-746C-7ECD-FED7-52893A37890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A8D2C2D-8FBB-781E-417F-B5D858DD4BB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40819163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Blu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3761BFBE-2F2E-2C4F-848A-E85051698111}"/>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282CE96B-0BCB-98A4-50DC-39176D0092D6}"/>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4" name="TextBox 3">
            <a:extLst>
              <a:ext uri="{FF2B5EF4-FFF2-40B4-BE49-F238E27FC236}">
                <a16:creationId xmlns:a16="http://schemas.microsoft.com/office/drawing/2014/main" id="{30294544-7EC4-ED46-6173-E3A78AF1175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8957137A-1370-497D-30A9-2885B2A47AC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8D3533A-70F3-8B04-C0F5-CF1FD375FCE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D15844B-56C3-0508-2515-0AFFA9A8C1C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3360654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4" name="TextBox 3">
            <a:extLst>
              <a:ext uri="{FF2B5EF4-FFF2-40B4-BE49-F238E27FC236}">
                <a16:creationId xmlns:a16="http://schemas.microsoft.com/office/drawing/2014/main" id="{AB7B8C5E-2A02-500E-7B19-869B39D9A896}"/>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A844BE02-2625-0E61-D864-E5DDC07EC96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2784AA3F-6A3E-5918-C536-2E26F4BF9CB5}"/>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1067757F-8A0C-FCEC-EB62-74E36F8E5EB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3188F393-2D04-17D9-4E30-1DA2DAE98439}"/>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8" name="Text Placeholder 42">
            <a:extLst>
              <a:ext uri="{FF2B5EF4-FFF2-40B4-BE49-F238E27FC236}">
                <a16:creationId xmlns:a16="http://schemas.microsoft.com/office/drawing/2014/main" id="{9E2A26AA-E546-94FD-6AC0-F57B2DDCF335}"/>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27971626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5F57FFFB-CCE3-C058-3729-4EDEEE5E646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6" name="TextBox 5">
            <a:extLst>
              <a:ext uri="{FF2B5EF4-FFF2-40B4-BE49-F238E27FC236}">
                <a16:creationId xmlns:a16="http://schemas.microsoft.com/office/drawing/2014/main" id="{6857A933-0F5D-EB6F-6781-ACE4F612BDFC}"/>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2A1F2F7-3255-A552-A703-7C9BCD3C4BA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E85E7031-34AB-503C-140D-07A8A6D83D3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C4DEFCE-5A10-8D7A-C10A-5C24EDCFF87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EF1F7D3B-D3A1-0B66-4DFD-A89A8D4E2B45}"/>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A85DB6D6-86FE-E33C-DC95-D455C2CE5E29}"/>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21807377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4 Pink">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AB3FE475-1931-B109-EFE4-3720BF54E14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3" name="Text Placeholder 42">
            <a:extLst>
              <a:ext uri="{FF2B5EF4-FFF2-40B4-BE49-F238E27FC236}">
                <a16:creationId xmlns:a16="http://schemas.microsoft.com/office/drawing/2014/main" id="{3BE9A67A-102A-E929-31E0-F0D0CC335EC9}"/>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93B58AAF-D8C1-9617-A5D4-CDC9402055DA}"/>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19518411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5990E264-5D0F-60E1-079B-4D9441DFD2FA}"/>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1F513913-81F1-BE35-BEE1-E4F3B331C19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5A2E6516-E21C-B9AB-D96C-01D89E1C188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FC57D9E6-836B-E344-7053-C5B54572FBF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17B48FF2-DF34-2D2C-9133-C56D767AEE17}"/>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1375FC76-C462-9A2E-C6F5-6A7526FD32AB}"/>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15181782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4 Orange red">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34BF0FE-66B0-30DC-7C7E-0C60AC6208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F11B8FE6-8F1C-8435-F33C-EE04C6A6A16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CBC8F3BE-DF4E-616F-9E87-42409E45FB76}"/>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2FA5559B-7244-EAEC-5F81-57659F88355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AFF766CE-D4C5-BFE0-469A-326AD36F781C}"/>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7ACCA25F-B787-0F46-0666-1B57C451AAD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B81A83BE-92CB-A003-33CB-370A0B1FEDFB}"/>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9766979B-27F4-3832-C379-C7CE5504EEA1}"/>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28901888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EF5C81FB-4A41-2E38-2638-F82CC70C7B5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7" name="TextBox 6">
            <a:extLst>
              <a:ext uri="{FF2B5EF4-FFF2-40B4-BE49-F238E27FC236}">
                <a16:creationId xmlns:a16="http://schemas.microsoft.com/office/drawing/2014/main" id="{EA08C83F-D17C-0CF7-307E-6CDC00953C24}"/>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7AC91DB6-E398-955E-AA6E-6AE046DE8258}"/>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99550249-746C-7ECD-FED7-52893A37890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CA8D2C2D-8FBB-781E-417F-B5D858DD4BB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
        <p:nvSpPr>
          <p:cNvPr id="3" name="Text Placeholder 42">
            <a:extLst>
              <a:ext uri="{FF2B5EF4-FFF2-40B4-BE49-F238E27FC236}">
                <a16:creationId xmlns:a16="http://schemas.microsoft.com/office/drawing/2014/main" id="{471E5928-FBC9-0326-5B1E-1C9FC59A8BBF}"/>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FA5AC387-E045-8C0B-0800-541E816FDFDB}"/>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Tree>
    <p:extLst>
      <p:ext uri="{BB962C8B-B14F-4D97-AF65-F5344CB8AC3E}">
        <p14:creationId xmlns:p14="http://schemas.microsoft.com/office/powerpoint/2010/main" val="40759783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4 Blu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3761BFBE-2F2E-2C4F-848A-E85051698111}"/>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282CE96B-0BCB-98A4-50DC-39176D0092D6}"/>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Tree>
    <p:extLst>
      <p:ext uri="{BB962C8B-B14F-4D97-AF65-F5344CB8AC3E}">
        <p14:creationId xmlns:p14="http://schemas.microsoft.com/office/powerpoint/2010/main" val="10674395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2 Titl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Tree>
    <p:extLst>
      <p:ext uri="{BB962C8B-B14F-4D97-AF65-F5344CB8AC3E}">
        <p14:creationId xmlns:p14="http://schemas.microsoft.com/office/powerpoint/2010/main" val="37049979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 Green blu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0EF89375-E21D-F63F-06A8-C59355F1254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EBD7979C-B9C6-8A09-B241-FD1FED4BAC89}"/>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B7B0CAF0-3BC0-2F0C-A2D6-BD2777136ABD}"/>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11">
              <a:extLst>
                <a:ext uri="{FF2B5EF4-FFF2-40B4-BE49-F238E27FC236}">
                  <a16:creationId xmlns:a16="http://schemas.microsoft.com/office/drawing/2014/main" id="{DFE11313-A28D-C9D5-388D-F3DCE472D73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12">
              <a:extLst>
                <a:ext uri="{FF2B5EF4-FFF2-40B4-BE49-F238E27FC236}">
                  <a16:creationId xmlns:a16="http://schemas.microsoft.com/office/drawing/2014/main" id="{5423B194-3C18-4ED2-C954-ADB91F99CDD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7" name="Freeform 13">
              <a:extLst>
                <a:ext uri="{FF2B5EF4-FFF2-40B4-BE49-F238E27FC236}">
                  <a16:creationId xmlns:a16="http://schemas.microsoft.com/office/drawing/2014/main" id="{3A46B4C4-EAE8-DC64-8EE7-085376B9F0C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8" name="Freeform 14">
              <a:extLst>
                <a:ext uri="{FF2B5EF4-FFF2-40B4-BE49-F238E27FC236}">
                  <a16:creationId xmlns:a16="http://schemas.microsoft.com/office/drawing/2014/main" id="{868AEA7C-4869-2294-8EAF-A87420CD474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10685695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 Blue pink">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39F40A4-C4FE-CE81-4DDE-1096BF05B17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04350EF6-70D2-8CA6-C8B4-23AD48C51B92}"/>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E3C5F24B-DEBE-91F4-60EF-98DB9598FC4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11">
              <a:extLst>
                <a:ext uri="{FF2B5EF4-FFF2-40B4-BE49-F238E27FC236}">
                  <a16:creationId xmlns:a16="http://schemas.microsoft.com/office/drawing/2014/main" id="{0430F02E-A1F8-79E9-1749-B79A96144ED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12">
              <a:extLst>
                <a:ext uri="{FF2B5EF4-FFF2-40B4-BE49-F238E27FC236}">
                  <a16:creationId xmlns:a16="http://schemas.microsoft.com/office/drawing/2014/main" id="{FABBDCAD-55AC-A504-7AB9-9EA8B4E0982A}"/>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7" name="Freeform 13">
              <a:extLst>
                <a:ext uri="{FF2B5EF4-FFF2-40B4-BE49-F238E27FC236}">
                  <a16:creationId xmlns:a16="http://schemas.microsoft.com/office/drawing/2014/main" id="{3870B6CA-17E5-8094-AABA-A4EB4CF4DD7D}"/>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8" name="Freeform 14">
              <a:extLst>
                <a:ext uri="{FF2B5EF4-FFF2-40B4-BE49-F238E27FC236}">
                  <a16:creationId xmlns:a16="http://schemas.microsoft.com/office/drawing/2014/main" id="{AB471460-440F-63D0-B43A-D4E98094F4B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33139254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 Pink">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21011232-FEC1-556E-5D81-2627C46F6D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E305D3B8-631A-ECF6-F436-B2BCDEC1D146}"/>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A5AA4292-461B-4E6C-D0DF-22D79FF5659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11">
              <a:extLst>
                <a:ext uri="{FF2B5EF4-FFF2-40B4-BE49-F238E27FC236}">
                  <a16:creationId xmlns:a16="http://schemas.microsoft.com/office/drawing/2014/main" id="{E83B83EF-F13E-0C9F-A72E-1028FFB5C1A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12">
              <a:extLst>
                <a:ext uri="{FF2B5EF4-FFF2-40B4-BE49-F238E27FC236}">
                  <a16:creationId xmlns:a16="http://schemas.microsoft.com/office/drawing/2014/main" id="{7583F4ED-E4FB-BC79-63D6-917602298C36}"/>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7" name="Freeform 13">
              <a:extLst>
                <a:ext uri="{FF2B5EF4-FFF2-40B4-BE49-F238E27FC236}">
                  <a16:creationId xmlns:a16="http://schemas.microsoft.com/office/drawing/2014/main" id="{D7AF8DF3-63F0-80CE-4E26-5256A0E0248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8" name="Freeform 14">
              <a:extLst>
                <a:ext uri="{FF2B5EF4-FFF2-40B4-BE49-F238E27FC236}">
                  <a16:creationId xmlns:a16="http://schemas.microsoft.com/office/drawing/2014/main" id="{AD0AD8F7-2131-0B88-1728-D3CA421A2D2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28310328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 Blue purple">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3465075C-3A04-8F21-2D96-F11146239A8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A77D7537-AB6E-150C-8EAC-2488703A5501}"/>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B6DD48B6-4C1B-73D2-03B9-15D30FCE5E9E}"/>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11">
              <a:extLst>
                <a:ext uri="{FF2B5EF4-FFF2-40B4-BE49-F238E27FC236}">
                  <a16:creationId xmlns:a16="http://schemas.microsoft.com/office/drawing/2014/main" id="{64D70B58-DDCB-C449-2352-59773ED88AE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12">
              <a:extLst>
                <a:ext uri="{FF2B5EF4-FFF2-40B4-BE49-F238E27FC236}">
                  <a16:creationId xmlns:a16="http://schemas.microsoft.com/office/drawing/2014/main" id="{609F40CE-5FD9-0148-24E8-B471F0E808B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7" name="Freeform 13">
              <a:extLst>
                <a:ext uri="{FF2B5EF4-FFF2-40B4-BE49-F238E27FC236}">
                  <a16:creationId xmlns:a16="http://schemas.microsoft.com/office/drawing/2014/main" id="{921AF8C9-7D93-7437-46E4-70C04BC1FCD9}"/>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8" name="Freeform 14">
              <a:extLst>
                <a:ext uri="{FF2B5EF4-FFF2-40B4-BE49-F238E27FC236}">
                  <a16:creationId xmlns:a16="http://schemas.microsoft.com/office/drawing/2014/main" id="{A4086F6C-E115-654F-39E3-04AE3FA5602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26670414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 Orange red">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AC7C13A4-489B-3211-82FF-868A0A256E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7490672C-BECC-A8CE-2FB2-AF9FB16315DB}"/>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A3EA2D57-26D4-3FE7-0AD1-EEED4BE8BED6}"/>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11">
              <a:extLst>
                <a:ext uri="{FF2B5EF4-FFF2-40B4-BE49-F238E27FC236}">
                  <a16:creationId xmlns:a16="http://schemas.microsoft.com/office/drawing/2014/main" id="{3244009B-B9FA-D5C6-D5E3-5563DC7638F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12">
              <a:extLst>
                <a:ext uri="{FF2B5EF4-FFF2-40B4-BE49-F238E27FC236}">
                  <a16:creationId xmlns:a16="http://schemas.microsoft.com/office/drawing/2014/main" id="{2FD42FBA-921E-BB93-CEB5-51CAED5F599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7" name="Freeform 13">
              <a:extLst>
                <a:ext uri="{FF2B5EF4-FFF2-40B4-BE49-F238E27FC236}">
                  <a16:creationId xmlns:a16="http://schemas.microsoft.com/office/drawing/2014/main" id="{DADC54FF-C0E3-D235-2C4E-2FB66C6E9ED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8" name="Freeform 14">
              <a:extLst>
                <a:ext uri="{FF2B5EF4-FFF2-40B4-BE49-F238E27FC236}">
                  <a16:creationId xmlns:a16="http://schemas.microsoft.com/office/drawing/2014/main" id="{8E3A682F-0F88-48F0-97B1-60B5B2477F9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215651211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 Blue green">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3A71822B-C712-A4E6-919B-405BA7F21A5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F113608E-22FD-657F-8D07-CD39EC97958A}"/>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DA917A93-F7DB-3A50-D98B-8185FF15DE00}"/>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11">
              <a:extLst>
                <a:ext uri="{FF2B5EF4-FFF2-40B4-BE49-F238E27FC236}">
                  <a16:creationId xmlns:a16="http://schemas.microsoft.com/office/drawing/2014/main" id="{08D8095F-7FCC-5669-F881-F66619242228}"/>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12">
              <a:extLst>
                <a:ext uri="{FF2B5EF4-FFF2-40B4-BE49-F238E27FC236}">
                  <a16:creationId xmlns:a16="http://schemas.microsoft.com/office/drawing/2014/main" id="{A8F3D3FE-D0C9-59C1-F189-DA228D51A05B}"/>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7" name="Freeform 13">
              <a:extLst>
                <a:ext uri="{FF2B5EF4-FFF2-40B4-BE49-F238E27FC236}">
                  <a16:creationId xmlns:a16="http://schemas.microsoft.com/office/drawing/2014/main" id="{7F167DEA-E276-FD24-54AA-B4A09328CCE6}"/>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8" name="Freeform 14">
              <a:extLst>
                <a:ext uri="{FF2B5EF4-FFF2-40B4-BE49-F238E27FC236}">
                  <a16:creationId xmlns:a16="http://schemas.microsoft.com/office/drawing/2014/main" id="{5BDAA131-A001-A420-C695-237DBC40265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6171038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 Blu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08FFEE3-9429-FB20-94DA-036B3BA28AF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FF97AAA9-D469-5AE4-F90F-9020A3DDBE0A}"/>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C2E78338-BF1F-47F8-574E-5A79325DD1F8}"/>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5" name="Freeform 11">
              <a:extLst>
                <a:ext uri="{FF2B5EF4-FFF2-40B4-BE49-F238E27FC236}">
                  <a16:creationId xmlns:a16="http://schemas.microsoft.com/office/drawing/2014/main" id="{BEABEE7F-B8A9-CDE0-CB0E-B91BA834B8F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6" name="Freeform 12">
              <a:extLst>
                <a:ext uri="{FF2B5EF4-FFF2-40B4-BE49-F238E27FC236}">
                  <a16:creationId xmlns:a16="http://schemas.microsoft.com/office/drawing/2014/main" id="{42EAFBE4-3E55-88EC-6263-AA83BE68E7C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7" name="Freeform 13">
              <a:extLst>
                <a:ext uri="{FF2B5EF4-FFF2-40B4-BE49-F238E27FC236}">
                  <a16:creationId xmlns:a16="http://schemas.microsoft.com/office/drawing/2014/main" id="{55877F46-FE15-EE6B-7255-F5187038A7A8}"/>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8" name="Freeform 14">
              <a:extLst>
                <a:ext uri="{FF2B5EF4-FFF2-40B4-BE49-F238E27FC236}">
                  <a16:creationId xmlns:a16="http://schemas.microsoft.com/office/drawing/2014/main" id="{F62DDA2E-E23F-3C1F-FBA8-13E4AE5F3526}"/>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18579579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 White end slide">
    <p:bg>
      <p:bgPr>
        <a:solidFill>
          <a:schemeClr val="bg1"/>
        </a:solidFill>
        <a:effectLst/>
      </p:bgPr>
    </p:bg>
    <p:spTree>
      <p:nvGrpSpPr>
        <p:cNvPr id="1" name=""/>
        <p:cNvGrpSpPr/>
        <p:nvPr/>
      </p:nvGrpSpPr>
      <p:grpSpPr>
        <a:xfrm>
          <a:off x="0" y="0"/>
          <a:ext cx="0" cy="0"/>
          <a:chOff x="0" y="0"/>
          <a:chExt cx="0" cy="0"/>
        </a:xfrm>
      </p:grpSpPr>
      <p:grpSp>
        <p:nvGrpSpPr>
          <p:cNvPr id="2" name="Graphic 3">
            <a:extLst>
              <a:ext uri="{FF2B5EF4-FFF2-40B4-BE49-F238E27FC236}">
                <a16:creationId xmlns:a16="http://schemas.microsoft.com/office/drawing/2014/main" id="{46DC4F6B-8D28-1514-E83F-9C8BC35CC881}"/>
              </a:ext>
            </a:extLst>
          </p:cNvPr>
          <p:cNvGrpSpPr/>
          <p:nvPr userDrawn="1"/>
        </p:nvGrpSpPr>
        <p:grpSpPr>
          <a:xfrm>
            <a:off x="2444423" y="2606652"/>
            <a:ext cx="7303155" cy="1644697"/>
            <a:chOff x="469958" y="1647414"/>
            <a:chExt cx="8205029" cy="1847802"/>
          </a:xfrm>
          <a:solidFill>
            <a:schemeClr val="accent1"/>
          </a:solidFill>
        </p:grpSpPr>
        <p:sp>
          <p:nvSpPr>
            <p:cNvPr id="3" name="Freeform 10">
              <a:extLst>
                <a:ext uri="{FF2B5EF4-FFF2-40B4-BE49-F238E27FC236}">
                  <a16:creationId xmlns:a16="http://schemas.microsoft.com/office/drawing/2014/main" id="{528AAC0C-F8F7-997C-49C5-2DDCFFEF4C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2400"/>
            </a:p>
          </p:txBody>
        </p:sp>
        <p:sp>
          <p:nvSpPr>
            <p:cNvPr id="4" name="Freeform 11">
              <a:extLst>
                <a:ext uri="{FF2B5EF4-FFF2-40B4-BE49-F238E27FC236}">
                  <a16:creationId xmlns:a16="http://schemas.microsoft.com/office/drawing/2014/main" id="{709A296F-6430-7EEE-74D0-2B39CDE8E8CE}"/>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2400"/>
            </a:p>
          </p:txBody>
        </p:sp>
        <p:sp>
          <p:nvSpPr>
            <p:cNvPr id="5" name="Freeform 12">
              <a:extLst>
                <a:ext uri="{FF2B5EF4-FFF2-40B4-BE49-F238E27FC236}">
                  <a16:creationId xmlns:a16="http://schemas.microsoft.com/office/drawing/2014/main" id="{98732BD3-7687-3964-C382-BE79A166885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2400"/>
            </a:p>
          </p:txBody>
        </p:sp>
        <p:sp>
          <p:nvSpPr>
            <p:cNvPr id="6" name="Freeform 13">
              <a:extLst>
                <a:ext uri="{FF2B5EF4-FFF2-40B4-BE49-F238E27FC236}">
                  <a16:creationId xmlns:a16="http://schemas.microsoft.com/office/drawing/2014/main" id="{9F629670-5E2F-8BFA-0D73-6127F5336BE0}"/>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2400"/>
            </a:p>
          </p:txBody>
        </p:sp>
        <p:sp>
          <p:nvSpPr>
            <p:cNvPr id="7" name="Freeform 14">
              <a:extLst>
                <a:ext uri="{FF2B5EF4-FFF2-40B4-BE49-F238E27FC236}">
                  <a16:creationId xmlns:a16="http://schemas.microsoft.com/office/drawing/2014/main" id="{9B99146A-4055-2125-3098-1EF0E51C585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34440308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5 Blu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08FFEE3-9429-FB20-94DA-036B3BA28AF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3" name="Graphic 3">
            <a:extLst>
              <a:ext uri="{FF2B5EF4-FFF2-40B4-BE49-F238E27FC236}">
                <a16:creationId xmlns:a16="http://schemas.microsoft.com/office/drawing/2014/main" id="{FF97AAA9-D469-5AE4-F90F-9020A3DDBE0A}"/>
              </a:ext>
            </a:extLst>
          </p:cNvPr>
          <p:cNvGrpSpPr/>
          <p:nvPr userDrawn="1"/>
        </p:nvGrpSpPr>
        <p:grpSpPr>
          <a:xfrm>
            <a:off x="2444423" y="2606652"/>
            <a:ext cx="7303155" cy="1644697"/>
            <a:chOff x="469958" y="1647414"/>
            <a:chExt cx="8205029" cy="1847802"/>
          </a:xfrm>
          <a:solidFill>
            <a:schemeClr val="bg1"/>
          </a:solidFill>
        </p:grpSpPr>
        <p:sp>
          <p:nvSpPr>
            <p:cNvPr id="4" name="Freeform 10">
              <a:extLst>
                <a:ext uri="{FF2B5EF4-FFF2-40B4-BE49-F238E27FC236}">
                  <a16:creationId xmlns:a16="http://schemas.microsoft.com/office/drawing/2014/main" id="{C2E78338-BF1F-47F8-574E-5A79325DD1F8}"/>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sz="3200"/>
            </a:p>
          </p:txBody>
        </p:sp>
        <p:sp>
          <p:nvSpPr>
            <p:cNvPr id="5" name="Freeform 11">
              <a:extLst>
                <a:ext uri="{FF2B5EF4-FFF2-40B4-BE49-F238E27FC236}">
                  <a16:creationId xmlns:a16="http://schemas.microsoft.com/office/drawing/2014/main" id="{BEABEE7F-B8A9-CDE0-CB0E-B91BA834B8F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sz="3200"/>
            </a:p>
          </p:txBody>
        </p:sp>
        <p:sp>
          <p:nvSpPr>
            <p:cNvPr id="6" name="Freeform 12">
              <a:extLst>
                <a:ext uri="{FF2B5EF4-FFF2-40B4-BE49-F238E27FC236}">
                  <a16:creationId xmlns:a16="http://schemas.microsoft.com/office/drawing/2014/main" id="{42EAFBE4-3E55-88EC-6263-AA83BE68E7C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sz="3200"/>
            </a:p>
          </p:txBody>
        </p:sp>
        <p:sp>
          <p:nvSpPr>
            <p:cNvPr id="7" name="Freeform 13">
              <a:extLst>
                <a:ext uri="{FF2B5EF4-FFF2-40B4-BE49-F238E27FC236}">
                  <a16:creationId xmlns:a16="http://schemas.microsoft.com/office/drawing/2014/main" id="{55877F46-FE15-EE6B-7255-F5187038A7A8}"/>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sz="3200"/>
            </a:p>
          </p:txBody>
        </p:sp>
        <p:sp>
          <p:nvSpPr>
            <p:cNvPr id="8" name="Freeform 14">
              <a:extLst>
                <a:ext uri="{FF2B5EF4-FFF2-40B4-BE49-F238E27FC236}">
                  <a16:creationId xmlns:a16="http://schemas.microsoft.com/office/drawing/2014/main" id="{F62DDA2E-E23F-3C1F-FBA8-13E4AE5F3526}"/>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sz="3200"/>
            </a:p>
          </p:txBody>
        </p:sp>
      </p:grpSp>
    </p:spTree>
    <p:extLst>
      <p:ext uri="{BB962C8B-B14F-4D97-AF65-F5344CB8AC3E}">
        <p14:creationId xmlns:p14="http://schemas.microsoft.com/office/powerpoint/2010/main" val="9963109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1.3 Single colum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4797943-0794-42BB-A5A2-5F7947FE149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tx1"/>
                </a:solidFill>
                <a:latin typeface="Nokia Pure Headline Ultra Light" panose="020B02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bg2"/>
                </a:solidFill>
                <a:latin typeface="Nokia Pure Headline Ultra Light" panose="020B0204020202020204" pitchFamily="34" charset="0"/>
              </a:defRPr>
            </a:lvl1pPr>
          </a:lstStyle>
          <a:p>
            <a:pPr lvl="0"/>
            <a:r>
              <a:rPr lang="en-US" noProof="0"/>
              <a:t>Click to edit headline</a:t>
            </a:r>
          </a:p>
        </p:txBody>
      </p:sp>
      <p:sp>
        <p:nvSpPr>
          <p:cNvPr id="7" name="TextBox 6">
            <a:extLst>
              <a:ext uri="{FF2B5EF4-FFF2-40B4-BE49-F238E27FC236}">
                <a16:creationId xmlns:a16="http://schemas.microsoft.com/office/drawing/2014/main" id="{C1D82EEC-62DA-4206-A14F-3C37A36EE033}"/>
              </a:ext>
            </a:extLst>
          </p:cNvPr>
          <p:cNvSpPr txBox="1"/>
          <p:nvPr userDrawn="1"/>
        </p:nvSpPr>
        <p:spPr>
          <a:xfrm>
            <a:off x="1007701" y="6421172"/>
            <a:ext cx="2400000" cy="164212"/>
          </a:xfrm>
          <a:prstGeom prst="rect">
            <a:avLst/>
          </a:prstGeom>
          <a:noFill/>
        </p:spPr>
        <p:txBody>
          <a:bodyPr wrap="square" lIns="0" tIns="0" rIns="0" bIns="0" anchor="b">
            <a:spAutoFit/>
          </a:bodyPr>
          <a:lstStyle/>
          <a:p>
            <a:r>
              <a:rPr lang="en-US" sz="1067">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E795313C-2E8E-414B-8DD8-B308C596E634}"/>
              </a:ext>
            </a:extLst>
          </p:cNvPr>
          <p:cNvSpPr txBox="1">
            <a:spLocks/>
          </p:cNvSpPr>
          <p:nvPr userDrawn="1"/>
        </p:nvSpPr>
        <p:spPr>
          <a:xfrm>
            <a:off x="558803" y="6421388"/>
            <a:ext cx="336000" cy="164212"/>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0" name="Footer Placeholder 3">
            <a:extLst>
              <a:ext uri="{FF2B5EF4-FFF2-40B4-BE49-F238E27FC236}">
                <a16:creationId xmlns:a16="http://schemas.microsoft.com/office/drawing/2014/main" id="{A058C78B-B74D-4BDE-A42E-2FA5F58DCE7B}"/>
              </a:ext>
            </a:extLst>
          </p:cNvPr>
          <p:cNvSpPr>
            <a:spLocks noGrp="1"/>
          </p:cNvSpPr>
          <p:nvPr>
            <p:ph type="ftr" sz="quarter" idx="15"/>
          </p:nvPr>
        </p:nvSpPr>
        <p:spPr>
          <a:xfrm>
            <a:off x="3072000" y="6422400"/>
            <a:ext cx="6048000" cy="163200"/>
          </a:xfrm>
        </p:spPr>
        <p:txBody>
          <a:bodyPr/>
          <a:lstStyle>
            <a:lvl1pPr>
              <a:defRPr>
                <a:solidFill>
                  <a:schemeClr val="bg1"/>
                </a:solidFill>
              </a:defRPr>
            </a:lvl1pPr>
          </a:lstStyle>
          <a:p>
            <a:r>
              <a:rPr lang="en-US"/>
              <a:t>Nokia Confidential - FN LT Meeting - May 2023</a:t>
            </a:r>
          </a:p>
        </p:txBody>
      </p:sp>
      <p:pic>
        <p:nvPicPr>
          <p:cNvPr id="3" name="Picture 2">
            <a:extLst>
              <a:ext uri="{FF2B5EF4-FFF2-40B4-BE49-F238E27FC236}">
                <a16:creationId xmlns:a16="http://schemas.microsoft.com/office/drawing/2014/main" id="{B7CAB653-0B58-AB04-C3E0-AA1B85F84B7B}"/>
              </a:ext>
            </a:extLst>
          </p:cNvPr>
          <p:cNvPicPr>
            <a:picLocks noChangeAspect="1"/>
          </p:cNvPicPr>
          <p:nvPr userDrawn="1"/>
        </p:nvPicPr>
        <p:blipFill>
          <a:blip r:embed="rId3"/>
          <a:stretch>
            <a:fillRect/>
          </a:stretch>
        </p:blipFill>
        <p:spPr>
          <a:xfrm>
            <a:off x="0" y="6629401"/>
            <a:ext cx="1935648" cy="201084"/>
          </a:xfrm>
          <a:prstGeom prst="rect">
            <a:avLst/>
          </a:prstGeom>
        </p:spPr>
      </p:pic>
      <p:pic>
        <p:nvPicPr>
          <p:cNvPr id="5" name="Graphic 4">
            <a:extLst>
              <a:ext uri="{FF2B5EF4-FFF2-40B4-BE49-F238E27FC236}">
                <a16:creationId xmlns:a16="http://schemas.microsoft.com/office/drawing/2014/main" id="{85EDF2D1-57C9-C64D-7091-8B58D11F32A2}"/>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36427" y="6320612"/>
            <a:ext cx="1296000" cy="292019"/>
          </a:xfrm>
          <a:prstGeom prst="rect">
            <a:avLst/>
          </a:prstGeom>
        </p:spPr>
      </p:pic>
    </p:spTree>
    <p:extLst>
      <p:ext uri="{BB962C8B-B14F-4D97-AF65-F5344CB8AC3E}">
        <p14:creationId xmlns:p14="http://schemas.microsoft.com/office/powerpoint/2010/main" val="3282628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3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0" indent="0">
              <a:lnSpc>
                <a:spcPct val="100000"/>
              </a:lnSpc>
              <a:spcBef>
                <a:spcPts val="0"/>
              </a:spcBef>
              <a:spcAft>
                <a:spcPts val="800"/>
              </a:spcAft>
              <a:buSzPct val="70000"/>
              <a:buNone/>
              <a:defRPr sz="1600">
                <a:solidFill>
                  <a:schemeClr val="tx1"/>
                </a:solidFill>
              </a:defRPr>
            </a:lvl1pPr>
            <a:lvl2pPr marL="239994" indent="0">
              <a:lnSpc>
                <a:spcPct val="100000"/>
              </a:lnSpc>
              <a:spcBef>
                <a:spcPts val="0"/>
              </a:spcBef>
              <a:spcAft>
                <a:spcPts val="800"/>
              </a:spcAft>
              <a:buSzPct val="70000"/>
              <a:buNone/>
              <a:defRPr sz="1600">
                <a:solidFill>
                  <a:schemeClr val="tx1"/>
                </a:solidFill>
              </a:defRPr>
            </a:lvl2pPr>
            <a:lvl3pPr marL="479988" indent="0">
              <a:lnSpc>
                <a:spcPct val="100000"/>
              </a:lnSpc>
              <a:spcBef>
                <a:spcPts val="0"/>
              </a:spcBef>
              <a:spcAft>
                <a:spcPts val="800"/>
              </a:spcAft>
              <a:buSzPct val="70000"/>
              <a:buNone/>
              <a:defRPr sz="1600">
                <a:solidFill>
                  <a:schemeClr val="tx1"/>
                </a:solidFill>
              </a:defRPr>
            </a:lvl3pPr>
            <a:lvl4pPr marL="719982" indent="0">
              <a:lnSpc>
                <a:spcPct val="100000"/>
              </a:lnSpc>
              <a:spcBef>
                <a:spcPts val="0"/>
              </a:spcBef>
              <a:spcAft>
                <a:spcPts val="800"/>
              </a:spcAft>
              <a:buSzPct val="70000"/>
              <a:buNone/>
              <a:defRPr sz="1600">
                <a:solidFill>
                  <a:schemeClr val="tx1"/>
                </a:solidFill>
              </a:defRPr>
            </a:lvl4pPr>
            <a:lvl5pPr marL="959976" indent="0">
              <a:lnSpc>
                <a:spcPct val="100000"/>
              </a:lnSpc>
              <a:spcBef>
                <a:spcPts val="0"/>
              </a:spcBef>
              <a:spcAft>
                <a:spcPts val="800"/>
              </a:spcAft>
              <a:buSzPct val="70000"/>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0" name="TextBox 9">
            <a:extLst>
              <a:ext uri="{FF2B5EF4-FFF2-40B4-BE49-F238E27FC236}">
                <a16:creationId xmlns:a16="http://schemas.microsoft.com/office/drawing/2014/main" id="{D706B219-6557-5951-F467-43B768A9C96C}"/>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4FF66938-CF4B-D097-1BC6-18EB230030F4}"/>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CB929F03-682A-4566-CF9F-D3B71DB4575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E177B5-71D7-398C-03E7-932A701525D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3485382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427" y="6320612"/>
            <a:ext cx="1296000" cy="292019"/>
          </a:xfrm>
          <a:prstGeom prst="rect">
            <a:avLst/>
          </a:prstGeom>
        </p:spPr>
      </p:pic>
      <p:sp>
        <p:nvSpPr>
          <p:cNvPr id="12" name="Text Placeholder 42">
            <a:extLst>
              <a:ext uri="{FF2B5EF4-FFF2-40B4-BE49-F238E27FC236}">
                <a16:creationId xmlns:a16="http://schemas.microsoft.com/office/drawing/2014/main" id="{E8A36BB1-1CB4-70E4-B774-36E6FFADAD7B}"/>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bg1"/>
                </a:solidFill>
                <a:latin typeface="Nokia Pure Headline Light" panose="020B0304020202020204" pitchFamily="34" charset="0"/>
              </a:defRPr>
            </a:lvl1pPr>
          </a:lstStyle>
          <a:p>
            <a:pPr lvl="0"/>
            <a:r>
              <a:rPr lang="en-US"/>
              <a:t>Divider pages </a:t>
            </a:r>
            <a:br>
              <a:rPr lang="en-US"/>
            </a:br>
            <a:r>
              <a:rPr lang="en-US"/>
              <a:t>or large quotes</a:t>
            </a:r>
          </a:p>
        </p:txBody>
      </p:sp>
      <p:sp>
        <p:nvSpPr>
          <p:cNvPr id="7" name="TextBox 6">
            <a:extLst>
              <a:ext uri="{FF2B5EF4-FFF2-40B4-BE49-F238E27FC236}">
                <a16:creationId xmlns:a16="http://schemas.microsoft.com/office/drawing/2014/main" id="{5990E264-5D0F-60E1-079B-4D9441DFD2FA}"/>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8" name="Slide Number Placeholder 5">
            <a:extLst>
              <a:ext uri="{FF2B5EF4-FFF2-40B4-BE49-F238E27FC236}">
                <a16:creationId xmlns:a16="http://schemas.microsoft.com/office/drawing/2014/main" id="{1F513913-81F1-BE35-BEE1-E4F3B331C19E}"/>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5A2E6516-E21C-B9AB-D96C-01D89E1C188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FC57D9E6-836B-E344-7053-C5B54572FBF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12334765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1.4 Bulletpoint text 1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FD95910B-6C91-D297-584C-3D1533AECBE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7" name="Slide Number Placeholder 5">
            <a:extLst>
              <a:ext uri="{FF2B5EF4-FFF2-40B4-BE49-F238E27FC236}">
                <a16:creationId xmlns:a16="http://schemas.microsoft.com/office/drawing/2014/main" id="{C76EFBCA-F2A9-DB62-4D3E-60E897B89B5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5E7D3F5-04E5-7DAF-AB76-2DAC95AB476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7D61FF18-0BA2-46E4-85DF-332117D1237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65028885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1.12 Title slide with media 2">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sz="1600">
                <a:solidFill>
                  <a:schemeClr val="tx1"/>
                </a:solidFill>
              </a:defRPr>
            </a:lvl4pPr>
            <a:lvl5pPr marL="1199970" indent="-239994">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Box 4">
            <a:extLst>
              <a:ext uri="{FF2B5EF4-FFF2-40B4-BE49-F238E27FC236}">
                <a16:creationId xmlns:a16="http://schemas.microsoft.com/office/drawing/2014/main" id="{44F7A0E6-27FB-B6FF-2E31-5A6107DF4D15}"/>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7" name="Slide Number Placeholder 5">
            <a:extLst>
              <a:ext uri="{FF2B5EF4-FFF2-40B4-BE49-F238E27FC236}">
                <a16:creationId xmlns:a16="http://schemas.microsoft.com/office/drawing/2014/main" id="{0F2544C4-9B73-80CB-B1AE-384180132B7C}"/>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612FBD75-FC64-31E3-3F75-9DAE4224DD4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ECE578A4-6CB9-C574-603A-6A6E64EB149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8428547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2.13 Title slide with media 4 dark">
    <p:bg>
      <p:bgPr>
        <a:solidFill>
          <a:schemeClr val="tx1"/>
        </a:solidFill>
        <a:effectLst/>
      </p:bgPr>
    </p:bg>
    <p:spTree>
      <p:nvGrpSpPr>
        <p:cNvPr id="1" name=""/>
        <p:cNvGrpSpPr/>
        <p:nvPr/>
      </p:nvGrpSpPr>
      <p:grpSpPr>
        <a:xfrm>
          <a:off x="0" y="0"/>
          <a:ext cx="0" cy="0"/>
          <a:chOff x="0" y="0"/>
          <a:chExt cx="0" cy="0"/>
        </a:xfrm>
      </p:grpSpPr>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556801" y="527928"/>
            <a:ext cx="3294188" cy="454205"/>
          </a:xfrm>
          <a:prstGeom prst="rect">
            <a:avLst/>
          </a:prstGeom>
        </p:spPr>
        <p:txBody>
          <a:bodyPr lIns="0" tIns="0" rIns="0" bIns="0"/>
          <a:lstStyle>
            <a:lvl1pPr marL="0" indent="0">
              <a:lnSpc>
                <a:spcPct val="100000"/>
              </a:lnSpc>
              <a:spcBef>
                <a:spcPts val="0"/>
              </a:spcBef>
              <a:buNone/>
              <a:defRPr sz="3200" baseline="0">
                <a:solidFill>
                  <a:schemeClr val="bg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556801" y="1019360"/>
            <a:ext cx="3294188" cy="454205"/>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556453" y="1680000"/>
            <a:ext cx="3294188" cy="438912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bg1"/>
                </a:solidFill>
              </a:defRPr>
            </a:lvl1pPr>
            <a:lvl2pPr marL="479988" indent="-239994">
              <a:lnSpc>
                <a:spcPct val="100000"/>
              </a:lnSpc>
              <a:spcBef>
                <a:spcPts val="0"/>
              </a:spcBef>
              <a:spcAft>
                <a:spcPts val="800"/>
              </a:spcAft>
              <a:buSzPct val="70000"/>
              <a:defRPr sz="1600">
                <a:solidFill>
                  <a:schemeClr val="bg1"/>
                </a:solidFill>
              </a:defRPr>
            </a:lvl2pPr>
            <a:lvl3pPr marL="719982" indent="-239994">
              <a:lnSpc>
                <a:spcPct val="100000"/>
              </a:lnSpc>
              <a:spcBef>
                <a:spcPts val="0"/>
              </a:spcBef>
              <a:spcAft>
                <a:spcPts val="800"/>
              </a:spcAft>
              <a:buSzPct val="70000"/>
              <a:defRPr sz="1600">
                <a:solidFill>
                  <a:schemeClr val="bg1"/>
                </a:solidFill>
              </a:defRPr>
            </a:lvl3pPr>
            <a:lvl4pPr marL="959976" indent="-239994">
              <a:lnSpc>
                <a:spcPct val="100000"/>
              </a:lnSpc>
              <a:spcBef>
                <a:spcPts val="0"/>
              </a:spcBef>
              <a:spcAft>
                <a:spcPts val="800"/>
              </a:spcAft>
              <a:buSzPct val="70000"/>
              <a:defRPr sz="1600">
                <a:solidFill>
                  <a:schemeClr val="bg1"/>
                </a:solidFill>
              </a:defRPr>
            </a:lvl4pPr>
            <a:lvl5pPr marL="1199970" indent="-239994">
              <a:lnSpc>
                <a:spcPct val="100000"/>
              </a:lnSpc>
              <a:spcBef>
                <a:spcPts val="0"/>
              </a:spcBef>
              <a:spcAft>
                <a:spcPts val="800"/>
              </a:spcAft>
              <a:buSzPct val="7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C663BDD0-396A-C130-FA04-231CB3C74388}"/>
              </a:ext>
            </a:extLst>
          </p:cNvPr>
          <p:cNvSpPr>
            <a:spLocks noGrp="1"/>
          </p:cNvSpPr>
          <p:nvPr>
            <p:ph type="pic" sz="quarter" idx="16" hasCustomPrompt="1"/>
          </p:nvPr>
        </p:nvSpPr>
        <p:spPr>
          <a:xfrm>
            <a:off x="4267200" y="0"/>
            <a:ext cx="79248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pic>
        <p:nvPicPr>
          <p:cNvPr id="3" name="Graphic 2">
            <a:extLst>
              <a:ext uri="{FF2B5EF4-FFF2-40B4-BE49-F238E27FC236}">
                <a16:creationId xmlns:a16="http://schemas.microsoft.com/office/drawing/2014/main" id="{E89A3CCB-3818-87A8-9032-448C77F620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6" name="TextBox 5">
            <a:extLst>
              <a:ext uri="{FF2B5EF4-FFF2-40B4-BE49-F238E27FC236}">
                <a16:creationId xmlns:a16="http://schemas.microsoft.com/office/drawing/2014/main" id="{2108539B-21D0-85E7-AB77-143ABD40EEB1}"/>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3F76E50B-EEF8-724F-1802-0488D70A46F4}"/>
              </a:ext>
            </a:extLst>
          </p:cNvPr>
          <p:cNvSpPr txBox="1">
            <a:spLocks/>
          </p:cNvSpPr>
          <p:nvPr userDrawn="1"/>
        </p:nvSpPr>
        <p:spPr>
          <a:xfrm>
            <a:off x="558803" y="6478009"/>
            <a:ext cx="160300"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7FC0E722-8D59-61D9-391E-65CCE154F81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0CF5A558-51C2-73A4-9D8C-5A3B7422BE46}"/>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30892448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1.1 Blank">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Box 1">
            <a:extLst>
              <a:ext uri="{FF2B5EF4-FFF2-40B4-BE49-F238E27FC236}">
                <a16:creationId xmlns:a16="http://schemas.microsoft.com/office/drawing/2014/main" id="{0FF79836-BBB3-F465-E1C5-425AB4A83E4B}"/>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D4E9A04A-3145-3809-19A7-33EF3021A9A7}"/>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E5C3DF80-A3E4-DDDB-D584-7BEE3A84C96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16E76675-E286-0D90-FB5C-6C963712349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2399760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1.1 Blank">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0FF79836-BBB3-F465-E1C5-425AB4A83E4B}"/>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D4E9A04A-3145-3809-19A7-33EF3021A9A7}"/>
              </a:ext>
            </a:extLst>
          </p:cNvPr>
          <p:cNvSpPr txBox="1">
            <a:spLocks/>
          </p:cNvSpPr>
          <p:nvPr userDrawn="1"/>
        </p:nvSpPr>
        <p:spPr>
          <a:xfrm>
            <a:off x="558803" y="6478009"/>
            <a:ext cx="166712" cy="164212"/>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E5C3DF80-A3E4-DDDB-D584-7BEE3A84C96D}"/>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16E76675-E286-0D90-FB5C-6C963712349E}"/>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7970122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1.2 Titl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Tree>
    <p:extLst>
      <p:ext uri="{BB962C8B-B14F-4D97-AF65-F5344CB8AC3E}">
        <p14:creationId xmlns:p14="http://schemas.microsoft.com/office/powerpoint/2010/main" val="32958799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7_1.3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0" indent="0">
              <a:lnSpc>
                <a:spcPct val="100000"/>
              </a:lnSpc>
              <a:spcBef>
                <a:spcPts val="0"/>
              </a:spcBef>
              <a:spcAft>
                <a:spcPts val="800"/>
              </a:spcAft>
              <a:buSzPct val="70000"/>
              <a:buNone/>
              <a:defRPr sz="1600">
                <a:solidFill>
                  <a:schemeClr val="tx1"/>
                </a:solidFill>
              </a:defRPr>
            </a:lvl1pPr>
            <a:lvl2pPr marL="239989" indent="0">
              <a:lnSpc>
                <a:spcPct val="100000"/>
              </a:lnSpc>
              <a:spcBef>
                <a:spcPts val="0"/>
              </a:spcBef>
              <a:spcAft>
                <a:spcPts val="800"/>
              </a:spcAft>
              <a:buSzPct val="70000"/>
              <a:buNone/>
              <a:defRPr sz="1600">
                <a:solidFill>
                  <a:schemeClr val="tx1"/>
                </a:solidFill>
              </a:defRPr>
            </a:lvl2pPr>
            <a:lvl3pPr marL="479976" indent="0">
              <a:lnSpc>
                <a:spcPct val="100000"/>
              </a:lnSpc>
              <a:spcBef>
                <a:spcPts val="0"/>
              </a:spcBef>
              <a:spcAft>
                <a:spcPts val="800"/>
              </a:spcAft>
              <a:buSzPct val="70000"/>
              <a:buNone/>
              <a:defRPr sz="1600">
                <a:solidFill>
                  <a:schemeClr val="tx1"/>
                </a:solidFill>
              </a:defRPr>
            </a:lvl3pPr>
            <a:lvl4pPr marL="719965" indent="0">
              <a:lnSpc>
                <a:spcPct val="100000"/>
              </a:lnSpc>
              <a:spcBef>
                <a:spcPts val="0"/>
              </a:spcBef>
              <a:spcAft>
                <a:spcPts val="800"/>
              </a:spcAft>
              <a:buSzPct val="70000"/>
              <a:buNone/>
              <a:defRPr sz="1600">
                <a:solidFill>
                  <a:schemeClr val="tx1"/>
                </a:solidFill>
              </a:defRPr>
            </a:lvl4pPr>
            <a:lvl5pPr marL="959952" indent="0">
              <a:lnSpc>
                <a:spcPct val="100000"/>
              </a:lnSpc>
              <a:spcBef>
                <a:spcPts val="0"/>
              </a:spcBef>
              <a:spcAft>
                <a:spcPts val="800"/>
              </a:spcAft>
              <a:buSzPct val="70000"/>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0" name="TextBox 9">
            <a:extLst>
              <a:ext uri="{FF2B5EF4-FFF2-40B4-BE49-F238E27FC236}">
                <a16:creationId xmlns:a16="http://schemas.microsoft.com/office/drawing/2014/main" id="{D706B219-6557-5951-F467-43B768A9C96C}"/>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4FF66938-CF4B-D097-1BC6-18EB230030F4}"/>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CB929F03-682A-4566-CF9F-D3B71DB4575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E177B5-71D7-398C-03E7-932A701525D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0844974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2_1.4 Bulletpoint text 1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Box 1">
            <a:extLst>
              <a:ext uri="{FF2B5EF4-FFF2-40B4-BE49-F238E27FC236}">
                <a16:creationId xmlns:a16="http://schemas.microsoft.com/office/drawing/2014/main" id="{FD95910B-6C91-D297-584C-3D1533AECBE8}"/>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C76EFBCA-F2A9-DB62-4D3E-60E897B89B56}"/>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5E7D3F5-04E5-7DAF-AB76-2DAC95AB476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7D61FF18-0BA2-46E4-85DF-332117D1237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2003990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7_1.5 Bulletpoint text 2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5424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6211552" y="1680000"/>
            <a:ext cx="5424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Box 1">
            <a:extLst>
              <a:ext uri="{FF2B5EF4-FFF2-40B4-BE49-F238E27FC236}">
                <a16:creationId xmlns:a16="http://schemas.microsoft.com/office/drawing/2014/main" id="{E3A67328-00EF-5713-CA06-6BF95B775913}"/>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CED75580-5FAF-E6C5-DFED-1F462D82E3A6}"/>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1E21FDDB-B801-EAA3-9D13-40103E7AC2C1}"/>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65EB5894-B0A6-D8F1-AD97-D6E4D056DDA6}"/>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8661255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4 Bulletpoint text 1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FD95910B-6C91-D297-584C-3D1533AECBE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C76EFBCA-F2A9-DB62-4D3E-60E897B89B5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5E7D3F5-04E5-7DAF-AB76-2DAC95AB476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7D61FF18-0BA2-46E4-85DF-332117D1237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15809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7_1.6 Bulletpoint text 3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360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4296000" y="1680000"/>
            <a:ext cx="360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8035551" y="1680000"/>
            <a:ext cx="3596877"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BF8E66B8-C798-B992-2C68-B85351E1170D}"/>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6CA67C43-66D6-847E-98DC-61F9029ECC0B}"/>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323A8A5F-292F-2AC1-C1B0-A59D33F93A2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A1277FE0-ECBC-0B62-6936-4A9C8E1CE894}"/>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3577114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7_1.7 Bulletpoint text 4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368443"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180435"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8992427" y="1680000"/>
            <a:ext cx="2640000" cy="415864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41" indent="-239989">
              <a:lnSpc>
                <a:spcPct val="100000"/>
              </a:lnSpc>
              <a:spcBef>
                <a:spcPts val="0"/>
              </a:spcBef>
              <a:spcAft>
                <a:spcPts val="800"/>
              </a:spcAft>
              <a:buSzPct val="70000"/>
              <a:defRPr sz="1600">
                <a:solidFill>
                  <a:schemeClr val="tx1"/>
                </a:solidFill>
              </a:defRPr>
            </a:lvl5pPr>
            <a:lvl6pPr marL="1439928" indent="-239989">
              <a:lnSpc>
                <a:spcPct val="100000"/>
              </a:lnSpc>
              <a:spcBef>
                <a:spcPts val="0"/>
              </a:spcBef>
              <a:buSzPct val="70000"/>
              <a:buFont typeface="Arial" panose="020B0604020202020204" pitchFamily="34" charset="0"/>
              <a:buChar char="•"/>
              <a:defRPr sz="1467">
                <a:solidFill>
                  <a:schemeClr val="tx2"/>
                </a:solidFill>
              </a:defRPr>
            </a:lvl6pPr>
            <a:lvl7pPr marL="1439928">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93DA646D-5F97-9D8A-4598-A0C98D4634E0}"/>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9115B87B-934C-0F92-5F93-D343BD44B66C}"/>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7428D676-DD53-1C54-82A5-88434E06B3E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45A16F44-B403-571B-AD0A-B6A86614B77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4758978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7_1.8 Numbered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556800" y="1680000"/>
            <a:ext cx="11078400" cy="4158640"/>
          </a:xfrm>
          <a:prstGeom prst="rect">
            <a:avLst/>
          </a:prstGeom>
        </p:spPr>
        <p:txBody>
          <a:bodyPr lIns="0" tIns="0" rIns="0" bIns="0"/>
          <a:lstStyle>
            <a:lvl1pPr marL="304784" indent="-304784">
              <a:lnSpc>
                <a:spcPct val="100000"/>
              </a:lnSpc>
              <a:spcBef>
                <a:spcPts val="0"/>
              </a:spcBef>
              <a:spcAft>
                <a:spcPts val="800"/>
              </a:spcAft>
              <a:buFont typeface="+mj-lt"/>
              <a:buAutoNum type="arabicPeriod"/>
              <a:defRPr sz="1600">
                <a:solidFill>
                  <a:schemeClr val="tx1"/>
                </a:solidFill>
              </a:defRPr>
            </a:lvl1pPr>
            <a:lvl2pPr marL="544773" indent="-304784">
              <a:lnSpc>
                <a:spcPct val="100000"/>
              </a:lnSpc>
              <a:spcBef>
                <a:spcPts val="0"/>
              </a:spcBef>
              <a:spcAft>
                <a:spcPts val="800"/>
              </a:spcAft>
              <a:buFont typeface="+mj-lt"/>
              <a:buAutoNum type="arabicPeriod" startAt="2"/>
              <a:defRPr sz="1600">
                <a:solidFill>
                  <a:schemeClr val="tx1"/>
                </a:solidFill>
              </a:defRPr>
            </a:lvl2pPr>
            <a:lvl3pPr marL="784760" indent="-304784">
              <a:lnSpc>
                <a:spcPct val="100000"/>
              </a:lnSpc>
              <a:spcBef>
                <a:spcPts val="0"/>
              </a:spcBef>
              <a:spcAft>
                <a:spcPts val="800"/>
              </a:spcAft>
              <a:buFont typeface="+mj-lt"/>
              <a:buAutoNum type="arabicPeriod" startAt="3"/>
              <a:defRPr sz="1600">
                <a:solidFill>
                  <a:schemeClr val="tx1"/>
                </a:solidFill>
              </a:defRPr>
            </a:lvl3pPr>
            <a:lvl4pPr marL="1024749" indent="-304784">
              <a:lnSpc>
                <a:spcPct val="100000"/>
              </a:lnSpc>
              <a:spcBef>
                <a:spcPts val="0"/>
              </a:spcBef>
              <a:spcAft>
                <a:spcPts val="800"/>
              </a:spcAft>
              <a:buFont typeface="+mj-lt"/>
              <a:buAutoNum type="arabicPeriod" startAt="4"/>
              <a:defRPr sz="1600">
                <a:solidFill>
                  <a:schemeClr val="tx1"/>
                </a:solidFill>
              </a:defRPr>
            </a:lvl4pPr>
            <a:lvl5pPr marL="1276136" indent="-304784">
              <a:lnSpc>
                <a:spcPct val="100000"/>
              </a:lnSpc>
              <a:spcBef>
                <a:spcPts val="0"/>
              </a:spcBef>
              <a:spcAft>
                <a:spcPts val="800"/>
              </a:spcAft>
              <a:buFont typeface="+mj-lt"/>
              <a:buAutoNum type="arabicPeriod" startAt="5"/>
              <a:defRPr sz="1600">
                <a:solidFill>
                  <a:schemeClr val="tx1"/>
                </a:solidFill>
              </a:defRPr>
            </a:lvl5pPr>
          </a:lstStyle>
          <a:p>
            <a:pPr lvl="0"/>
            <a:r>
              <a:rPr lang="en-US"/>
              <a:t>Text here</a:t>
            </a:r>
          </a:p>
          <a:p>
            <a:pPr lvl="1"/>
            <a:r>
              <a:rPr lang="en-US"/>
              <a:t>Text here</a:t>
            </a:r>
          </a:p>
          <a:p>
            <a:pPr lvl="2"/>
            <a:r>
              <a:rPr lang="en-US"/>
              <a:t>Text here</a:t>
            </a:r>
          </a:p>
          <a:p>
            <a:pPr lvl="3"/>
            <a:r>
              <a:rPr lang="en-US"/>
              <a:t>Text here</a:t>
            </a:r>
          </a:p>
          <a:p>
            <a:pPr marL="1276136" marR="0" lvl="4" indent="-304784" algn="l" defTabSz="914354" rtl="0" eaLnBrk="1" fontAlgn="auto" latinLnBrk="0" hangingPunct="1">
              <a:lnSpc>
                <a:spcPct val="100000"/>
              </a:lnSpc>
              <a:spcBef>
                <a:spcPts val="0"/>
              </a:spcBef>
              <a:spcAft>
                <a:spcPts val="400"/>
              </a:spcAft>
              <a:buClrTx/>
              <a:buSzTx/>
              <a:tabLst/>
              <a:defRPr/>
            </a:pPr>
            <a:r>
              <a:rPr lang="en-US"/>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2" name="TextBox 1">
            <a:extLst>
              <a:ext uri="{FF2B5EF4-FFF2-40B4-BE49-F238E27FC236}">
                <a16:creationId xmlns:a16="http://schemas.microsoft.com/office/drawing/2014/main" id="{BB696985-1EFA-02D0-106A-9F81CEBC3FA1}"/>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1AF7E5B4-21F0-0696-BF4F-8AFCA8103CD7}"/>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87755C10-FC21-4D9F-8DA4-A30B437ABD12}"/>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DDC4B182-BD0E-D0F1-793C-A6CE500EA3BD}"/>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0616003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_1.9 Title slid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accent1"/>
                </a:solidFill>
                <a:latin typeface="Nokia Pure Headline Light" panose="020B0304020202020204" pitchFamily="34" charset="0"/>
              </a:defRPr>
            </a:lvl1pPr>
          </a:lstStyle>
          <a:p>
            <a:pPr lvl="0"/>
            <a:r>
              <a:rPr lang="en-US"/>
              <a:t>Click to edit headline</a:t>
            </a:r>
          </a:p>
        </p:txBody>
      </p:sp>
      <p:sp>
        <p:nvSpPr>
          <p:cNvPr id="3" name="TextBox 2">
            <a:extLst>
              <a:ext uri="{FF2B5EF4-FFF2-40B4-BE49-F238E27FC236}">
                <a16:creationId xmlns:a16="http://schemas.microsoft.com/office/drawing/2014/main" id="{3306DFA0-C2BA-C581-C314-740F6D8A7079}"/>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AB1F327B-603C-86B8-9F24-AB86561B3C06}"/>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FB24B9E5-9DF5-72DD-49F0-33455A6A12D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5D779461-EFB5-C35B-DE08-509687C8261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9855411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1.10 Title slide with media 1">
    <p:spTree>
      <p:nvGrpSpPr>
        <p:cNvPr id="1" name=""/>
        <p:cNvGrpSpPr/>
        <p:nvPr/>
      </p:nvGrpSpPr>
      <p:grpSpPr>
        <a:xfrm>
          <a:off x="0" y="0"/>
          <a:ext cx="0" cy="0"/>
          <a:chOff x="0" y="0"/>
          <a:chExt cx="0" cy="0"/>
        </a:xfrm>
      </p:grpSpPr>
      <p:sp>
        <p:nvSpPr>
          <p:cNvPr id="3" name="Media Placeholder 6">
            <a:extLst>
              <a:ext uri="{FF2B5EF4-FFF2-40B4-BE49-F238E27FC236}">
                <a16:creationId xmlns:a16="http://schemas.microsoft.com/office/drawing/2014/main" id="{BB2531A6-B2AF-8CE3-D4E6-FFA2A6F43CBA}"/>
              </a:ext>
            </a:extLst>
          </p:cNvPr>
          <p:cNvSpPr>
            <a:spLocks noGrp="1"/>
          </p:cNvSpPr>
          <p:nvPr>
            <p:ph type="media" sz="quarter" idx="12"/>
          </p:nvPr>
        </p:nvSpPr>
        <p:spPr>
          <a:xfrm>
            <a:off x="0" y="0"/>
            <a:ext cx="12192000" cy="6858000"/>
          </a:xfrm>
          <a:prstGeom prst="rect">
            <a:avLst/>
          </a:prstGeom>
        </p:spPr>
        <p:txBody>
          <a:bodyPr/>
          <a:lstStyle>
            <a:lvl1pPr marL="0" indent="0">
              <a:buNone/>
              <a:defRPr>
                <a:solidFill>
                  <a:schemeClr val="accent4"/>
                </a:solidFill>
              </a:defRPr>
            </a:lvl1pPr>
          </a:lstStyle>
          <a:p>
            <a:r>
              <a:rPr lang="en-US"/>
              <a:t>Click icon to add media</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4" name="Text Placeholder 42">
            <a:extLst>
              <a:ext uri="{FF2B5EF4-FFF2-40B4-BE49-F238E27FC236}">
                <a16:creationId xmlns:a16="http://schemas.microsoft.com/office/drawing/2014/main" id="{294B94FF-B007-7648-0008-A471B34C4CB3}"/>
              </a:ext>
            </a:extLst>
          </p:cNvPr>
          <p:cNvSpPr>
            <a:spLocks noGrp="1"/>
          </p:cNvSpPr>
          <p:nvPr>
            <p:ph type="body" sz="quarter" idx="11" hasCustomPrompt="1"/>
          </p:nvPr>
        </p:nvSpPr>
        <p:spPr>
          <a:xfrm>
            <a:off x="556800" y="1440002"/>
            <a:ext cx="11078400" cy="2347335"/>
          </a:xfrm>
          <a:prstGeom prst="rect">
            <a:avLst/>
          </a:prstGeom>
        </p:spPr>
        <p:txBody>
          <a:bodyPr lIns="0" tIns="0" rIns="0" bIns="0"/>
          <a:lstStyle>
            <a:lvl1pPr marL="0" indent="0">
              <a:lnSpc>
                <a:spcPct val="100000"/>
              </a:lnSpc>
              <a:spcBef>
                <a:spcPts val="0"/>
              </a:spcBef>
              <a:buNone/>
              <a:defRPr sz="5867" baseline="0">
                <a:solidFill>
                  <a:schemeClr val="accent1"/>
                </a:solidFill>
                <a:latin typeface="Nokia Pure Headline Light" panose="020B0304020202020204" pitchFamily="34" charset="0"/>
              </a:defRPr>
            </a:lvl1pPr>
          </a:lstStyle>
          <a:p>
            <a:pPr lvl="0"/>
            <a:r>
              <a:rPr lang="en-US"/>
              <a:t>Click to edit headline</a:t>
            </a:r>
          </a:p>
        </p:txBody>
      </p:sp>
      <p:sp>
        <p:nvSpPr>
          <p:cNvPr id="4" name="TextBox 3">
            <a:extLst>
              <a:ext uri="{FF2B5EF4-FFF2-40B4-BE49-F238E27FC236}">
                <a16:creationId xmlns:a16="http://schemas.microsoft.com/office/drawing/2014/main" id="{4C9BA26F-4B98-6DDA-4965-A8BCB0A90C5D}"/>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2218EC66-6293-FC0C-C8AC-A21153E5703B}"/>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B7316F68-F558-B048-EF20-3133405450BF}"/>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A535B119-5E07-6658-028F-A2E92F84E1E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413955451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_1.11 Title slide with white ">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A9C292-FC1E-4CD0-D1C2-1C1BF0964A4B}"/>
              </a:ext>
            </a:extLst>
          </p:cNvPr>
          <p:cNvSpPr/>
          <p:nvPr userDrawn="1"/>
        </p:nvSpPr>
        <p:spPr>
          <a:xfrm flipH="1">
            <a:off x="-14515" y="0"/>
            <a:ext cx="5080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96000" rIns="96000" bIns="96000" numCol="1" spcCol="0" rtlCol="0" fromWordArt="0" anchor="t" anchorCtr="0" forceAA="0" compatLnSpc="1">
            <a:prstTxWarp prst="textNoShape">
              <a:avLst/>
            </a:prstTxWarp>
            <a:noAutofit/>
          </a:bodyPr>
          <a:lstStyle/>
          <a:p>
            <a:pPr algn="l">
              <a:spcAft>
                <a:spcPts val="400"/>
              </a:spcAft>
              <a:buSzPct val="100000"/>
            </a:pPr>
            <a:endParaRPr lang="en-US" sz="1600">
              <a:solidFill>
                <a:schemeClr val="tx2"/>
              </a:solidFill>
            </a:endParaRPr>
          </a:p>
        </p:txBody>
      </p:sp>
      <p:pic>
        <p:nvPicPr>
          <p:cNvPr id="6" name="Graphic 5">
            <a:extLst>
              <a:ext uri="{FF2B5EF4-FFF2-40B4-BE49-F238E27FC236}">
                <a16:creationId xmlns:a16="http://schemas.microsoft.com/office/drawing/2014/main" id="{9ADE2C08-8C2F-6DA1-140F-78B7C383967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3" name="Text Placeholder 42">
            <a:extLst>
              <a:ext uri="{FF2B5EF4-FFF2-40B4-BE49-F238E27FC236}">
                <a16:creationId xmlns:a16="http://schemas.microsoft.com/office/drawing/2014/main" id="{076F2482-56A5-DF69-EDAB-369E53244A98}"/>
              </a:ext>
            </a:extLst>
          </p:cNvPr>
          <p:cNvSpPr>
            <a:spLocks noGrp="1"/>
          </p:cNvSpPr>
          <p:nvPr>
            <p:ph type="body" sz="quarter" idx="12" hasCustomPrompt="1"/>
          </p:nvPr>
        </p:nvSpPr>
        <p:spPr>
          <a:xfrm>
            <a:off x="556801" y="527928"/>
            <a:ext cx="423872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14" name="Text Placeholder 42">
            <a:extLst>
              <a:ext uri="{FF2B5EF4-FFF2-40B4-BE49-F238E27FC236}">
                <a16:creationId xmlns:a16="http://schemas.microsoft.com/office/drawing/2014/main" id="{9EE67559-07A5-8DC0-5F9E-74889395C505}"/>
              </a:ext>
            </a:extLst>
          </p:cNvPr>
          <p:cNvSpPr>
            <a:spLocks noGrp="1"/>
          </p:cNvSpPr>
          <p:nvPr>
            <p:ph type="body" sz="quarter" idx="13" hasCustomPrompt="1"/>
          </p:nvPr>
        </p:nvSpPr>
        <p:spPr>
          <a:xfrm>
            <a:off x="556801" y="1019360"/>
            <a:ext cx="423872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5" name="TextBox 14">
            <a:extLst>
              <a:ext uri="{FF2B5EF4-FFF2-40B4-BE49-F238E27FC236}">
                <a16:creationId xmlns:a16="http://schemas.microsoft.com/office/drawing/2014/main" id="{888C92FD-B39B-95B0-724C-D1AA2268DE24}"/>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F172D6B9-A8FE-EBFF-D93D-5EB12C01965D}"/>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Footer Placeholder 2">
            <a:extLst>
              <a:ext uri="{FF2B5EF4-FFF2-40B4-BE49-F238E27FC236}">
                <a16:creationId xmlns:a16="http://schemas.microsoft.com/office/drawing/2014/main" id="{AF35F11C-FBF2-64A9-BC5E-546156F777F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
        <p:nvSpPr>
          <p:cNvPr id="19" name="Text Placeholder 12">
            <a:extLst>
              <a:ext uri="{FF2B5EF4-FFF2-40B4-BE49-F238E27FC236}">
                <a16:creationId xmlns:a16="http://schemas.microsoft.com/office/drawing/2014/main" id="{EFF7564F-7000-1BEA-AD06-C8104C4313E7}"/>
              </a:ext>
            </a:extLst>
          </p:cNvPr>
          <p:cNvSpPr>
            <a:spLocks noGrp="1"/>
          </p:cNvSpPr>
          <p:nvPr>
            <p:ph type="body" sz="quarter" idx="14"/>
          </p:nvPr>
        </p:nvSpPr>
        <p:spPr>
          <a:xfrm>
            <a:off x="556454" y="1680000"/>
            <a:ext cx="423906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24713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2_1.12 Title slide with media 2">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5" name="TextBox 4">
            <a:extLst>
              <a:ext uri="{FF2B5EF4-FFF2-40B4-BE49-F238E27FC236}">
                <a16:creationId xmlns:a16="http://schemas.microsoft.com/office/drawing/2014/main" id="{44F7A0E6-27FB-B6FF-2E31-5A6107DF4D1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F2544C4-9B73-80CB-B1AE-384180132B7C}"/>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612FBD75-FC64-31E3-3F75-9DAE4224DD4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ECE578A4-6CB9-C574-603A-6A6E64EB149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31860902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_1.13 Title slide with media 3">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556802" y="527928"/>
            <a:ext cx="455402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556802" y="1019360"/>
            <a:ext cx="4554028"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556454" y="1680000"/>
            <a:ext cx="455402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E7BA896-DC3C-C861-6C89-0401950D7446}"/>
              </a:ext>
            </a:extLst>
          </p:cNvPr>
          <p:cNvSpPr>
            <a:spLocks noGrp="1"/>
          </p:cNvSpPr>
          <p:nvPr>
            <p:ph type="pic" sz="quarter" idx="15" hasCustomPrompt="1"/>
          </p:nvPr>
        </p:nvSpPr>
        <p:spPr>
          <a:xfrm>
            <a:off x="5486400" y="0"/>
            <a:ext cx="67056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4" name="TextBox 3">
            <a:extLst>
              <a:ext uri="{FF2B5EF4-FFF2-40B4-BE49-F238E27FC236}">
                <a16:creationId xmlns:a16="http://schemas.microsoft.com/office/drawing/2014/main" id="{DD05DD94-B1D7-AF62-87C9-7EF3B816BC50}"/>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4CA45A5E-8155-944F-17C0-E8C2DF0291BF}"/>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6660D9BC-D30D-1466-7616-8C7936E38CF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9FEC4AEB-8265-3816-B1A7-81B4297B51B5}"/>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24477923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1.14 Title slide with media 4">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556802" y="527928"/>
            <a:ext cx="3294188"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556802" y="1019360"/>
            <a:ext cx="3294188"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556454" y="1680000"/>
            <a:ext cx="329418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C663BDD0-396A-C130-FA04-231CB3C74388}"/>
              </a:ext>
            </a:extLst>
          </p:cNvPr>
          <p:cNvSpPr>
            <a:spLocks noGrp="1"/>
          </p:cNvSpPr>
          <p:nvPr>
            <p:ph type="pic" sz="quarter" idx="16" hasCustomPrompt="1"/>
          </p:nvPr>
        </p:nvSpPr>
        <p:spPr>
          <a:xfrm>
            <a:off x="4267200" y="0"/>
            <a:ext cx="79248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3" name="TextBox 2">
            <a:extLst>
              <a:ext uri="{FF2B5EF4-FFF2-40B4-BE49-F238E27FC236}">
                <a16:creationId xmlns:a16="http://schemas.microsoft.com/office/drawing/2014/main" id="{2069DAC9-98D0-DE29-0854-C322936DF8E9}"/>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E3B783F8-E852-2880-7AC7-93C221C8FF1B}"/>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C79725E7-2EC0-E3B5-3DB0-057A690FD95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5F00D657-7150-C4CD-A10F-64140FBB30BD}"/>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6002713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2.1 Blank dark">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4" name="TextBox 3">
            <a:extLst>
              <a:ext uri="{FF2B5EF4-FFF2-40B4-BE49-F238E27FC236}">
                <a16:creationId xmlns:a16="http://schemas.microsoft.com/office/drawing/2014/main" id="{BB2D48F3-5FAB-7137-F8DD-66420388FACA}"/>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8A0EFD0E-73A9-D773-3F8A-B9B78A9503C6}"/>
              </a:ext>
            </a:extLst>
          </p:cNvPr>
          <p:cNvSpPr txBox="1">
            <a:spLocks/>
          </p:cNvSpPr>
          <p:nvPr userDrawn="1"/>
        </p:nvSpPr>
        <p:spPr>
          <a:xfrm>
            <a:off x="558803" y="6478010"/>
            <a:ext cx="166712" cy="164212"/>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917EEC03-3391-E652-F649-78782CA24357}"/>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C021FBAF-6C06-6FF4-B424-967A0139D27B}"/>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bg1"/>
                </a:solidFill>
              </a:defRPr>
            </a:lvl1pPr>
          </a:lstStyle>
          <a:p>
            <a:r>
              <a:rPr lang="en-US"/>
              <a:t>Apply a document ID (if applicable).</a:t>
            </a:r>
          </a:p>
        </p:txBody>
      </p:sp>
    </p:spTree>
    <p:extLst>
      <p:ext uri="{BB962C8B-B14F-4D97-AF65-F5344CB8AC3E}">
        <p14:creationId xmlns:p14="http://schemas.microsoft.com/office/powerpoint/2010/main" val="5473574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5 Bulletpoint text 2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5424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6211552" y="1680000"/>
            <a:ext cx="5424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E3A67328-00EF-5713-CA06-6BF95B775913}"/>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CED75580-5FAF-E6C5-DFED-1F462D82E3A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1E21FDDB-B801-EAA3-9D13-40103E7AC2C1}"/>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65EB5894-B0A6-D8F1-AD97-D6E4D056DDA6}"/>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2927174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1.3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0" indent="0">
              <a:lnSpc>
                <a:spcPct val="100000"/>
              </a:lnSpc>
              <a:spcBef>
                <a:spcPts val="0"/>
              </a:spcBef>
              <a:spcAft>
                <a:spcPts val="800"/>
              </a:spcAft>
              <a:buSzPct val="70000"/>
              <a:buNone/>
              <a:defRPr sz="1600">
                <a:solidFill>
                  <a:schemeClr val="tx1"/>
                </a:solidFill>
              </a:defRPr>
            </a:lvl1pPr>
            <a:lvl2pPr marL="239994" indent="0">
              <a:lnSpc>
                <a:spcPct val="100000"/>
              </a:lnSpc>
              <a:spcBef>
                <a:spcPts val="0"/>
              </a:spcBef>
              <a:spcAft>
                <a:spcPts val="800"/>
              </a:spcAft>
              <a:buSzPct val="70000"/>
              <a:buNone/>
              <a:defRPr sz="1600">
                <a:solidFill>
                  <a:schemeClr val="tx1"/>
                </a:solidFill>
              </a:defRPr>
            </a:lvl2pPr>
            <a:lvl3pPr marL="479988" indent="0">
              <a:lnSpc>
                <a:spcPct val="100000"/>
              </a:lnSpc>
              <a:spcBef>
                <a:spcPts val="0"/>
              </a:spcBef>
              <a:spcAft>
                <a:spcPts val="800"/>
              </a:spcAft>
              <a:buSzPct val="70000"/>
              <a:buNone/>
              <a:defRPr sz="1600">
                <a:solidFill>
                  <a:schemeClr val="tx1"/>
                </a:solidFill>
              </a:defRPr>
            </a:lvl3pPr>
            <a:lvl4pPr marL="719982" indent="0">
              <a:lnSpc>
                <a:spcPct val="100000"/>
              </a:lnSpc>
              <a:spcBef>
                <a:spcPts val="0"/>
              </a:spcBef>
              <a:spcAft>
                <a:spcPts val="800"/>
              </a:spcAft>
              <a:buSzPct val="70000"/>
              <a:buNone/>
              <a:defRPr sz="1600">
                <a:solidFill>
                  <a:schemeClr val="tx1"/>
                </a:solidFill>
              </a:defRPr>
            </a:lvl4pPr>
            <a:lvl5pPr marL="959976" indent="0">
              <a:lnSpc>
                <a:spcPct val="100000"/>
              </a:lnSpc>
              <a:spcBef>
                <a:spcPts val="0"/>
              </a:spcBef>
              <a:spcAft>
                <a:spcPts val="800"/>
              </a:spcAft>
              <a:buSzPct val="70000"/>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0" name="TextBox 9">
            <a:extLst>
              <a:ext uri="{FF2B5EF4-FFF2-40B4-BE49-F238E27FC236}">
                <a16:creationId xmlns:a16="http://schemas.microsoft.com/office/drawing/2014/main" id="{D706B219-6557-5951-F467-43B768A9C96C}"/>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4FF66938-CF4B-D097-1BC6-18EB230030F4}"/>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CB929F03-682A-4566-CF9F-D3B71DB45756}"/>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E177B5-71D7-398C-03E7-932A701525D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9254921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1_1.4 Bulletpoint text 1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110784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FD95910B-6C91-D297-584C-3D1533AECBE8}"/>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C76EFBCA-F2A9-DB62-4D3E-60E897B89B5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5E7D3F5-04E5-7DAF-AB76-2DAC95AB476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7D61FF18-0BA2-46E4-85DF-332117D12378}"/>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41708536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1.5 Bulletpoint text 2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5424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6211552" y="1680000"/>
            <a:ext cx="5424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E3A67328-00EF-5713-CA06-6BF95B775913}"/>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8" name="Slide Number Placeholder 5">
            <a:extLst>
              <a:ext uri="{FF2B5EF4-FFF2-40B4-BE49-F238E27FC236}">
                <a16:creationId xmlns:a16="http://schemas.microsoft.com/office/drawing/2014/main" id="{CED75580-5FAF-E6C5-DFED-1F462D82E3A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1E21FDDB-B801-EAA3-9D13-40103E7AC2C1}"/>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65EB5894-B0A6-D8F1-AD97-D6E4D056DDA6}"/>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65022811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1.6 Bulletpoint text 3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360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4296000" y="1680000"/>
            <a:ext cx="360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8035550" y="1680000"/>
            <a:ext cx="3596877"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BF8E66B8-C798-B992-2C68-B85351E1170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6CA67C43-66D6-847E-98DC-61F9029ECC0B}"/>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323A8A5F-292F-2AC1-C1B0-A59D33F93A2B}"/>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A1277FE0-ECBC-0B62-6936-4A9C8E1CE894}"/>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362443813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1.7 Bulletpoint text 4 col">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556451"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368443"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180435"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8992427" y="1680000"/>
            <a:ext cx="2640000" cy="4158640"/>
          </a:xfrm>
          <a:prstGeom prst="rect">
            <a:avLst/>
          </a:prstGeom>
        </p:spPr>
        <p:txBody>
          <a:bodyPr lIns="0" tIns="0" rIns="0" bIns="0"/>
          <a:lstStyle>
            <a:lvl1pPr marL="239994" indent="-239994">
              <a:lnSpc>
                <a:spcPct val="100000"/>
              </a:lnSpc>
              <a:spcBef>
                <a:spcPts val="0"/>
              </a:spcBef>
              <a:spcAft>
                <a:spcPts val="800"/>
              </a:spcAft>
              <a:buSzPct val="70000"/>
              <a:defRPr sz="1600">
                <a:solidFill>
                  <a:schemeClr val="tx1"/>
                </a:solidFill>
              </a:defRPr>
            </a:lvl1pPr>
            <a:lvl2pPr marL="479988" indent="-239994">
              <a:lnSpc>
                <a:spcPct val="100000"/>
              </a:lnSpc>
              <a:spcBef>
                <a:spcPts val="0"/>
              </a:spcBef>
              <a:spcAft>
                <a:spcPts val="800"/>
              </a:spcAft>
              <a:buSzPct val="70000"/>
              <a:defRPr sz="1600">
                <a:solidFill>
                  <a:schemeClr val="tx1"/>
                </a:solidFill>
              </a:defRPr>
            </a:lvl2pPr>
            <a:lvl3pPr marL="719982" indent="-239994">
              <a:lnSpc>
                <a:spcPct val="100000"/>
              </a:lnSpc>
              <a:spcBef>
                <a:spcPts val="0"/>
              </a:spcBef>
              <a:spcAft>
                <a:spcPts val="800"/>
              </a:spcAft>
              <a:buSzPct val="70000"/>
              <a:defRPr sz="1600">
                <a:solidFill>
                  <a:schemeClr val="tx1"/>
                </a:solidFill>
              </a:defRPr>
            </a:lvl3pPr>
            <a:lvl4pPr marL="959976" indent="-239994">
              <a:lnSpc>
                <a:spcPct val="100000"/>
              </a:lnSpc>
              <a:spcBef>
                <a:spcPts val="0"/>
              </a:spcBef>
              <a:spcAft>
                <a:spcPts val="800"/>
              </a:spcAft>
              <a:buSzPct val="70000"/>
              <a:defRPr lang="en-US" sz="1600" kern="1200" dirty="0">
                <a:solidFill>
                  <a:schemeClr val="tx1"/>
                </a:solidFill>
                <a:latin typeface="+mn-lt"/>
                <a:ea typeface="+mn-ea"/>
                <a:cs typeface="+mn-cs"/>
              </a:defRPr>
            </a:lvl4pPr>
            <a:lvl5pPr marL="1199970" indent="-239994">
              <a:lnSpc>
                <a:spcPct val="100000"/>
              </a:lnSpc>
              <a:spcBef>
                <a:spcPts val="0"/>
              </a:spcBef>
              <a:spcAft>
                <a:spcPts val="800"/>
              </a:spcAft>
              <a:buSzPct val="70000"/>
              <a:defRPr sz="1600">
                <a:solidFill>
                  <a:schemeClr val="tx1"/>
                </a:solidFill>
              </a:defRPr>
            </a:lvl5pPr>
            <a:lvl6pPr marL="1439964" indent="-239994">
              <a:lnSpc>
                <a:spcPct val="100000"/>
              </a:lnSpc>
              <a:spcBef>
                <a:spcPts val="0"/>
              </a:spcBef>
              <a:buSzPct val="70000"/>
              <a:buFont typeface="Arial" panose="020B0604020202020204" pitchFamily="34" charset="0"/>
              <a:buChar char="•"/>
              <a:defRPr sz="1467">
                <a:solidFill>
                  <a:schemeClr val="tx2"/>
                </a:solidFill>
              </a:defRPr>
            </a:lvl6pPr>
            <a:lvl7pPr marL="1439964">
              <a:defRPr sz="16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93DA646D-5F97-9D8A-4598-A0C98D4634E0}"/>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9115B87B-934C-0F92-5F93-D343BD44B66C}"/>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7428D676-DD53-1C54-82A5-88434E06B3E0}"/>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45A16F44-B403-571B-AD0A-B6A86614B77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9351796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1.8 Numbered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800" y="527928"/>
            <a:ext cx="1107840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800" y="1019360"/>
            <a:ext cx="1107840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556800" y="1680000"/>
            <a:ext cx="11078400" cy="4158640"/>
          </a:xfrm>
          <a:prstGeom prst="rect">
            <a:avLst/>
          </a:prstGeom>
        </p:spPr>
        <p:txBody>
          <a:bodyPr lIns="0" tIns="0" rIns="0" bIns="0"/>
          <a:lstStyle>
            <a:lvl1pPr marL="304792" indent="-304792">
              <a:lnSpc>
                <a:spcPct val="100000"/>
              </a:lnSpc>
              <a:spcBef>
                <a:spcPts val="0"/>
              </a:spcBef>
              <a:spcAft>
                <a:spcPts val="800"/>
              </a:spcAft>
              <a:buFont typeface="+mj-lt"/>
              <a:buAutoNum type="arabicPeriod"/>
              <a:defRPr sz="1600">
                <a:solidFill>
                  <a:schemeClr val="tx1"/>
                </a:solidFill>
              </a:defRPr>
            </a:lvl1pPr>
            <a:lvl2pPr marL="544786" indent="-304792">
              <a:lnSpc>
                <a:spcPct val="100000"/>
              </a:lnSpc>
              <a:spcBef>
                <a:spcPts val="0"/>
              </a:spcBef>
              <a:spcAft>
                <a:spcPts val="800"/>
              </a:spcAft>
              <a:buFont typeface="+mj-lt"/>
              <a:buAutoNum type="arabicPeriod" startAt="2"/>
              <a:defRPr sz="1600">
                <a:solidFill>
                  <a:schemeClr val="tx1"/>
                </a:solidFill>
              </a:defRPr>
            </a:lvl2pPr>
            <a:lvl3pPr marL="784780" indent="-304792">
              <a:lnSpc>
                <a:spcPct val="100000"/>
              </a:lnSpc>
              <a:spcBef>
                <a:spcPts val="0"/>
              </a:spcBef>
              <a:spcAft>
                <a:spcPts val="800"/>
              </a:spcAft>
              <a:buFont typeface="+mj-lt"/>
              <a:buAutoNum type="arabicPeriod" startAt="3"/>
              <a:defRPr sz="1600">
                <a:solidFill>
                  <a:schemeClr val="tx1"/>
                </a:solidFill>
              </a:defRPr>
            </a:lvl3pPr>
            <a:lvl4pPr marL="1024774" indent="-304792">
              <a:lnSpc>
                <a:spcPct val="100000"/>
              </a:lnSpc>
              <a:spcBef>
                <a:spcPts val="0"/>
              </a:spcBef>
              <a:spcAft>
                <a:spcPts val="800"/>
              </a:spcAft>
              <a:buFont typeface="+mj-lt"/>
              <a:buAutoNum type="arabicPeriod" startAt="4"/>
              <a:defRPr sz="1600">
                <a:solidFill>
                  <a:schemeClr val="tx1"/>
                </a:solidFill>
              </a:defRPr>
            </a:lvl4pPr>
            <a:lvl5pPr marL="1276168" indent="-304792">
              <a:lnSpc>
                <a:spcPct val="100000"/>
              </a:lnSpc>
              <a:spcBef>
                <a:spcPts val="0"/>
              </a:spcBef>
              <a:spcAft>
                <a:spcPts val="800"/>
              </a:spcAft>
              <a:buFont typeface="+mj-lt"/>
              <a:buAutoNum type="arabicPeriod" startAt="5"/>
              <a:defRPr sz="1600">
                <a:solidFill>
                  <a:schemeClr val="tx1"/>
                </a:solidFill>
              </a:defRPr>
            </a:lvl5pPr>
          </a:lstStyle>
          <a:p>
            <a:pPr lvl="0"/>
            <a:r>
              <a:rPr lang="en-US"/>
              <a:t>Text here</a:t>
            </a:r>
          </a:p>
          <a:p>
            <a:pPr lvl="1"/>
            <a:r>
              <a:rPr lang="en-US"/>
              <a:t>Text here</a:t>
            </a:r>
          </a:p>
          <a:p>
            <a:pPr lvl="2"/>
            <a:r>
              <a:rPr lang="en-US"/>
              <a:t>Text here</a:t>
            </a:r>
          </a:p>
          <a:p>
            <a:pPr lvl="3"/>
            <a:r>
              <a:rPr lang="en-US"/>
              <a:t>Text here</a:t>
            </a:r>
          </a:p>
          <a:p>
            <a:pPr marL="1276168" marR="0" lvl="4" indent="-304792" algn="l" defTabSz="914377" rtl="0" eaLnBrk="1" fontAlgn="auto" latinLnBrk="0" hangingPunct="1">
              <a:lnSpc>
                <a:spcPct val="100000"/>
              </a:lnSpc>
              <a:spcBef>
                <a:spcPts val="0"/>
              </a:spcBef>
              <a:spcAft>
                <a:spcPts val="400"/>
              </a:spcAft>
              <a:buClrTx/>
              <a:buSzTx/>
              <a:tabLst/>
              <a:defRPr/>
            </a:pPr>
            <a:r>
              <a:rPr lang="en-US"/>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2" name="TextBox 1">
            <a:extLst>
              <a:ext uri="{FF2B5EF4-FFF2-40B4-BE49-F238E27FC236}">
                <a16:creationId xmlns:a16="http://schemas.microsoft.com/office/drawing/2014/main" id="{BB696985-1EFA-02D0-106A-9F81CEBC3FA1}"/>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1AF7E5B4-21F0-0696-BF4F-8AFCA8103CD7}"/>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87755C10-FC21-4D9F-8DA4-A30B437ABD12}"/>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DDC4B182-BD0E-D0F1-793C-A6CE500EA3BD}"/>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37760879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1.9 Title slid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accent1"/>
                </a:solidFill>
                <a:latin typeface="Nokia Pure Headline Light" panose="020B0304020202020204" pitchFamily="34" charset="0"/>
              </a:defRPr>
            </a:lvl1pPr>
          </a:lstStyle>
          <a:p>
            <a:pPr lvl="0"/>
            <a:r>
              <a:rPr lang="en-US"/>
              <a:t>Click to edit headline</a:t>
            </a:r>
          </a:p>
        </p:txBody>
      </p:sp>
      <p:sp>
        <p:nvSpPr>
          <p:cNvPr id="3" name="TextBox 2">
            <a:extLst>
              <a:ext uri="{FF2B5EF4-FFF2-40B4-BE49-F238E27FC236}">
                <a16:creationId xmlns:a16="http://schemas.microsoft.com/office/drawing/2014/main" id="{3306DFA0-C2BA-C581-C314-740F6D8A7079}"/>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AB1F327B-603C-86B8-9F24-AB86561B3C06}"/>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FB24B9E5-9DF5-72DD-49F0-33455A6A12D4}"/>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5D779461-EFB5-C35B-DE08-509687C8261F}"/>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76182779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1.10 Title slide with media 1">
    <p:spTree>
      <p:nvGrpSpPr>
        <p:cNvPr id="1" name=""/>
        <p:cNvGrpSpPr/>
        <p:nvPr/>
      </p:nvGrpSpPr>
      <p:grpSpPr>
        <a:xfrm>
          <a:off x="0" y="0"/>
          <a:ext cx="0" cy="0"/>
          <a:chOff x="0" y="0"/>
          <a:chExt cx="0" cy="0"/>
        </a:xfrm>
      </p:grpSpPr>
      <p:sp>
        <p:nvSpPr>
          <p:cNvPr id="3" name="Media Placeholder 6">
            <a:extLst>
              <a:ext uri="{FF2B5EF4-FFF2-40B4-BE49-F238E27FC236}">
                <a16:creationId xmlns:a16="http://schemas.microsoft.com/office/drawing/2014/main" id="{BB2531A6-B2AF-8CE3-D4E6-FFA2A6F43CBA}"/>
              </a:ext>
            </a:extLst>
          </p:cNvPr>
          <p:cNvSpPr>
            <a:spLocks noGrp="1"/>
          </p:cNvSpPr>
          <p:nvPr>
            <p:ph type="media" sz="quarter" idx="12"/>
          </p:nvPr>
        </p:nvSpPr>
        <p:spPr>
          <a:xfrm>
            <a:off x="0" y="0"/>
            <a:ext cx="12192000" cy="6858000"/>
          </a:xfrm>
          <a:prstGeom prst="rect">
            <a:avLst/>
          </a:prstGeom>
        </p:spPr>
        <p:txBody>
          <a:bodyPr/>
          <a:lstStyle>
            <a:lvl1pPr marL="0" indent="0">
              <a:buNone/>
              <a:defRPr>
                <a:solidFill>
                  <a:schemeClr val="accent4"/>
                </a:solidFill>
              </a:defRPr>
            </a:lvl1pPr>
          </a:lstStyle>
          <a:p>
            <a:r>
              <a:rPr lang="en-US"/>
              <a:t>Click icon to add media</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2"/>
            <a:ext cx="1296000" cy="292019"/>
          </a:xfrm>
          <a:prstGeom prst="rect">
            <a:avLst/>
          </a:prstGeom>
        </p:spPr>
      </p:pic>
      <p:sp>
        <p:nvSpPr>
          <p:cNvPr id="14" name="Text Placeholder 42">
            <a:extLst>
              <a:ext uri="{FF2B5EF4-FFF2-40B4-BE49-F238E27FC236}">
                <a16:creationId xmlns:a16="http://schemas.microsoft.com/office/drawing/2014/main" id="{294B94FF-B007-7648-0008-A471B34C4CB3}"/>
              </a:ext>
            </a:extLst>
          </p:cNvPr>
          <p:cNvSpPr>
            <a:spLocks noGrp="1"/>
          </p:cNvSpPr>
          <p:nvPr>
            <p:ph type="body" sz="quarter" idx="11" hasCustomPrompt="1"/>
          </p:nvPr>
        </p:nvSpPr>
        <p:spPr>
          <a:xfrm>
            <a:off x="556800" y="1440001"/>
            <a:ext cx="11078400" cy="2347335"/>
          </a:xfrm>
          <a:prstGeom prst="rect">
            <a:avLst/>
          </a:prstGeom>
        </p:spPr>
        <p:txBody>
          <a:bodyPr lIns="0" tIns="0" rIns="0" bIns="0"/>
          <a:lstStyle>
            <a:lvl1pPr marL="0" indent="0">
              <a:lnSpc>
                <a:spcPct val="100000"/>
              </a:lnSpc>
              <a:spcBef>
                <a:spcPts val="0"/>
              </a:spcBef>
              <a:buNone/>
              <a:defRPr sz="5867" baseline="0">
                <a:solidFill>
                  <a:schemeClr val="accent1"/>
                </a:solidFill>
                <a:latin typeface="Nokia Pure Headline Light" panose="020B0304020202020204" pitchFamily="34" charset="0"/>
              </a:defRPr>
            </a:lvl1pPr>
          </a:lstStyle>
          <a:p>
            <a:pPr lvl="0"/>
            <a:r>
              <a:rPr lang="en-US"/>
              <a:t>Click to edit headline</a:t>
            </a:r>
          </a:p>
        </p:txBody>
      </p:sp>
      <p:sp>
        <p:nvSpPr>
          <p:cNvPr id="4" name="TextBox 3">
            <a:extLst>
              <a:ext uri="{FF2B5EF4-FFF2-40B4-BE49-F238E27FC236}">
                <a16:creationId xmlns:a16="http://schemas.microsoft.com/office/drawing/2014/main" id="{4C9BA26F-4B98-6DDA-4965-A8BCB0A90C5D}"/>
              </a:ext>
            </a:extLst>
          </p:cNvPr>
          <p:cNvSpPr txBox="1"/>
          <p:nvPr userDrawn="1"/>
        </p:nvSpPr>
        <p:spPr>
          <a:xfrm>
            <a:off x="906705" y="6478074"/>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2218EC66-6293-FC0C-C8AC-A21153E5703B}"/>
              </a:ext>
            </a:extLst>
          </p:cNvPr>
          <p:cNvSpPr txBox="1">
            <a:spLocks/>
          </p:cNvSpPr>
          <p:nvPr userDrawn="1"/>
        </p:nvSpPr>
        <p:spPr>
          <a:xfrm>
            <a:off x="558803" y="6313799"/>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B7316F68-F558-B048-EF20-3133405450BF}"/>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A535B119-5E07-6658-028F-A2E92F84E1EC}"/>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117003176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1.11 Title slide with white ">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A9C292-FC1E-4CD0-D1C2-1C1BF0964A4B}"/>
              </a:ext>
            </a:extLst>
          </p:cNvPr>
          <p:cNvSpPr/>
          <p:nvPr userDrawn="1"/>
        </p:nvSpPr>
        <p:spPr>
          <a:xfrm flipH="1">
            <a:off x="-14515" y="0"/>
            <a:ext cx="5080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96000" rIns="96000" bIns="96000" numCol="1" spcCol="0" rtlCol="0" fromWordArt="0" anchor="t" anchorCtr="0" forceAA="0" compatLnSpc="1">
            <a:prstTxWarp prst="textNoShape">
              <a:avLst/>
            </a:prstTxWarp>
            <a:noAutofit/>
          </a:bodyPr>
          <a:lstStyle/>
          <a:p>
            <a:pPr algn="l">
              <a:spcAft>
                <a:spcPts val="400"/>
              </a:spcAft>
              <a:buSzPct val="100000"/>
            </a:pPr>
            <a:endParaRPr lang="en-US" sz="1600">
              <a:solidFill>
                <a:schemeClr val="tx2"/>
              </a:solidFill>
            </a:endParaRPr>
          </a:p>
        </p:txBody>
      </p:sp>
      <p:pic>
        <p:nvPicPr>
          <p:cNvPr id="6" name="Graphic 5">
            <a:extLst>
              <a:ext uri="{FF2B5EF4-FFF2-40B4-BE49-F238E27FC236}">
                <a16:creationId xmlns:a16="http://schemas.microsoft.com/office/drawing/2014/main" id="{9ADE2C08-8C2F-6DA1-140F-78B7C383967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13" name="Text Placeholder 42">
            <a:extLst>
              <a:ext uri="{FF2B5EF4-FFF2-40B4-BE49-F238E27FC236}">
                <a16:creationId xmlns:a16="http://schemas.microsoft.com/office/drawing/2014/main" id="{076F2482-56A5-DF69-EDAB-369E53244A98}"/>
              </a:ext>
            </a:extLst>
          </p:cNvPr>
          <p:cNvSpPr>
            <a:spLocks noGrp="1"/>
          </p:cNvSpPr>
          <p:nvPr>
            <p:ph type="body" sz="quarter" idx="12" hasCustomPrompt="1"/>
          </p:nvPr>
        </p:nvSpPr>
        <p:spPr>
          <a:xfrm>
            <a:off x="556801" y="527928"/>
            <a:ext cx="423872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14" name="Text Placeholder 42">
            <a:extLst>
              <a:ext uri="{FF2B5EF4-FFF2-40B4-BE49-F238E27FC236}">
                <a16:creationId xmlns:a16="http://schemas.microsoft.com/office/drawing/2014/main" id="{9EE67559-07A5-8DC0-5F9E-74889395C505}"/>
              </a:ext>
            </a:extLst>
          </p:cNvPr>
          <p:cNvSpPr>
            <a:spLocks noGrp="1"/>
          </p:cNvSpPr>
          <p:nvPr>
            <p:ph type="body" sz="quarter" idx="13" hasCustomPrompt="1"/>
          </p:nvPr>
        </p:nvSpPr>
        <p:spPr>
          <a:xfrm>
            <a:off x="556801" y="1019360"/>
            <a:ext cx="423872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15" name="TextBox 14">
            <a:extLst>
              <a:ext uri="{FF2B5EF4-FFF2-40B4-BE49-F238E27FC236}">
                <a16:creationId xmlns:a16="http://schemas.microsoft.com/office/drawing/2014/main" id="{888C92FD-B39B-95B0-724C-D1AA2268DE24}"/>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F172D6B9-A8FE-EBFF-D93D-5EB12C01965D}"/>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Footer Placeholder 2">
            <a:extLst>
              <a:ext uri="{FF2B5EF4-FFF2-40B4-BE49-F238E27FC236}">
                <a16:creationId xmlns:a16="http://schemas.microsoft.com/office/drawing/2014/main" id="{AF35F11C-FBF2-64A9-BC5E-546156F777F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
        <p:nvSpPr>
          <p:cNvPr id="19" name="Text Placeholder 12">
            <a:extLst>
              <a:ext uri="{FF2B5EF4-FFF2-40B4-BE49-F238E27FC236}">
                <a16:creationId xmlns:a16="http://schemas.microsoft.com/office/drawing/2014/main" id="{EFF7564F-7000-1BEA-AD06-C8104C4313E7}"/>
              </a:ext>
            </a:extLst>
          </p:cNvPr>
          <p:cNvSpPr>
            <a:spLocks noGrp="1"/>
          </p:cNvSpPr>
          <p:nvPr>
            <p:ph type="body" sz="quarter" idx="14"/>
          </p:nvPr>
        </p:nvSpPr>
        <p:spPr>
          <a:xfrm>
            <a:off x="556454" y="1680000"/>
            <a:ext cx="4239068"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2388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1_1.12 Title slide with media 2">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556799" y="527928"/>
            <a:ext cx="5667140" cy="454205"/>
          </a:xfrm>
          <a:prstGeom prst="rect">
            <a:avLst/>
          </a:prstGeom>
        </p:spPr>
        <p:txBody>
          <a:bodyPr lIns="0" tIns="0" rIns="0" bIns="0"/>
          <a:lstStyle>
            <a:lvl1pPr marL="0" indent="0">
              <a:lnSpc>
                <a:spcPct val="100000"/>
              </a:lnSpc>
              <a:spcBef>
                <a:spcPts val="0"/>
              </a:spcBef>
              <a:buNone/>
              <a:defRPr sz="32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556799" y="1019360"/>
            <a:ext cx="5667140" cy="454205"/>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Light" panose="020B0304020202020204" pitchFamily="34" charset="0"/>
              </a:defRPr>
            </a:lvl1pPr>
          </a:lstStyle>
          <a:p>
            <a:pPr lvl="0"/>
            <a:r>
              <a:rPr lang="en-US" noProof="0"/>
              <a:t>Click to edit </a:t>
            </a:r>
            <a:r>
              <a:rPr lang="en-US" noProof="0" err="1"/>
              <a:t>subheadline</a:t>
            </a:r>
            <a:endParaRPr lang="en-US" noProof="0"/>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708420" y="0"/>
            <a:ext cx="5486400" cy="6858000"/>
          </a:xfrm>
          <a:prstGeom prst="rect">
            <a:avLst/>
          </a:prstGeom>
          <a:solidFill>
            <a:schemeClr val="tx2"/>
          </a:solidFill>
        </p:spPr>
        <p:txBody>
          <a:bodyPr/>
          <a:lstStyle>
            <a:lvl1pPr marL="0" indent="0">
              <a:buNone/>
              <a:defRPr sz="1333">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556451" y="1680000"/>
            <a:ext cx="5667140" cy="4389120"/>
          </a:xfrm>
          <a:prstGeom prst="rect">
            <a:avLst/>
          </a:prstGeom>
        </p:spPr>
        <p:txBody>
          <a:bodyPr lIns="0" tIns="0" rIns="0" bIns="0"/>
          <a:lstStyle>
            <a:lvl1pPr marL="239989" indent="-239989">
              <a:lnSpc>
                <a:spcPct val="100000"/>
              </a:lnSpc>
              <a:spcBef>
                <a:spcPts val="0"/>
              </a:spcBef>
              <a:spcAft>
                <a:spcPts val="800"/>
              </a:spcAft>
              <a:buSzPct val="70000"/>
              <a:defRPr sz="1600">
                <a:solidFill>
                  <a:schemeClr val="tx1"/>
                </a:solidFill>
              </a:defRPr>
            </a:lvl1pPr>
            <a:lvl2pPr marL="479976" indent="-239989">
              <a:lnSpc>
                <a:spcPct val="100000"/>
              </a:lnSpc>
              <a:spcBef>
                <a:spcPts val="0"/>
              </a:spcBef>
              <a:spcAft>
                <a:spcPts val="800"/>
              </a:spcAft>
              <a:buSzPct val="70000"/>
              <a:defRPr sz="1600">
                <a:solidFill>
                  <a:schemeClr val="tx1"/>
                </a:solidFill>
              </a:defRPr>
            </a:lvl2pPr>
            <a:lvl3pPr marL="719965" indent="-239989">
              <a:lnSpc>
                <a:spcPct val="100000"/>
              </a:lnSpc>
              <a:spcBef>
                <a:spcPts val="0"/>
              </a:spcBef>
              <a:spcAft>
                <a:spcPts val="800"/>
              </a:spcAft>
              <a:buSzPct val="70000"/>
              <a:defRPr sz="1600">
                <a:solidFill>
                  <a:schemeClr val="tx1"/>
                </a:solidFill>
              </a:defRPr>
            </a:lvl3pPr>
            <a:lvl4pPr marL="959952" indent="-239989">
              <a:lnSpc>
                <a:spcPct val="100000"/>
              </a:lnSpc>
              <a:spcBef>
                <a:spcPts val="0"/>
              </a:spcBef>
              <a:spcAft>
                <a:spcPts val="800"/>
              </a:spcAft>
              <a:buSzPct val="70000"/>
              <a:defRPr sz="1600">
                <a:solidFill>
                  <a:schemeClr val="tx1"/>
                </a:solidFill>
              </a:defRPr>
            </a:lvl4pPr>
            <a:lvl5pPr marL="1199941" indent="-239989">
              <a:lnSpc>
                <a:spcPct val="100000"/>
              </a:lnSpc>
              <a:spcBef>
                <a:spcPts val="0"/>
              </a:spcBef>
              <a:spcAft>
                <a:spcPts val="800"/>
              </a:spcAft>
              <a:buSzPct val="70000"/>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427" y="6320613"/>
            <a:ext cx="1296000" cy="292019"/>
          </a:xfrm>
          <a:prstGeom prst="rect">
            <a:avLst/>
          </a:prstGeom>
        </p:spPr>
      </p:pic>
      <p:sp>
        <p:nvSpPr>
          <p:cNvPr id="5" name="TextBox 4">
            <a:extLst>
              <a:ext uri="{FF2B5EF4-FFF2-40B4-BE49-F238E27FC236}">
                <a16:creationId xmlns:a16="http://schemas.microsoft.com/office/drawing/2014/main" id="{44F7A0E6-27FB-B6FF-2E31-5A6107DF4D15}"/>
              </a:ext>
            </a:extLst>
          </p:cNvPr>
          <p:cNvSpPr txBox="1"/>
          <p:nvPr userDrawn="1"/>
        </p:nvSpPr>
        <p:spPr>
          <a:xfrm>
            <a:off x="906706" y="6478075"/>
            <a:ext cx="842111" cy="164148"/>
          </a:xfrm>
          <a:prstGeom prst="rect">
            <a:avLst/>
          </a:prstGeom>
          <a:noFill/>
        </p:spPr>
        <p:txBody>
          <a:bodyPr wrap="none" lIns="0" tIns="0" rIns="0" bIns="0" anchor="b" anchorCtr="0">
            <a:noAutofit/>
          </a:bodyPr>
          <a:lstStyle/>
          <a:p>
            <a:r>
              <a:rPr lang="en-US" sz="1067"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0F2544C4-9B73-80CB-B1AE-384180132B7C}"/>
              </a:ext>
            </a:extLst>
          </p:cNvPr>
          <p:cNvSpPr txBox="1">
            <a:spLocks/>
          </p:cNvSpPr>
          <p:nvPr userDrawn="1"/>
        </p:nvSpPr>
        <p:spPr>
          <a:xfrm>
            <a:off x="558804" y="6313801"/>
            <a:ext cx="156027" cy="328423"/>
          </a:xfrm>
          <a:prstGeom prst="rect">
            <a:avLst/>
          </a:prstGeom>
        </p:spPr>
        <p:txBody>
          <a:bodyPr wrap="squar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1067" noProof="0" smtClean="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333" noProof="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612FBD75-FC64-31E3-3F75-9DAE4224DD49}"/>
              </a:ext>
            </a:extLst>
          </p:cNvPr>
          <p:cNvCxnSpPr>
            <a:cxnSpLocks/>
          </p:cNvCxnSpPr>
          <p:nvPr userDrawn="1"/>
        </p:nvCxnSpPr>
        <p:spPr>
          <a:xfrm>
            <a:off x="1871480" y="6457200"/>
            <a:ext cx="0" cy="192000"/>
          </a:xfrm>
          <a:prstGeom prst="line">
            <a:avLst/>
          </a:prstGeom>
          <a:ln w="6350">
            <a:no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ECE578A4-6CB9-C574-603A-6A6E64EB1499}"/>
              </a:ext>
            </a:extLst>
          </p:cNvPr>
          <p:cNvSpPr>
            <a:spLocks noGrp="1"/>
          </p:cNvSpPr>
          <p:nvPr>
            <p:ph type="ftr" sz="quarter" idx="3"/>
          </p:nvPr>
        </p:nvSpPr>
        <p:spPr>
          <a:xfrm>
            <a:off x="2006400" y="6480000"/>
            <a:ext cx="2112000" cy="163200"/>
          </a:xfrm>
          <a:prstGeom prst="rect">
            <a:avLst/>
          </a:prstGeom>
        </p:spPr>
        <p:txBody>
          <a:bodyPr vert="horz" lIns="0" tIns="0" rIns="0" bIns="0" rtlCol="0" anchor="b"/>
          <a:lstStyle>
            <a:lvl1pPr algn="l">
              <a:defRPr sz="1067">
                <a:solidFill>
                  <a:schemeClr val="tx1"/>
                </a:solidFill>
              </a:defRPr>
            </a:lvl1pPr>
          </a:lstStyle>
          <a:p>
            <a:r>
              <a:rPr lang="en-US"/>
              <a:t>Apply a document ID (if applicable).</a:t>
            </a:r>
          </a:p>
        </p:txBody>
      </p:sp>
    </p:spTree>
    <p:extLst>
      <p:ext uri="{BB962C8B-B14F-4D97-AF65-F5344CB8AC3E}">
        <p14:creationId xmlns:p14="http://schemas.microsoft.com/office/powerpoint/2010/main" val="2833892523"/>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99" Type="http://schemas.openxmlformats.org/officeDocument/2006/relationships/slideLayout" Target="../slideLayouts/slideLayout299.xml"/><Relationship Id="rId21" Type="http://schemas.openxmlformats.org/officeDocument/2006/relationships/slideLayout" Target="../slideLayouts/slideLayout21.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24" Type="http://schemas.openxmlformats.org/officeDocument/2006/relationships/slideLayout" Target="../slideLayouts/slideLayout324.xml"/><Relationship Id="rId170" Type="http://schemas.openxmlformats.org/officeDocument/2006/relationships/slideLayout" Target="../slideLayouts/slideLayout170.xml"/><Relationship Id="rId226" Type="http://schemas.openxmlformats.org/officeDocument/2006/relationships/slideLayout" Target="../slideLayouts/slideLayout226.xml"/><Relationship Id="rId268" Type="http://schemas.openxmlformats.org/officeDocument/2006/relationships/slideLayout" Target="../slideLayouts/slideLayout268.xml"/><Relationship Id="rId32" Type="http://schemas.openxmlformats.org/officeDocument/2006/relationships/slideLayout" Target="../slideLayouts/slideLayout32.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335" Type="http://schemas.openxmlformats.org/officeDocument/2006/relationships/slideLayout" Target="../slideLayouts/slideLayout335.xml"/><Relationship Id="rId5" Type="http://schemas.openxmlformats.org/officeDocument/2006/relationships/slideLayout" Target="../slideLayouts/slideLayout5.xml"/><Relationship Id="rId181" Type="http://schemas.openxmlformats.org/officeDocument/2006/relationships/slideLayout" Target="../slideLayouts/slideLayout181.xml"/><Relationship Id="rId237" Type="http://schemas.openxmlformats.org/officeDocument/2006/relationships/slideLayout" Target="../slideLayouts/slideLayout237.xml"/><Relationship Id="rId279" Type="http://schemas.openxmlformats.org/officeDocument/2006/relationships/slideLayout" Target="../slideLayouts/slideLayout279.xml"/><Relationship Id="rId43" Type="http://schemas.openxmlformats.org/officeDocument/2006/relationships/slideLayout" Target="../slideLayouts/slideLayout43.xml"/><Relationship Id="rId139" Type="http://schemas.openxmlformats.org/officeDocument/2006/relationships/slideLayout" Target="../slideLayouts/slideLayout139.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46" Type="http://schemas.openxmlformats.org/officeDocument/2006/relationships/slideLayout" Target="../slideLayouts/slideLayout346.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248" Type="http://schemas.openxmlformats.org/officeDocument/2006/relationships/slideLayout" Target="../slideLayouts/slideLayout248.xml"/><Relationship Id="rId12" Type="http://schemas.openxmlformats.org/officeDocument/2006/relationships/slideLayout" Target="../slideLayouts/slideLayout12.xml"/><Relationship Id="rId108" Type="http://schemas.openxmlformats.org/officeDocument/2006/relationships/slideLayout" Target="../slideLayouts/slideLayout108.xml"/><Relationship Id="rId315" Type="http://schemas.openxmlformats.org/officeDocument/2006/relationships/slideLayout" Target="../slideLayouts/slideLayout315.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96" Type="http://schemas.openxmlformats.org/officeDocument/2006/relationships/slideLayout" Target="../slideLayouts/slideLayout96.xml"/><Relationship Id="rId161" Type="http://schemas.openxmlformats.org/officeDocument/2006/relationships/slideLayout" Target="../slideLayouts/slideLayout161.xml"/><Relationship Id="rId217" Type="http://schemas.openxmlformats.org/officeDocument/2006/relationships/slideLayout" Target="../slideLayouts/slideLayout217.xml"/><Relationship Id="rId259" Type="http://schemas.openxmlformats.org/officeDocument/2006/relationships/slideLayout" Target="../slideLayouts/slideLayout259.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270" Type="http://schemas.openxmlformats.org/officeDocument/2006/relationships/slideLayout" Target="../slideLayouts/slideLayout270.xml"/><Relationship Id="rId326" Type="http://schemas.openxmlformats.org/officeDocument/2006/relationships/slideLayout" Target="../slideLayouts/slideLayout326.xml"/><Relationship Id="rId65" Type="http://schemas.openxmlformats.org/officeDocument/2006/relationships/slideLayout" Target="../slideLayouts/slideLayout65.xml"/><Relationship Id="rId130" Type="http://schemas.openxmlformats.org/officeDocument/2006/relationships/slideLayout" Target="../slideLayouts/slideLayout130.xml"/><Relationship Id="rId172" Type="http://schemas.openxmlformats.org/officeDocument/2006/relationships/slideLayout" Target="../slideLayouts/slideLayout172.xml"/><Relationship Id="rId228" Type="http://schemas.openxmlformats.org/officeDocument/2006/relationships/slideLayout" Target="../slideLayouts/slideLayout228.xml"/><Relationship Id="rId281" Type="http://schemas.openxmlformats.org/officeDocument/2006/relationships/slideLayout" Target="../slideLayouts/slideLayout281.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76" Type="http://schemas.openxmlformats.org/officeDocument/2006/relationships/slideLayout" Target="../slideLayouts/slideLayout76.xml"/><Relationship Id="rId141" Type="http://schemas.openxmlformats.org/officeDocument/2006/relationships/slideLayout" Target="../slideLayouts/slideLayout141.xml"/><Relationship Id="rId7" Type="http://schemas.openxmlformats.org/officeDocument/2006/relationships/slideLayout" Target="../slideLayouts/slideLayout7.xml"/><Relationship Id="rId183" Type="http://schemas.openxmlformats.org/officeDocument/2006/relationships/slideLayout" Target="../slideLayouts/slideLayout183.xml"/><Relationship Id="rId239" Type="http://schemas.openxmlformats.org/officeDocument/2006/relationships/slideLayout" Target="../slideLayouts/slideLayout239.xml"/><Relationship Id="rId250" Type="http://schemas.openxmlformats.org/officeDocument/2006/relationships/slideLayout" Target="../slideLayouts/slideLayout250.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45" Type="http://schemas.openxmlformats.org/officeDocument/2006/relationships/slideLayout" Target="../slideLayouts/slideLayout45.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348" Type="http://schemas.openxmlformats.org/officeDocument/2006/relationships/slideLayout" Target="../slideLayouts/slideLayout348.xml"/><Relationship Id="rId152" Type="http://schemas.openxmlformats.org/officeDocument/2006/relationships/slideLayout" Target="../slideLayouts/slideLayout152.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261" Type="http://schemas.openxmlformats.org/officeDocument/2006/relationships/slideLayout" Target="../slideLayouts/slideLayout261.xml"/><Relationship Id="rId14" Type="http://schemas.openxmlformats.org/officeDocument/2006/relationships/slideLayout" Target="../slideLayouts/slideLayout14.xml"/><Relationship Id="rId56" Type="http://schemas.openxmlformats.org/officeDocument/2006/relationships/slideLayout" Target="../slideLayouts/slideLayout56.xml"/><Relationship Id="rId317" Type="http://schemas.openxmlformats.org/officeDocument/2006/relationships/slideLayout" Target="../slideLayouts/slideLayout317.xml"/><Relationship Id="rId359" Type="http://schemas.openxmlformats.org/officeDocument/2006/relationships/slideLayout" Target="../slideLayouts/slideLayout359.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63" Type="http://schemas.openxmlformats.org/officeDocument/2006/relationships/slideLayout" Target="../slideLayouts/slideLayout163.xml"/><Relationship Id="rId219" Type="http://schemas.openxmlformats.org/officeDocument/2006/relationships/slideLayout" Target="../slideLayouts/slideLayout219.xml"/><Relationship Id="rId230" Type="http://schemas.openxmlformats.org/officeDocument/2006/relationships/slideLayout" Target="../slideLayouts/slideLayout230.xml"/><Relationship Id="rId25" Type="http://schemas.openxmlformats.org/officeDocument/2006/relationships/slideLayout" Target="../slideLayouts/slideLayout25.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328" Type="http://schemas.openxmlformats.org/officeDocument/2006/relationships/slideLayout" Target="../slideLayouts/slideLayout328.xml"/><Relationship Id="rId132" Type="http://schemas.openxmlformats.org/officeDocument/2006/relationships/slideLayout" Target="../slideLayouts/slideLayout132.xml"/><Relationship Id="rId174" Type="http://schemas.openxmlformats.org/officeDocument/2006/relationships/slideLayout" Target="../slideLayouts/slideLayout174.xml"/><Relationship Id="rId220" Type="http://schemas.openxmlformats.org/officeDocument/2006/relationships/slideLayout" Target="../slideLayouts/slideLayout220.xml"/><Relationship Id="rId241" Type="http://schemas.openxmlformats.org/officeDocument/2006/relationships/slideLayout" Target="../slideLayouts/slideLayout24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283" Type="http://schemas.openxmlformats.org/officeDocument/2006/relationships/slideLayout" Target="../slideLayouts/slideLayout283.xml"/><Relationship Id="rId318" Type="http://schemas.openxmlformats.org/officeDocument/2006/relationships/slideLayout" Target="../slideLayouts/slideLayout318.xml"/><Relationship Id="rId339" Type="http://schemas.openxmlformats.org/officeDocument/2006/relationships/slideLayout" Target="../slideLayouts/slideLayout339.xml"/><Relationship Id="rId78" Type="http://schemas.openxmlformats.org/officeDocument/2006/relationships/slideLayout" Target="../slideLayouts/slideLayout78.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64" Type="http://schemas.openxmlformats.org/officeDocument/2006/relationships/slideLayout" Target="../slideLayouts/slideLayout164.xml"/><Relationship Id="rId185" Type="http://schemas.openxmlformats.org/officeDocument/2006/relationships/slideLayout" Target="../slideLayouts/slideLayout185.xml"/><Relationship Id="rId350" Type="http://schemas.openxmlformats.org/officeDocument/2006/relationships/slideLayout" Target="../slideLayouts/slideLayout350.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52" Type="http://schemas.openxmlformats.org/officeDocument/2006/relationships/slideLayout" Target="../slideLayouts/slideLayout252.xml"/><Relationship Id="rId273" Type="http://schemas.openxmlformats.org/officeDocument/2006/relationships/slideLayout" Target="../slideLayouts/slideLayout273.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329" Type="http://schemas.openxmlformats.org/officeDocument/2006/relationships/slideLayout" Target="../slideLayouts/slideLayout329.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361" Type="http://schemas.openxmlformats.org/officeDocument/2006/relationships/slideLayout" Target="../slideLayouts/slideLayout361.xml"/><Relationship Id="rId196" Type="http://schemas.openxmlformats.org/officeDocument/2006/relationships/slideLayout" Target="../slideLayouts/slideLayout196.xml"/><Relationship Id="rId200" Type="http://schemas.openxmlformats.org/officeDocument/2006/relationships/slideLayout" Target="../slideLayouts/slideLayout200.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42" Type="http://schemas.openxmlformats.org/officeDocument/2006/relationships/slideLayout" Target="../slideLayouts/slideLayout242.xml"/><Relationship Id="rId263" Type="http://schemas.openxmlformats.org/officeDocument/2006/relationships/slideLayout" Target="../slideLayouts/slideLayout263.xml"/><Relationship Id="rId284" Type="http://schemas.openxmlformats.org/officeDocument/2006/relationships/slideLayout" Target="../slideLayouts/slideLayout284.xml"/><Relationship Id="rId319" Type="http://schemas.openxmlformats.org/officeDocument/2006/relationships/slideLayout" Target="../slideLayouts/slideLayout319.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330" Type="http://schemas.openxmlformats.org/officeDocument/2006/relationships/slideLayout" Target="../slideLayouts/slideLayout330.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211" Type="http://schemas.openxmlformats.org/officeDocument/2006/relationships/slideLayout" Target="../slideLayouts/slideLayout211.xml"/><Relationship Id="rId232" Type="http://schemas.openxmlformats.org/officeDocument/2006/relationships/slideLayout" Target="../slideLayouts/slideLayout232.xml"/><Relationship Id="rId253" Type="http://schemas.openxmlformats.org/officeDocument/2006/relationships/slideLayout" Target="../slideLayouts/slideLayout253.xml"/><Relationship Id="rId274" Type="http://schemas.openxmlformats.org/officeDocument/2006/relationships/slideLayout" Target="../slideLayouts/slideLayout274.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320" Type="http://schemas.openxmlformats.org/officeDocument/2006/relationships/slideLayout" Target="../slideLayouts/slideLayout320.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6" Type="http://schemas.openxmlformats.org/officeDocument/2006/relationships/slideLayout" Target="../slideLayouts/slideLayout176.xml"/><Relationship Id="rId197" Type="http://schemas.openxmlformats.org/officeDocument/2006/relationships/slideLayout" Target="../slideLayouts/slideLayout197.xml"/><Relationship Id="rId341" Type="http://schemas.openxmlformats.org/officeDocument/2006/relationships/slideLayout" Target="../slideLayouts/slideLayout341.xml"/><Relationship Id="rId362" Type="http://schemas.openxmlformats.org/officeDocument/2006/relationships/theme" Target="../theme/theme1.xml"/><Relationship Id="rId201" Type="http://schemas.openxmlformats.org/officeDocument/2006/relationships/slideLayout" Target="../slideLayouts/slideLayout201.xml"/><Relationship Id="rId222" Type="http://schemas.openxmlformats.org/officeDocument/2006/relationships/slideLayout" Target="../slideLayouts/slideLayout222.xml"/><Relationship Id="rId243" Type="http://schemas.openxmlformats.org/officeDocument/2006/relationships/slideLayout" Target="../slideLayouts/slideLayout243.xml"/><Relationship Id="rId264" Type="http://schemas.openxmlformats.org/officeDocument/2006/relationships/slideLayout" Target="../slideLayouts/slideLayout264.xml"/><Relationship Id="rId285" Type="http://schemas.openxmlformats.org/officeDocument/2006/relationships/slideLayout" Target="../slideLayouts/slideLayout285.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310" Type="http://schemas.openxmlformats.org/officeDocument/2006/relationships/slideLayout" Target="../slideLayouts/slideLayout310.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 Id="rId187" Type="http://schemas.openxmlformats.org/officeDocument/2006/relationships/slideLayout" Target="../slideLayouts/slideLayout187.xml"/><Relationship Id="rId331" Type="http://schemas.openxmlformats.org/officeDocument/2006/relationships/slideLayout" Target="../slideLayouts/slideLayout331.xml"/><Relationship Id="rId352" Type="http://schemas.openxmlformats.org/officeDocument/2006/relationships/slideLayout" Target="../slideLayouts/slideLayout352.xml"/><Relationship Id="rId1" Type="http://schemas.openxmlformats.org/officeDocument/2006/relationships/slideLayout" Target="../slideLayouts/slideLayout1.xml"/><Relationship Id="rId212" Type="http://schemas.openxmlformats.org/officeDocument/2006/relationships/slideLayout" Target="../slideLayouts/slideLayout212.xml"/><Relationship Id="rId233" Type="http://schemas.openxmlformats.org/officeDocument/2006/relationships/slideLayout" Target="../slideLayouts/slideLayout233.xml"/><Relationship Id="rId254" Type="http://schemas.openxmlformats.org/officeDocument/2006/relationships/slideLayout" Target="../slideLayouts/slideLayout254.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75" Type="http://schemas.openxmlformats.org/officeDocument/2006/relationships/slideLayout" Target="../slideLayouts/slideLayout275.xml"/><Relationship Id="rId296" Type="http://schemas.openxmlformats.org/officeDocument/2006/relationships/slideLayout" Target="../slideLayouts/slideLayout296.xml"/><Relationship Id="rId300" Type="http://schemas.openxmlformats.org/officeDocument/2006/relationships/slideLayout" Target="../slideLayouts/slideLayout300.xml"/><Relationship Id="rId60" Type="http://schemas.openxmlformats.org/officeDocument/2006/relationships/slideLayout" Target="../slideLayouts/slideLayout6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42" Type="http://schemas.openxmlformats.org/officeDocument/2006/relationships/slideLayout" Target="../slideLayouts/slideLayout342.xml"/><Relationship Id="rId363" Type="http://schemas.openxmlformats.org/officeDocument/2006/relationships/tags" Target="../tags/tag1.xml"/><Relationship Id="rId202" Type="http://schemas.openxmlformats.org/officeDocument/2006/relationships/slideLayout" Target="../slideLayouts/slideLayout202.xml"/><Relationship Id="rId223" Type="http://schemas.openxmlformats.org/officeDocument/2006/relationships/slideLayout" Target="../slideLayouts/slideLayout223.xml"/><Relationship Id="rId244" Type="http://schemas.openxmlformats.org/officeDocument/2006/relationships/slideLayout" Target="../slideLayouts/slideLayout244.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265" Type="http://schemas.openxmlformats.org/officeDocument/2006/relationships/slideLayout" Target="../slideLayouts/slideLayout265.xml"/><Relationship Id="rId286" Type="http://schemas.openxmlformats.org/officeDocument/2006/relationships/slideLayout" Target="../slideLayouts/slideLayout286.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25" Type="http://schemas.openxmlformats.org/officeDocument/2006/relationships/slideLayout" Target="../slideLayouts/slideLayout125.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32" Type="http://schemas.openxmlformats.org/officeDocument/2006/relationships/slideLayout" Target="../slideLayouts/slideLayout332.xml"/><Relationship Id="rId353" Type="http://schemas.openxmlformats.org/officeDocument/2006/relationships/slideLayout" Target="../slideLayouts/slideLayout353.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234" Type="http://schemas.openxmlformats.org/officeDocument/2006/relationships/slideLayout" Target="../slideLayouts/slideLayout234.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55" Type="http://schemas.openxmlformats.org/officeDocument/2006/relationships/slideLayout" Target="../slideLayouts/slideLayout255.xml"/><Relationship Id="rId276" Type="http://schemas.openxmlformats.org/officeDocument/2006/relationships/slideLayout" Target="../slideLayouts/slideLayout276.xml"/><Relationship Id="rId297" Type="http://schemas.openxmlformats.org/officeDocument/2006/relationships/slideLayout" Target="../slideLayouts/slideLayout297.xml"/><Relationship Id="rId40" Type="http://schemas.openxmlformats.org/officeDocument/2006/relationships/slideLayout" Target="../slideLayouts/slideLayout40.xml"/><Relationship Id="rId115" Type="http://schemas.openxmlformats.org/officeDocument/2006/relationships/slideLayout" Target="../slideLayouts/slideLayout115.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22" Type="http://schemas.openxmlformats.org/officeDocument/2006/relationships/slideLayout" Target="../slideLayouts/slideLayout322.xml"/><Relationship Id="rId343" Type="http://schemas.openxmlformats.org/officeDocument/2006/relationships/slideLayout" Target="../slideLayouts/slideLayout343.xml"/><Relationship Id="rId364" Type="http://schemas.openxmlformats.org/officeDocument/2006/relationships/oleObject" Target="../embeddings/oleObject1.bin"/><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9" Type="http://schemas.openxmlformats.org/officeDocument/2006/relationships/slideLayout" Target="../slideLayouts/slideLayout199.xml"/><Relationship Id="rId203" Type="http://schemas.openxmlformats.org/officeDocument/2006/relationships/slideLayout" Target="../slideLayouts/slideLayout203.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45" Type="http://schemas.openxmlformats.org/officeDocument/2006/relationships/slideLayout" Target="../slideLayouts/slideLayout245.xml"/><Relationship Id="rId266" Type="http://schemas.openxmlformats.org/officeDocument/2006/relationships/slideLayout" Target="../slideLayouts/slideLayout266.xml"/><Relationship Id="rId287" Type="http://schemas.openxmlformats.org/officeDocument/2006/relationships/slideLayout" Target="../slideLayouts/slideLayout287.xml"/><Relationship Id="rId30" Type="http://schemas.openxmlformats.org/officeDocument/2006/relationships/slideLayout" Target="../slideLayouts/slideLayout3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312" Type="http://schemas.openxmlformats.org/officeDocument/2006/relationships/slideLayout" Target="../slideLayouts/slideLayout312.xml"/><Relationship Id="rId333" Type="http://schemas.openxmlformats.org/officeDocument/2006/relationships/slideLayout" Target="../slideLayouts/slideLayout333.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 Type="http://schemas.openxmlformats.org/officeDocument/2006/relationships/slideLayout" Target="../slideLayouts/slideLayout3.xml"/><Relationship Id="rId214" Type="http://schemas.openxmlformats.org/officeDocument/2006/relationships/slideLayout" Target="../slideLayouts/slideLayout214.xml"/><Relationship Id="rId235" Type="http://schemas.openxmlformats.org/officeDocument/2006/relationships/slideLayout" Target="../slideLayouts/slideLayout235.xml"/><Relationship Id="rId256" Type="http://schemas.openxmlformats.org/officeDocument/2006/relationships/slideLayout" Target="../slideLayouts/slideLayout256.xml"/><Relationship Id="rId277" Type="http://schemas.openxmlformats.org/officeDocument/2006/relationships/slideLayout" Target="../slideLayouts/slideLayout277.xml"/><Relationship Id="rId298" Type="http://schemas.openxmlformats.org/officeDocument/2006/relationships/slideLayout" Target="../slideLayouts/slideLayout298.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302" Type="http://schemas.openxmlformats.org/officeDocument/2006/relationships/slideLayout" Target="../slideLayouts/slideLayout302.xml"/><Relationship Id="rId323" Type="http://schemas.openxmlformats.org/officeDocument/2006/relationships/slideLayout" Target="../slideLayouts/slideLayout323.xml"/><Relationship Id="rId344" Type="http://schemas.openxmlformats.org/officeDocument/2006/relationships/slideLayout" Target="../slideLayouts/slideLayout34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65" Type="http://schemas.openxmlformats.org/officeDocument/2006/relationships/image" Target="../media/image1.emf"/><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25" Type="http://schemas.openxmlformats.org/officeDocument/2006/relationships/slideLayout" Target="../slideLayouts/slideLayout225.xml"/><Relationship Id="rId246" Type="http://schemas.openxmlformats.org/officeDocument/2006/relationships/slideLayout" Target="../slideLayouts/slideLayout246.xml"/><Relationship Id="rId267" Type="http://schemas.openxmlformats.org/officeDocument/2006/relationships/slideLayout" Target="../slideLayouts/slideLayout267.xml"/><Relationship Id="rId288" Type="http://schemas.openxmlformats.org/officeDocument/2006/relationships/slideLayout" Target="../slideLayouts/slideLayout288.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313" Type="http://schemas.openxmlformats.org/officeDocument/2006/relationships/slideLayout" Target="../slideLayouts/slideLayout31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55" Type="http://schemas.openxmlformats.org/officeDocument/2006/relationships/slideLayout" Target="../slideLayouts/slideLayout355.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15" Type="http://schemas.openxmlformats.org/officeDocument/2006/relationships/slideLayout" Target="../slideLayouts/slideLayout215.xml"/><Relationship Id="rId236" Type="http://schemas.openxmlformats.org/officeDocument/2006/relationships/slideLayout" Target="../slideLayouts/slideLayout236.xml"/><Relationship Id="rId257" Type="http://schemas.openxmlformats.org/officeDocument/2006/relationships/slideLayout" Target="../slideLayouts/slideLayout257.xml"/><Relationship Id="rId278" Type="http://schemas.openxmlformats.org/officeDocument/2006/relationships/slideLayout" Target="../slideLayouts/slideLayout278.xml"/><Relationship Id="rId303" Type="http://schemas.openxmlformats.org/officeDocument/2006/relationships/slideLayout" Target="../slideLayouts/slideLayout303.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107" Type="http://schemas.openxmlformats.org/officeDocument/2006/relationships/slideLayout" Target="../slideLayouts/slideLayout107.xml"/><Relationship Id="rId289" Type="http://schemas.openxmlformats.org/officeDocument/2006/relationships/slideLayout" Target="../slideLayouts/slideLayout289.xml"/><Relationship Id="rId11" Type="http://schemas.openxmlformats.org/officeDocument/2006/relationships/slideLayout" Target="../slideLayouts/slideLayout11.xml"/><Relationship Id="rId53" Type="http://schemas.openxmlformats.org/officeDocument/2006/relationships/slideLayout" Target="../slideLayouts/slideLayout53.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56" Type="http://schemas.openxmlformats.org/officeDocument/2006/relationships/slideLayout" Target="../slideLayouts/slideLayout356.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16" Type="http://schemas.openxmlformats.org/officeDocument/2006/relationships/slideLayout" Target="../slideLayouts/slideLayout216.xml"/><Relationship Id="rId258" Type="http://schemas.openxmlformats.org/officeDocument/2006/relationships/slideLayout" Target="../slideLayouts/slideLayout258.xml"/><Relationship Id="rId22" Type="http://schemas.openxmlformats.org/officeDocument/2006/relationships/slideLayout" Target="../slideLayouts/slideLayout22.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325" Type="http://schemas.openxmlformats.org/officeDocument/2006/relationships/slideLayout" Target="../slideLayouts/slideLayout325.xml"/><Relationship Id="rId171" Type="http://schemas.openxmlformats.org/officeDocument/2006/relationships/slideLayout" Target="../slideLayouts/slideLayout171.xml"/><Relationship Id="rId227" Type="http://schemas.openxmlformats.org/officeDocument/2006/relationships/slideLayout" Target="../slideLayouts/slideLayout227.xml"/><Relationship Id="rId269" Type="http://schemas.openxmlformats.org/officeDocument/2006/relationships/slideLayout" Target="../slideLayouts/slideLayout269.xml"/><Relationship Id="rId33" Type="http://schemas.openxmlformats.org/officeDocument/2006/relationships/slideLayout" Target="../slideLayouts/slideLayout33.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36" Type="http://schemas.openxmlformats.org/officeDocument/2006/relationships/slideLayout" Target="../slideLayouts/slideLayout336.xml"/><Relationship Id="rId75" Type="http://schemas.openxmlformats.org/officeDocument/2006/relationships/slideLayout" Target="../slideLayouts/slideLayout75.xml"/><Relationship Id="rId140" Type="http://schemas.openxmlformats.org/officeDocument/2006/relationships/slideLayout" Target="../slideLayouts/slideLayout140.xml"/><Relationship Id="rId182" Type="http://schemas.openxmlformats.org/officeDocument/2006/relationships/slideLayout" Target="../slideLayouts/slideLayout182.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47" Type="http://schemas.openxmlformats.org/officeDocument/2006/relationships/slideLayout" Target="../slideLayouts/slideLayout347.xml"/><Relationship Id="rId44" Type="http://schemas.openxmlformats.org/officeDocument/2006/relationships/slideLayout" Target="../slideLayouts/slideLayout44.xml"/><Relationship Id="rId86" Type="http://schemas.openxmlformats.org/officeDocument/2006/relationships/slideLayout" Target="../slideLayouts/slideLayout86.xml"/><Relationship Id="rId151" Type="http://schemas.openxmlformats.org/officeDocument/2006/relationships/slideLayout" Target="../slideLayouts/slideLayout151.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49" Type="http://schemas.openxmlformats.org/officeDocument/2006/relationships/slideLayout" Target="../slideLayouts/slideLayout249.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16" Type="http://schemas.openxmlformats.org/officeDocument/2006/relationships/slideLayout" Target="../slideLayouts/slideLayout316.xml"/><Relationship Id="rId55" Type="http://schemas.openxmlformats.org/officeDocument/2006/relationships/slideLayout" Target="../slideLayouts/slideLayout55.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358" Type="http://schemas.openxmlformats.org/officeDocument/2006/relationships/slideLayout" Target="../slideLayouts/slideLayout358.xml"/><Relationship Id="rId162" Type="http://schemas.openxmlformats.org/officeDocument/2006/relationships/slideLayout" Target="../slideLayouts/slideLayout162.xml"/><Relationship Id="rId218" Type="http://schemas.openxmlformats.org/officeDocument/2006/relationships/slideLayout" Target="../slideLayouts/slideLayout218.xml"/><Relationship Id="rId271" Type="http://schemas.openxmlformats.org/officeDocument/2006/relationships/slideLayout" Target="../slideLayouts/slideLayout271.xml"/><Relationship Id="rId24" Type="http://schemas.openxmlformats.org/officeDocument/2006/relationships/slideLayout" Target="../slideLayouts/slideLayout24.xml"/><Relationship Id="rId66" Type="http://schemas.openxmlformats.org/officeDocument/2006/relationships/slideLayout" Target="../slideLayouts/slideLayout66.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173" Type="http://schemas.openxmlformats.org/officeDocument/2006/relationships/slideLayout" Target="../slideLayouts/slideLayout173.xml"/><Relationship Id="rId229" Type="http://schemas.openxmlformats.org/officeDocument/2006/relationships/slideLayout" Target="../slideLayouts/slideLayout229.xml"/><Relationship Id="rId240" Type="http://schemas.openxmlformats.org/officeDocument/2006/relationships/slideLayout" Target="../slideLayouts/slideLayout240.xml"/><Relationship Id="rId35" Type="http://schemas.openxmlformats.org/officeDocument/2006/relationships/slideLayout" Target="../slideLayouts/slideLayout35.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38" Type="http://schemas.openxmlformats.org/officeDocument/2006/relationships/slideLayout" Target="../slideLayouts/slideLayout338.xml"/><Relationship Id="rId8" Type="http://schemas.openxmlformats.org/officeDocument/2006/relationships/slideLayout" Target="../slideLayouts/slideLayout8.xml"/><Relationship Id="rId142" Type="http://schemas.openxmlformats.org/officeDocument/2006/relationships/slideLayout" Target="../slideLayouts/slideLayout142.xml"/><Relationship Id="rId184" Type="http://schemas.openxmlformats.org/officeDocument/2006/relationships/slideLayout" Target="../slideLayouts/slideLayout184.xml"/><Relationship Id="rId251" Type="http://schemas.openxmlformats.org/officeDocument/2006/relationships/slideLayout" Target="../slideLayouts/slideLayout251.xml"/><Relationship Id="rId46" Type="http://schemas.openxmlformats.org/officeDocument/2006/relationships/slideLayout" Target="../slideLayouts/slideLayout46.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49" Type="http://schemas.openxmlformats.org/officeDocument/2006/relationships/slideLayout" Target="../slideLayouts/slideLayout349.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3" Type="http://schemas.openxmlformats.org/officeDocument/2006/relationships/slideLayout" Target="../slideLayouts/slideLayout153.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26" Type="http://schemas.openxmlformats.org/officeDocument/2006/relationships/slideLayout" Target="../slideLayouts/slideLayout387.xml"/><Relationship Id="rId39" Type="http://schemas.openxmlformats.org/officeDocument/2006/relationships/slideLayout" Target="../slideLayouts/slideLayout400.xml"/><Relationship Id="rId21" Type="http://schemas.openxmlformats.org/officeDocument/2006/relationships/slideLayout" Target="../slideLayouts/slideLayout382.xml"/><Relationship Id="rId34" Type="http://schemas.openxmlformats.org/officeDocument/2006/relationships/slideLayout" Target="../slideLayouts/slideLayout395.xml"/><Relationship Id="rId42" Type="http://schemas.openxmlformats.org/officeDocument/2006/relationships/slideLayout" Target="../slideLayouts/slideLayout403.xml"/><Relationship Id="rId47" Type="http://schemas.openxmlformats.org/officeDocument/2006/relationships/slideLayout" Target="../slideLayouts/slideLayout408.xml"/><Relationship Id="rId50" Type="http://schemas.openxmlformats.org/officeDocument/2006/relationships/slideLayout" Target="../slideLayouts/slideLayout411.xml"/><Relationship Id="rId55" Type="http://schemas.openxmlformats.org/officeDocument/2006/relationships/slideLayout" Target="../slideLayouts/slideLayout416.xml"/><Relationship Id="rId7" Type="http://schemas.openxmlformats.org/officeDocument/2006/relationships/slideLayout" Target="../slideLayouts/slideLayout368.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9" Type="http://schemas.openxmlformats.org/officeDocument/2006/relationships/slideLayout" Target="../slideLayouts/slideLayout390.xml"/><Relationship Id="rId11" Type="http://schemas.openxmlformats.org/officeDocument/2006/relationships/slideLayout" Target="../slideLayouts/slideLayout372.xml"/><Relationship Id="rId24" Type="http://schemas.openxmlformats.org/officeDocument/2006/relationships/slideLayout" Target="../slideLayouts/slideLayout385.xml"/><Relationship Id="rId32" Type="http://schemas.openxmlformats.org/officeDocument/2006/relationships/slideLayout" Target="../slideLayouts/slideLayout393.xml"/><Relationship Id="rId37" Type="http://schemas.openxmlformats.org/officeDocument/2006/relationships/slideLayout" Target="../slideLayouts/slideLayout398.xml"/><Relationship Id="rId40" Type="http://schemas.openxmlformats.org/officeDocument/2006/relationships/slideLayout" Target="../slideLayouts/slideLayout401.xml"/><Relationship Id="rId45" Type="http://schemas.openxmlformats.org/officeDocument/2006/relationships/slideLayout" Target="../slideLayouts/slideLayout406.xml"/><Relationship Id="rId53" Type="http://schemas.openxmlformats.org/officeDocument/2006/relationships/slideLayout" Target="../slideLayouts/slideLayout414.xml"/><Relationship Id="rId5" Type="http://schemas.openxmlformats.org/officeDocument/2006/relationships/slideLayout" Target="../slideLayouts/slideLayout366.xml"/><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31" Type="http://schemas.openxmlformats.org/officeDocument/2006/relationships/slideLayout" Target="../slideLayouts/slideLayout392.xml"/><Relationship Id="rId44" Type="http://schemas.openxmlformats.org/officeDocument/2006/relationships/slideLayout" Target="../slideLayouts/slideLayout405.xml"/><Relationship Id="rId52" Type="http://schemas.openxmlformats.org/officeDocument/2006/relationships/slideLayout" Target="../slideLayouts/slideLayout413.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slideLayout" Target="../slideLayouts/slideLayout383.xml"/><Relationship Id="rId27" Type="http://schemas.openxmlformats.org/officeDocument/2006/relationships/slideLayout" Target="../slideLayouts/slideLayout388.xml"/><Relationship Id="rId30" Type="http://schemas.openxmlformats.org/officeDocument/2006/relationships/slideLayout" Target="../slideLayouts/slideLayout391.xml"/><Relationship Id="rId35" Type="http://schemas.openxmlformats.org/officeDocument/2006/relationships/slideLayout" Target="../slideLayouts/slideLayout396.xml"/><Relationship Id="rId43" Type="http://schemas.openxmlformats.org/officeDocument/2006/relationships/slideLayout" Target="../slideLayouts/slideLayout404.xml"/><Relationship Id="rId48" Type="http://schemas.openxmlformats.org/officeDocument/2006/relationships/slideLayout" Target="../slideLayouts/slideLayout409.xml"/><Relationship Id="rId56" Type="http://schemas.openxmlformats.org/officeDocument/2006/relationships/theme" Target="../theme/theme2.xml"/><Relationship Id="rId8" Type="http://schemas.openxmlformats.org/officeDocument/2006/relationships/slideLayout" Target="../slideLayouts/slideLayout369.xml"/><Relationship Id="rId51" Type="http://schemas.openxmlformats.org/officeDocument/2006/relationships/slideLayout" Target="../slideLayouts/slideLayout412.xml"/><Relationship Id="rId3" Type="http://schemas.openxmlformats.org/officeDocument/2006/relationships/slideLayout" Target="../slideLayouts/slideLayout364.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5" Type="http://schemas.openxmlformats.org/officeDocument/2006/relationships/slideLayout" Target="../slideLayouts/slideLayout386.xml"/><Relationship Id="rId33" Type="http://schemas.openxmlformats.org/officeDocument/2006/relationships/slideLayout" Target="../slideLayouts/slideLayout394.xml"/><Relationship Id="rId38" Type="http://schemas.openxmlformats.org/officeDocument/2006/relationships/slideLayout" Target="../slideLayouts/slideLayout399.xml"/><Relationship Id="rId46" Type="http://schemas.openxmlformats.org/officeDocument/2006/relationships/slideLayout" Target="../slideLayouts/slideLayout407.xml"/><Relationship Id="rId20" Type="http://schemas.openxmlformats.org/officeDocument/2006/relationships/slideLayout" Target="../slideLayouts/slideLayout381.xml"/><Relationship Id="rId41" Type="http://schemas.openxmlformats.org/officeDocument/2006/relationships/slideLayout" Target="../slideLayouts/slideLayout402.xml"/><Relationship Id="rId54" Type="http://schemas.openxmlformats.org/officeDocument/2006/relationships/slideLayout" Target="../slideLayouts/slideLayout415.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5" Type="http://schemas.openxmlformats.org/officeDocument/2006/relationships/slideLayout" Target="../slideLayouts/slideLayout376.xml"/><Relationship Id="rId23" Type="http://schemas.openxmlformats.org/officeDocument/2006/relationships/slideLayout" Target="../slideLayouts/slideLayout384.xml"/><Relationship Id="rId28" Type="http://schemas.openxmlformats.org/officeDocument/2006/relationships/slideLayout" Target="../slideLayouts/slideLayout389.xml"/><Relationship Id="rId36" Type="http://schemas.openxmlformats.org/officeDocument/2006/relationships/slideLayout" Target="../slideLayouts/slideLayout397.xml"/><Relationship Id="rId49" Type="http://schemas.openxmlformats.org/officeDocument/2006/relationships/slideLayout" Target="../slideLayouts/slideLayout4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4.xml"/><Relationship Id="rId3" Type="http://schemas.openxmlformats.org/officeDocument/2006/relationships/slideLayout" Target="../slideLayouts/slideLayout419.xml"/><Relationship Id="rId7" Type="http://schemas.openxmlformats.org/officeDocument/2006/relationships/slideLayout" Target="../slideLayouts/slideLayout423.xml"/><Relationship Id="rId12" Type="http://schemas.openxmlformats.org/officeDocument/2006/relationships/theme" Target="../theme/theme3.xml"/><Relationship Id="rId2" Type="http://schemas.openxmlformats.org/officeDocument/2006/relationships/slideLayout" Target="../slideLayouts/slideLayout418.xml"/><Relationship Id="rId1" Type="http://schemas.openxmlformats.org/officeDocument/2006/relationships/slideLayout" Target="../slideLayouts/slideLayout417.xml"/><Relationship Id="rId6" Type="http://schemas.openxmlformats.org/officeDocument/2006/relationships/slideLayout" Target="../slideLayouts/slideLayout422.xml"/><Relationship Id="rId11" Type="http://schemas.openxmlformats.org/officeDocument/2006/relationships/slideLayout" Target="../slideLayouts/slideLayout427.xml"/><Relationship Id="rId5" Type="http://schemas.openxmlformats.org/officeDocument/2006/relationships/slideLayout" Target="../slideLayouts/slideLayout421.xml"/><Relationship Id="rId10" Type="http://schemas.openxmlformats.org/officeDocument/2006/relationships/slideLayout" Target="../slideLayouts/slideLayout426.xml"/><Relationship Id="rId4" Type="http://schemas.openxmlformats.org/officeDocument/2006/relationships/slideLayout" Target="../slideLayouts/slideLayout420.xml"/><Relationship Id="rId9" Type="http://schemas.openxmlformats.org/officeDocument/2006/relationships/slideLayout" Target="../slideLayouts/slideLayout4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5.xml"/><Relationship Id="rId13" Type="http://schemas.openxmlformats.org/officeDocument/2006/relationships/slideLayout" Target="../slideLayouts/slideLayout440.xml"/><Relationship Id="rId3" Type="http://schemas.openxmlformats.org/officeDocument/2006/relationships/slideLayout" Target="../slideLayouts/slideLayout430.xml"/><Relationship Id="rId7" Type="http://schemas.openxmlformats.org/officeDocument/2006/relationships/slideLayout" Target="../slideLayouts/slideLayout434.xml"/><Relationship Id="rId12" Type="http://schemas.openxmlformats.org/officeDocument/2006/relationships/slideLayout" Target="../slideLayouts/slideLayout439.xml"/><Relationship Id="rId17" Type="http://schemas.openxmlformats.org/officeDocument/2006/relationships/theme" Target="../theme/theme4.xml"/><Relationship Id="rId2" Type="http://schemas.openxmlformats.org/officeDocument/2006/relationships/slideLayout" Target="../slideLayouts/slideLayout429.xml"/><Relationship Id="rId16" Type="http://schemas.openxmlformats.org/officeDocument/2006/relationships/slideLayout" Target="../slideLayouts/slideLayout443.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1" Type="http://schemas.openxmlformats.org/officeDocument/2006/relationships/slideLayout" Target="../slideLayouts/slideLayout438.xml"/><Relationship Id="rId5" Type="http://schemas.openxmlformats.org/officeDocument/2006/relationships/slideLayout" Target="../slideLayouts/slideLayout432.xml"/><Relationship Id="rId15" Type="http://schemas.openxmlformats.org/officeDocument/2006/relationships/slideLayout" Target="../slideLayouts/slideLayout442.xml"/><Relationship Id="rId10" Type="http://schemas.openxmlformats.org/officeDocument/2006/relationships/slideLayout" Target="../slideLayouts/slideLayout437.xml"/><Relationship Id="rId4" Type="http://schemas.openxmlformats.org/officeDocument/2006/relationships/slideLayout" Target="../slideLayouts/slideLayout431.xml"/><Relationship Id="rId9" Type="http://schemas.openxmlformats.org/officeDocument/2006/relationships/slideLayout" Target="../slideLayouts/slideLayout436.xml"/><Relationship Id="rId14" Type="http://schemas.openxmlformats.org/officeDocument/2006/relationships/slideLayout" Target="../slideLayouts/slideLayout4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1.xml"/><Relationship Id="rId3" Type="http://schemas.openxmlformats.org/officeDocument/2006/relationships/slideLayout" Target="../slideLayouts/slideLayout446.xml"/><Relationship Id="rId7" Type="http://schemas.openxmlformats.org/officeDocument/2006/relationships/slideLayout" Target="../slideLayouts/slideLayout450.xml"/><Relationship Id="rId12" Type="http://schemas.openxmlformats.org/officeDocument/2006/relationships/theme" Target="../theme/theme5.xml"/><Relationship Id="rId2" Type="http://schemas.openxmlformats.org/officeDocument/2006/relationships/slideLayout" Target="../slideLayouts/slideLayout445.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5" Type="http://schemas.openxmlformats.org/officeDocument/2006/relationships/slideLayout" Target="../slideLayouts/slideLayout448.xml"/><Relationship Id="rId10" Type="http://schemas.openxmlformats.org/officeDocument/2006/relationships/slideLayout" Target="../slideLayouts/slideLayout453.xml"/><Relationship Id="rId4" Type="http://schemas.openxmlformats.org/officeDocument/2006/relationships/slideLayout" Target="../slideLayouts/slideLayout447.xml"/><Relationship Id="rId9" Type="http://schemas.openxmlformats.org/officeDocument/2006/relationships/slideLayout" Target="../slideLayouts/slideLayout45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theme" Target="../theme/theme6.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479.xml"/><Relationship Id="rId7" Type="http://schemas.openxmlformats.org/officeDocument/2006/relationships/slideLayout" Target="../slideLayouts/slideLayout483.xml"/><Relationship Id="rId2" Type="http://schemas.openxmlformats.org/officeDocument/2006/relationships/slideLayout" Target="../slideLayouts/slideLayout478.xml"/><Relationship Id="rId1" Type="http://schemas.openxmlformats.org/officeDocument/2006/relationships/slideLayout" Target="../slideLayouts/slideLayout477.xml"/><Relationship Id="rId6" Type="http://schemas.openxmlformats.org/officeDocument/2006/relationships/slideLayout" Target="../slideLayouts/slideLayout482.xml"/><Relationship Id="rId5" Type="http://schemas.openxmlformats.org/officeDocument/2006/relationships/slideLayout" Target="../slideLayouts/slideLayout481.xml"/><Relationship Id="rId4" Type="http://schemas.openxmlformats.org/officeDocument/2006/relationships/slideLayout" Target="../slideLayouts/slideLayout4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955D6B9-23E3-DED0-6ADA-310A870DA33E}"/>
              </a:ext>
            </a:extLst>
          </p:cNvPr>
          <p:cNvGraphicFramePr>
            <a:graphicFrameLocks noChangeAspect="1"/>
          </p:cNvGraphicFramePr>
          <p:nvPr userDrawn="1">
            <p:custDataLst>
              <p:tags r:id="rId36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64" imgW="245" imgH="245" progId="TCLayout.ActiveDocument.1">
                  <p:embed/>
                </p:oleObj>
              </mc:Choice>
              <mc:Fallback>
                <p:oleObj name="think-cell Slide" r:id="rId364" imgW="245" imgH="245" progId="TCLayout.ActiveDocument.1">
                  <p:embed/>
                  <p:pic>
                    <p:nvPicPr>
                      <p:cNvPr id="2" name="Object 1" hidden="1">
                        <a:extLst>
                          <a:ext uri="{FF2B5EF4-FFF2-40B4-BE49-F238E27FC236}">
                            <a16:creationId xmlns:a16="http://schemas.microsoft.com/office/drawing/2014/main" id="{0955D6B9-23E3-DED0-6ADA-310A870DA33E}"/>
                          </a:ext>
                        </a:extLst>
                      </p:cNvPr>
                      <p:cNvPicPr/>
                      <p:nvPr/>
                    </p:nvPicPr>
                    <p:blipFill>
                      <a:blip r:embed="rId365"/>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299544235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866" r:id="rId74"/>
    <p:sldLayoutId id="2147483867" r:id="rId75"/>
    <p:sldLayoutId id="2147483868" r:id="rId76"/>
    <p:sldLayoutId id="2147483869" r:id="rId77"/>
    <p:sldLayoutId id="2147483870" r:id="rId78"/>
    <p:sldLayoutId id="2147483871" r:id="rId79"/>
    <p:sldLayoutId id="2147483872" r:id="rId80"/>
    <p:sldLayoutId id="2147483873" r:id="rId81"/>
    <p:sldLayoutId id="2147483874" r:id="rId82"/>
    <p:sldLayoutId id="2147483875" r:id="rId83"/>
    <p:sldLayoutId id="2147483876" r:id="rId84"/>
    <p:sldLayoutId id="2147483877" r:id="rId85"/>
    <p:sldLayoutId id="2147483878" r:id="rId86"/>
    <p:sldLayoutId id="2147483879" r:id="rId87"/>
    <p:sldLayoutId id="2147483880" r:id="rId88"/>
    <p:sldLayoutId id="2147483881" r:id="rId89"/>
    <p:sldLayoutId id="2147483882" r:id="rId90"/>
    <p:sldLayoutId id="2147483883" r:id="rId91"/>
    <p:sldLayoutId id="2147483884" r:id="rId92"/>
    <p:sldLayoutId id="2147483885" r:id="rId93"/>
    <p:sldLayoutId id="2147483886" r:id="rId94"/>
    <p:sldLayoutId id="2147483887" r:id="rId95"/>
    <p:sldLayoutId id="2147483888" r:id="rId96"/>
    <p:sldLayoutId id="2147483889" r:id="rId97"/>
    <p:sldLayoutId id="2147483890" r:id="rId98"/>
    <p:sldLayoutId id="2147483891" r:id="rId99"/>
    <p:sldLayoutId id="2147483892" r:id="rId100"/>
    <p:sldLayoutId id="2147483893" r:id="rId101"/>
    <p:sldLayoutId id="2147483894" r:id="rId102"/>
    <p:sldLayoutId id="2147483900" r:id="rId103"/>
    <p:sldLayoutId id="2147483901" r:id="rId104"/>
    <p:sldLayoutId id="2147483902" r:id="rId105"/>
    <p:sldLayoutId id="2147483903" r:id="rId106"/>
    <p:sldLayoutId id="2147483904" r:id="rId107"/>
    <p:sldLayoutId id="2147483905" r:id="rId108"/>
    <p:sldLayoutId id="2147483906" r:id="rId109"/>
    <p:sldLayoutId id="2147483907" r:id="rId110"/>
    <p:sldLayoutId id="2147483908" r:id="rId111"/>
    <p:sldLayoutId id="2147483909" r:id="rId112"/>
    <p:sldLayoutId id="2147483910" r:id="rId113"/>
    <p:sldLayoutId id="2147483911" r:id="rId114"/>
    <p:sldLayoutId id="2147483912" r:id="rId115"/>
    <p:sldLayoutId id="2147483914" r:id="rId116"/>
    <p:sldLayoutId id="2147483915" r:id="rId117"/>
    <p:sldLayoutId id="2147483916" r:id="rId118"/>
    <p:sldLayoutId id="2147483917" r:id="rId119"/>
    <p:sldLayoutId id="2147483918" r:id="rId120"/>
    <p:sldLayoutId id="2147483919" r:id="rId121"/>
    <p:sldLayoutId id="2147483920" r:id="rId122"/>
    <p:sldLayoutId id="2147483921" r:id="rId123"/>
    <p:sldLayoutId id="2147483922" r:id="rId124"/>
    <p:sldLayoutId id="2147483923" r:id="rId125"/>
    <p:sldLayoutId id="2147483924" r:id="rId126"/>
    <p:sldLayoutId id="2147483925" r:id="rId127"/>
    <p:sldLayoutId id="2147483928" r:id="rId128"/>
    <p:sldLayoutId id="2147483931" r:id="rId129"/>
    <p:sldLayoutId id="2147483932" r:id="rId130"/>
    <p:sldLayoutId id="2147483933" r:id="rId131"/>
    <p:sldLayoutId id="2147483934" r:id="rId132"/>
    <p:sldLayoutId id="2147483935" r:id="rId133"/>
    <p:sldLayoutId id="2147483936" r:id="rId134"/>
    <p:sldLayoutId id="2147483938" r:id="rId135"/>
    <p:sldLayoutId id="2147483939" r:id="rId136"/>
    <p:sldLayoutId id="2147483940" r:id="rId137"/>
    <p:sldLayoutId id="2147483941" r:id="rId138"/>
    <p:sldLayoutId id="2147483942" r:id="rId139"/>
    <p:sldLayoutId id="2147483943" r:id="rId140"/>
    <p:sldLayoutId id="2147483944" r:id="rId141"/>
    <p:sldLayoutId id="2147483945" r:id="rId142"/>
    <p:sldLayoutId id="2147483946" r:id="rId143"/>
    <p:sldLayoutId id="2147483947" r:id="rId144"/>
    <p:sldLayoutId id="2147483948" r:id="rId145"/>
    <p:sldLayoutId id="2147483949" r:id="rId146"/>
    <p:sldLayoutId id="2147483950" r:id="rId147"/>
    <p:sldLayoutId id="2147483959" r:id="rId148"/>
    <p:sldLayoutId id="2147483960" r:id="rId149"/>
    <p:sldLayoutId id="2147483961" r:id="rId150"/>
    <p:sldLayoutId id="2147483962" r:id="rId151"/>
    <p:sldLayoutId id="2147483964" r:id="rId152"/>
    <p:sldLayoutId id="2147483965" r:id="rId153"/>
    <p:sldLayoutId id="2147483966" r:id="rId154"/>
    <p:sldLayoutId id="2147483967" r:id="rId155"/>
    <p:sldLayoutId id="2147483968" r:id="rId156"/>
    <p:sldLayoutId id="2147483970" r:id="rId157"/>
    <p:sldLayoutId id="2147483971" r:id="rId158"/>
    <p:sldLayoutId id="2147483972" r:id="rId159"/>
    <p:sldLayoutId id="2147483973" r:id="rId160"/>
    <p:sldLayoutId id="2147483974" r:id="rId161"/>
    <p:sldLayoutId id="2147483975" r:id="rId162"/>
    <p:sldLayoutId id="2147483976" r:id="rId163"/>
    <p:sldLayoutId id="2147483977" r:id="rId164"/>
    <p:sldLayoutId id="2147483978" r:id="rId165"/>
    <p:sldLayoutId id="2147483979" r:id="rId166"/>
    <p:sldLayoutId id="2147483980" r:id="rId167"/>
    <p:sldLayoutId id="2147483981" r:id="rId168"/>
    <p:sldLayoutId id="2147483982" r:id="rId169"/>
    <p:sldLayoutId id="2147483983" r:id="rId170"/>
    <p:sldLayoutId id="2147483984" r:id="rId171"/>
    <p:sldLayoutId id="2147483985" r:id="rId172"/>
    <p:sldLayoutId id="2147483986" r:id="rId173"/>
    <p:sldLayoutId id="2147483987" r:id="rId174"/>
    <p:sldLayoutId id="2147483988" r:id="rId175"/>
    <p:sldLayoutId id="2147483989" r:id="rId176"/>
    <p:sldLayoutId id="2147483990" r:id="rId177"/>
    <p:sldLayoutId id="2147483991" r:id="rId178"/>
    <p:sldLayoutId id="2147483992" r:id="rId179"/>
    <p:sldLayoutId id="2147483993" r:id="rId180"/>
    <p:sldLayoutId id="2147483994" r:id="rId181"/>
    <p:sldLayoutId id="2147483995" r:id="rId182"/>
    <p:sldLayoutId id="2147483996" r:id="rId183"/>
    <p:sldLayoutId id="2147483997" r:id="rId184"/>
    <p:sldLayoutId id="2147483998" r:id="rId185"/>
    <p:sldLayoutId id="2147483999" r:id="rId186"/>
    <p:sldLayoutId id="2147484000" r:id="rId187"/>
    <p:sldLayoutId id="2147484001" r:id="rId188"/>
    <p:sldLayoutId id="2147484002" r:id="rId189"/>
    <p:sldLayoutId id="2147484003" r:id="rId190"/>
    <p:sldLayoutId id="2147484004" r:id="rId191"/>
    <p:sldLayoutId id="2147484005" r:id="rId192"/>
    <p:sldLayoutId id="2147484006" r:id="rId193"/>
    <p:sldLayoutId id="2147484007" r:id="rId194"/>
    <p:sldLayoutId id="2147484008" r:id="rId195"/>
    <p:sldLayoutId id="2147484009" r:id="rId196"/>
    <p:sldLayoutId id="2147484010" r:id="rId197"/>
    <p:sldLayoutId id="2147484011" r:id="rId198"/>
    <p:sldLayoutId id="2147484012" r:id="rId199"/>
    <p:sldLayoutId id="2147484013" r:id="rId200"/>
    <p:sldLayoutId id="2147484014" r:id="rId201"/>
    <p:sldLayoutId id="2147484015" r:id="rId202"/>
    <p:sldLayoutId id="2147484016" r:id="rId203"/>
    <p:sldLayoutId id="2147484017" r:id="rId204"/>
    <p:sldLayoutId id="2147484018" r:id="rId205"/>
    <p:sldLayoutId id="2147484026" r:id="rId206"/>
    <p:sldLayoutId id="2147484027" r:id="rId207"/>
    <p:sldLayoutId id="2147484035" r:id="rId208"/>
    <p:sldLayoutId id="2147484036" r:id="rId209"/>
    <p:sldLayoutId id="2147484037" r:id="rId210"/>
    <p:sldLayoutId id="2147484038" r:id="rId211"/>
    <p:sldLayoutId id="2147484039" r:id="rId212"/>
    <p:sldLayoutId id="2147484040" r:id="rId213"/>
    <p:sldLayoutId id="2147484041" r:id="rId214"/>
    <p:sldLayoutId id="2147484042" r:id="rId215"/>
    <p:sldLayoutId id="2147484043" r:id="rId216"/>
    <p:sldLayoutId id="2147484044" r:id="rId217"/>
    <p:sldLayoutId id="2147484045" r:id="rId218"/>
    <p:sldLayoutId id="2147484046" r:id="rId219"/>
    <p:sldLayoutId id="2147484047" r:id="rId220"/>
    <p:sldLayoutId id="2147484048" r:id="rId221"/>
    <p:sldLayoutId id="2147484049" r:id="rId222"/>
    <p:sldLayoutId id="2147484050" r:id="rId223"/>
    <p:sldLayoutId id="2147484051" r:id="rId224"/>
    <p:sldLayoutId id="2147484052" r:id="rId225"/>
    <p:sldLayoutId id="2147484053" r:id="rId226"/>
    <p:sldLayoutId id="2147484054" r:id="rId227"/>
    <p:sldLayoutId id="2147484055" r:id="rId228"/>
    <p:sldLayoutId id="2147484056" r:id="rId229"/>
    <p:sldLayoutId id="2147484057" r:id="rId230"/>
    <p:sldLayoutId id="2147484058" r:id="rId231"/>
    <p:sldLayoutId id="2147484059" r:id="rId232"/>
    <p:sldLayoutId id="2147484060" r:id="rId233"/>
    <p:sldLayoutId id="2147484061" r:id="rId234"/>
    <p:sldLayoutId id="2147484062" r:id="rId235"/>
    <p:sldLayoutId id="2147484063" r:id="rId236"/>
    <p:sldLayoutId id="2147484064" r:id="rId237"/>
    <p:sldLayoutId id="2147484065" r:id="rId238"/>
    <p:sldLayoutId id="2147484066" r:id="rId239"/>
    <p:sldLayoutId id="2147484067" r:id="rId240"/>
    <p:sldLayoutId id="2147484068" r:id="rId241"/>
    <p:sldLayoutId id="2147484069" r:id="rId242"/>
    <p:sldLayoutId id="2147484070" r:id="rId243"/>
    <p:sldLayoutId id="2147484071" r:id="rId244"/>
    <p:sldLayoutId id="2147484072" r:id="rId245"/>
    <p:sldLayoutId id="2147484073" r:id="rId246"/>
    <p:sldLayoutId id="2147484074" r:id="rId247"/>
    <p:sldLayoutId id="2147484075" r:id="rId248"/>
    <p:sldLayoutId id="2147484076" r:id="rId249"/>
    <p:sldLayoutId id="2147484077" r:id="rId250"/>
    <p:sldLayoutId id="2147484078" r:id="rId251"/>
    <p:sldLayoutId id="2147484079" r:id="rId252"/>
    <p:sldLayoutId id="2147484080" r:id="rId253"/>
    <p:sldLayoutId id="2147484081" r:id="rId254"/>
    <p:sldLayoutId id="2147484082" r:id="rId255"/>
    <p:sldLayoutId id="2147484083" r:id="rId256"/>
    <p:sldLayoutId id="2147484084" r:id="rId257"/>
    <p:sldLayoutId id="2147484085" r:id="rId258"/>
    <p:sldLayoutId id="2147484086" r:id="rId259"/>
    <p:sldLayoutId id="2147484087" r:id="rId260"/>
    <p:sldLayoutId id="2147484088" r:id="rId261"/>
    <p:sldLayoutId id="2147484089" r:id="rId262"/>
    <p:sldLayoutId id="2147484090" r:id="rId263"/>
    <p:sldLayoutId id="2147484091" r:id="rId264"/>
    <p:sldLayoutId id="2147484092" r:id="rId265"/>
    <p:sldLayoutId id="2147484093" r:id="rId266"/>
    <p:sldLayoutId id="2147484094" r:id="rId267"/>
    <p:sldLayoutId id="2147484095" r:id="rId268"/>
    <p:sldLayoutId id="2147484096" r:id="rId269"/>
    <p:sldLayoutId id="2147484097" r:id="rId270"/>
    <p:sldLayoutId id="2147484098" r:id="rId271"/>
    <p:sldLayoutId id="2147484099" r:id="rId272"/>
    <p:sldLayoutId id="2147484100" r:id="rId273"/>
    <p:sldLayoutId id="2147484107" r:id="rId274"/>
    <p:sldLayoutId id="2147484108" r:id="rId275"/>
    <p:sldLayoutId id="2147484109" r:id="rId276"/>
    <p:sldLayoutId id="2147484110" r:id="rId277"/>
    <p:sldLayoutId id="2147484111" r:id="rId278"/>
    <p:sldLayoutId id="2147484112" r:id="rId279"/>
    <p:sldLayoutId id="2147484113" r:id="rId280"/>
    <p:sldLayoutId id="2147484114" r:id="rId281"/>
    <p:sldLayoutId id="2147484120" r:id="rId282"/>
    <p:sldLayoutId id="2147484121" r:id="rId283"/>
    <p:sldLayoutId id="2147484122" r:id="rId284"/>
    <p:sldLayoutId id="2147484123" r:id="rId285"/>
    <p:sldLayoutId id="2147484124" r:id="rId286"/>
    <p:sldLayoutId id="2147484125" r:id="rId287"/>
    <p:sldLayoutId id="2147484130" r:id="rId288"/>
    <p:sldLayoutId id="2147484131" r:id="rId289"/>
    <p:sldLayoutId id="2147484132" r:id="rId290"/>
    <p:sldLayoutId id="2147484133" r:id="rId291"/>
    <p:sldLayoutId id="2147484134" r:id="rId292"/>
    <p:sldLayoutId id="2147484135" r:id="rId293"/>
    <p:sldLayoutId id="2147484136" r:id="rId294"/>
    <p:sldLayoutId id="2147484137" r:id="rId295"/>
    <p:sldLayoutId id="2147484138" r:id="rId296"/>
    <p:sldLayoutId id="2147484139" r:id="rId297"/>
    <p:sldLayoutId id="2147484140" r:id="rId298"/>
    <p:sldLayoutId id="2147484141" r:id="rId299"/>
    <p:sldLayoutId id="2147484142" r:id="rId300"/>
    <p:sldLayoutId id="2147484143" r:id="rId301"/>
    <p:sldLayoutId id="2147484144" r:id="rId302"/>
    <p:sldLayoutId id="2147484145" r:id="rId303"/>
    <p:sldLayoutId id="2147484146" r:id="rId304"/>
    <p:sldLayoutId id="2147484147" r:id="rId305"/>
    <p:sldLayoutId id="2147484148" r:id="rId306"/>
    <p:sldLayoutId id="2147484149" r:id="rId307"/>
    <p:sldLayoutId id="2147484150" r:id="rId308"/>
    <p:sldLayoutId id="2147484151" r:id="rId309"/>
    <p:sldLayoutId id="2147484152" r:id="rId310"/>
    <p:sldLayoutId id="2147484153" r:id="rId311"/>
    <p:sldLayoutId id="2147484154" r:id="rId312"/>
    <p:sldLayoutId id="2147484155" r:id="rId313"/>
    <p:sldLayoutId id="2147484156" r:id="rId314"/>
    <p:sldLayoutId id="2147484157" r:id="rId315"/>
    <p:sldLayoutId id="2147484158" r:id="rId316"/>
    <p:sldLayoutId id="2147484159" r:id="rId317"/>
    <p:sldLayoutId id="2147484160" r:id="rId318"/>
    <p:sldLayoutId id="2147484161" r:id="rId319"/>
    <p:sldLayoutId id="2147484162" r:id="rId320"/>
    <p:sldLayoutId id="2147484163" r:id="rId321"/>
    <p:sldLayoutId id="2147484164" r:id="rId322"/>
    <p:sldLayoutId id="2147484166" r:id="rId323"/>
    <p:sldLayoutId id="2147484167" r:id="rId324"/>
    <p:sldLayoutId id="2147484168" r:id="rId325"/>
    <p:sldLayoutId id="2147484173" r:id="rId326"/>
    <p:sldLayoutId id="2147484174" r:id="rId327"/>
    <p:sldLayoutId id="2147484178" r:id="rId328"/>
    <p:sldLayoutId id="2147484179" r:id="rId329"/>
    <p:sldLayoutId id="2147484182" r:id="rId330"/>
    <p:sldLayoutId id="2147484183" r:id="rId331"/>
    <p:sldLayoutId id="2147484184" r:id="rId332"/>
    <p:sldLayoutId id="2147484185" r:id="rId333"/>
    <p:sldLayoutId id="2147484186" r:id="rId334"/>
    <p:sldLayoutId id="2147484187" r:id="rId335"/>
    <p:sldLayoutId id="2147484197" r:id="rId336"/>
    <p:sldLayoutId id="2147484198" r:id="rId337"/>
    <p:sldLayoutId id="2147484199" r:id="rId338"/>
    <p:sldLayoutId id="2147484200" r:id="rId339"/>
    <p:sldLayoutId id="2147484205" r:id="rId340"/>
    <p:sldLayoutId id="2147484206" r:id="rId341"/>
    <p:sldLayoutId id="2147484207" r:id="rId342"/>
    <p:sldLayoutId id="2147484208" r:id="rId343"/>
    <p:sldLayoutId id="2147484209" r:id="rId344"/>
    <p:sldLayoutId id="2147484210" r:id="rId345"/>
    <p:sldLayoutId id="2147484211" r:id="rId346"/>
    <p:sldLayoutId id="2147484212" r:id="rId347"/>
    <p:sldLayoutId id="2147484213" r:id="rId348"/>
    <p:sldLayoutId id="2147484215" r:id="rId349"/>
    <p:sldLayoutId id="2147484216" r:id="rId350"/>
    <p:sldLayoutId id="2147484217" r:id="rId351"/>
    <p:sldLayoutId id="2147484218" r:id="rId352"/>
    <p:sldLayoutId id="2147484219" r:id="rId353"/>
    <p:sldLayoutId id="2147484220" r:id="rId354"/>
    <p:sldLayoutId id="2147484221" r:id="rId355"/>
    <p:sldLayoutId id="2147484222" r:id="rId356"/>
    <p:sldLayoutId id="2147484223" r:id="rId357"/>
    <p:sldLayoutId id="2147484224" r:id="rId358"/>
    <p:sldLayoutId id="2147484225" r:id="rId359"/>
    <p:sldLayoutId id="2147484226" r:id="rId360"/>
    <p:sldLayoutId id="2147484227" r:id="rId361"/>
  </p:sldLayoutIdLst>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5377745"/>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59" r:id="rId24"/>
    <p:sldLayoutId id="2147483760" r:id="rId25"/>
    <p:sldLayoutId id="2147483761" r:id="rId26"/>
    <p:sldLayoutId id="2147483762" r:id="rId27"/>
    <p:sldLayoutId id="2147483763" r:id="rId28"/>
    <p:sldLayoutId id="2147483764" r:id="rId29"/>
    <p:sldLayoutId id="2147483765" r:id="rId30"/>
    <p:sldLayoutId id="2147483766" r:id="rId31"/>
    <p:sldLayoutId id="2147483767" r:id="rId32"/>
    <p:sldLayoutId id="2147483768" r:id="rId33"/>
    <p:sldLayoutId id="2147483769" r:id="rId34"/>
    <p:sldLayoutId id="2147483770" r:id="rId35"/>
    <p:sldLayoutId id="2147483771" r:id="rId36"/>
    <p:sldLayoutId id="2147483772" r:id="rId37"/>
    <p:sldLayoutId id="2147483773" r:id="rId38"/>
    <p:sldLayoutId id="2147483774" r:id="rId39"/>
    <p:sldLayoutId id="2147483775" r:id="rId40"/>
    <p:sldLayoutId id="2147483776" r:id="rId41"/>
    <p:sldLayoutId id="2147483777" r:id="rId42"/>
    <p:sldLayoutId id="2147483778" r:id="rId43"/>
    <p:sldLayoutId id="2147483779" r:id="rId44"/>
    <p:sldLayoutId id="2147483780" r:id="rId45"/>
    <p:sldLayoutId id="2147483781" r:id="rId46"/>
    <p:sldLayoutId id="2147483782" r:id="rId47"/>
    <p:sldLayoutId id="2147483783" r:id="rId48"/>
    <p:sldLayoutId id="2147483784" r:id="rId49"/>
    <p:sldLayoutId id="2147483785" r:id="rId50"/>
    <p:sldLayoutId id="2147483786" r:id="rId51"/>
    <p:sldLayoutId id="2147483787" r:id="rId52"/>
    <p:sldLayoutId id="2147483788" r:id="rId53"/>
    <p:sldLayoutId id="2147483789" r:id="rId54"/>
    <p:sldLayoutId id="2147483790" r:id="rId55"/>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4ABA7B-91AC-4596-8551-23173DBB33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89F585A-03F6-42C2-8ADA-E140D61404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664703-7E0C-42AE-8FD5-62CCF5CC185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B7ABC9F-2226-44B7-911A-F6D3DD3A178D}" type="datetime1">
              <a:rPr lang="en-US" smtClean="0"/>
              <a:t>7/18/2024</a:t>
            </a:fld>
            <a:endParaRPr lang="en-US"/>
          </a:p>
        </p:txBody>
      </p:sp>
      <p:sp>
        <p:nvSpPr>
          <p:cNvPr id="5" name="Footer Placeholder 4">
            <a:extLst>
              <a:ext uri="{FF2B5EF4-FFF2-40B4-BE49-F238E27FC236}">
                <a16:creationId xmlns:a16="http://schemas.microsoft.com/office/drawing/2014/main" id="{43BAFC26-FED1-41C9-938A-7240092DE70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FEEFB11-737F-4FD4-8116-3818342036A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5878F3-CD42-4FA4-B835-F0690F02FFD1}" type="slidenum">
              <a:rPr lang="en-US" smtClean="0"/>
              <a:t>‹#›</a:t>
            </a:fld>
            <a:endParaRPr lang="en-US"/>
          </a:p>
        </p:txBody>
      </p:sp>
    </p:spTree>
    <p:extLst>
      <p:ext uri="{BB962C8B-B14F-4D97-AF65-F5344CB8AC3E}">
        <p14:creationId xmlns:p14="http://schemas.microsoft.com/office/powerpoint/2010/main" val="1481848659"/>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E925C4-92C2-8D4A-FCFC-5953AD3DF4BA}"/>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1D8A533-7EC5-D409-8468-6B5F2492FB0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A612D5-872C-8824-0F3E-3BC1B9E6BD87}"/>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26608ED-04DC-4F49-9ABF-E9C11BBF6652}" type="datetime1">
              <a:rPr lang="en-US" smtClean="0"/>
              <a:t>7/18/2024</a:t>
            </a:fld>
            <a:endParaRPr lang="en-US"/>
          </a:p>
        </p:txBody>
      </p:sp>
      <p:sp>
        <p:nvSpPr>
          <p:cNvPr id="5" name="Footer Placeholder 4">
            <a:extLst>
              <a:ext uri="{FF2B5EF4-FFF2-40B4-BE49-F238E27FC236}">
                <a16:creationId xmlns:a16="http://schemas.microsoft.com/office/drawing/2014/main" id="{12FB1DFD-85FC-9B16-2295-DF7782C0AE02}"/>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A7D86D1-806F-521F-32B1-A208EA586981}"/>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3CFFA4C-0D1C-425F-BB04-E50ADD4A39B0}" type="slidenum">
              <a:rPr lang="en-US" smtClean="0"/>
              <a:t>‹#›</a:t>
            </a:fld>
            <a:endParaRPr lang="en-US"/>
          </a:p>
        </p:txBody>
      </p:sp>
    </p:spTree>
    <p:extLst>
      <p:ext uri="{BB962C8B-B14F-4D97-AF65-F5344CB8AC3E}">
        <p14:creationId xmlns:p14="http://schemas.microsoft.com/office/powerpoint/2010/main" val="2746092274"/>
      </p:ext>
    </p:extLst>
  </p:cSld>
  <p:clrMap bg1="lt1" tx1="dk1" bg2="lt2" tx2="dk2" accent1="accent1" accent2="accent2" accent3="accent3" accent4="accent4" accent5="accent5" accent6="accent6" hlink="hlink" folHlink="folHlink"/>
  <p:sldLayoutIdLst>
    <p:sldLayoutId id="2147484389" r:id="rId1"/>
    <p:sldLayoutId id="2147484390" r:id="rId2"/>
    <p:sldLayoutId id="2147484391" r:id="rId3"/>
    <p:sldLayoutId id="2147484392" r:id="rId4"/>
    <p:sldLayoutId id="2147484393" r:id="rId5"/>
    <p:sldLayoutId id="2147484394" r:id="rId6"/>
    <p:sldLayoutId id="2147484395" r:id="rId7"/>
    <p:sldLayoutId id="2147484396" r:id="rId8"/>
    <p:sldLayoutId id="2147484397" r:id="rId9"/>
    <p:sldLayoutId id="2147484398" r:id="rId10"/>
    <p:sldLayoutId id="2147484399" r:id="rId11"/>
    <p:sldLayoutId id="2147484400" r:id="rId12"/>
    <p:sldLayoutId id="2147484401" r:id="rId13"/>
    <p:sldLayoutId id="2147484402" r:id="rId14"/>
    <p:sldLayoutId id="2147484403" r:id="rId15"/>
    <p:sldLayoutId id="2147484404" r:id="rId16"/>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EE80AAE-75B1-FB06-159B-0688CBBDBF9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2535CB9-85F5-0B89-DF7C-CE7010A9DA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A4031B-7614-7C04-2C85-6B168A2A2C6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AC05756-D8F1-4827-A962-059F8183233A}" type="datetimeFigureOut">
              <a:rPr lang="en-US" smtClean="0"/>
              <a:t>7/18/2024</a:t>
            </a:fld>
            <a:endParaRPr lang="en-US"/>
          </a:p>
        </p:txBody>
      </p:sp>
      <p:sp>
        <p:nvSpPr>
          <p:cNvPr id="5" name="Footer Placeholder 4">
            <a:extLst>
              <a:ext uri="{FF2B5EF4-FFF2-40B4-BE49-F238E27FC236}">
                <a16:creationId xmlns:a16="http://schemas.microsoft.com/office/drawing/2014/main" id="{F0B5135E-445C-6BBF-9DF3-0B4D416F502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D6DA3921-6E1D-C987-B058-6374852B70D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E82901-C8F4-4199-8F99-2772CDA9894B}" type="slidenum">
              <a:rPr lang="en-US" smtClean="0"/>
              <a:t>‹#›</a:t>
            </a:fld>
            <a:endParaRPr lang="en-US"/>
          </a:p>
        </p:txBody>
      </p:sp>
    </p:spTree>
    <p:extLst>
      <p:ext uri="{BB962C8B-B14F-4D97-AF65-F5344CB8AC3E}">
        <p14:creationId xmlns:p14="http://schemas.microsoft.com/office/powerpoint/2010/main" val="1325019455"/>
      </p:ext>
    </p:extLst>
  </p:cSld>
  <p:clrMap bg1="lt1" tx1="dk1" bg2="lt2" tx2="dk2" accent1="accent1" accent2="accent2" accent3="accent3" accent4="accent4" accent5="accent5" accent6="accent6" hlink="hlink" folHlink="folHlink"/>
  <p:sldLayoutIdLst>
    <p:sldLayoutId id="2147484406" r:id="rId1"/>
    <p:sldLayoutId id="2147484407" r:id="rId2"/>
    <p:sldLayoutId id="2147484408" r:id="rId3"/>
    <p:sldLayoutId id="2147484409" r:id="rId4"/>
    <p:sldLayoutId id="2147484410" r:id="rId5"/>
    <p:sldLayoutId id="2147484411" r:id="rId6"/>
    <p:sldLayoutId id="2147484412" r:id="rId7"/>
    <p:sldLayoutId id="2147484413" r:id="rId8"/>
    <p:sldLayoutId id="2147484414" r:id="rId9"/>
    <p:sldLayoutId id="2147484415" r:id="rId10"/>
    <p:sldLayoutId id="214748441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2E41CF-F251-C0F8-9FDA-82A252AED0D5}"/>
              </a:ext>
            </a:extLst>
          </p:cNvPr>
          <p:cNvSpPr/>
          <p:nvPr userDrawn="1"/>
        </p:nvSpPr>
        <p:spPr>
          <a:xfrm>
            <a:off x="0" y="6239933"/>
            <a:ext cx="12192000" cy="618067"/>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noProof="0"/>
              <a:t>Click to edit Master title style</a:t>
            </a:r>
          </a:p>
        </p:txBody>
      </p:sp>
      <p:sp>
        <p:nvSpPr>
          <p:cNvPr id="3" name="Text Placeholder 2"/>
          <p:cNvSpPr>
            <a:spLocks noGrp="1"/>
          </p:cNvSpPr>
          <p:nvPr>
            <p:ph type="body" idx="1"/>
          </p:nvPr>
        </p:nvSpPr>
        <p:spPr>
          <a:xfrm>
            <a:off x="1216548" y="2108201"/>
            <a:ext cx="10058400" cy="3760891"/>
          </a:xfrm>
          <a:prstGeom prst="rect">
            <a:avLst/>
          </a:prstGeom>
        </p:spPr>
        <p:txBody>
          <a:bodyPr vert="horz" lIns="0" tIns="45720" rIns="0" bIns="45720" rtlCol="0">
            <a:normAutofit/>
          </a:bodyPr>
          <a:lstStyle/>
          <a:p>
            <a:pPr lvl="0"/>
            <a:r>
              <a:rPr lang="en-US" noProof="0"/>
              <a:t>Click to edit Master text styles</a:t>
            </a:r>
          </a:p>
          <a:p>
            <a:pPr lvl="2"/>
            <a:r>
              <a:rPr lang="en-US" noProof="0"/>
              <a:t>Second level</a:t>
            </a:r>
          </a:p>
          <a:p>
            <a:pPr lvl="3"/>
            <a:r>
              <a:rPr lang="en-US" noProof="0"/>
              <a:t>Third level</a:t>
            </a:r>
          </a:p>
          <a:p>
            <a:pPr lvl="4"/>
            <a:r>
              <a:rPr lang="en-US" noProof="0"/>
              <a:t>Fourth level</a:t>
            </a:r>
          </a:p>
        </p:txBody>
      </p:sp>
      <p:sp>
        <p:nvSpPr>
          <p:cNvPr id="8" name="Rectangle 7">
            <a:extLst>
              <a:ext uri="{FF2B5EF4-FFF2-40B4-BE49-F238E27FC236}">
                <a16:creationId xmlns:a16="http://schemas.microsoft.com/office/drawing/2014/main" id="{0F25E55C-1C16-46C6-B789-A4B2BCEF8F86}"/>
              </a:ext>
            </a:extLst>
          </p:cNvPr>
          <p:cNvSpPr/>
          <p:nvPr userDrawn="1"/>
        </p:nvSpPr>
        <p:spPr>
          <a:xfrm>
            <a:off x="0" y="1011981"/>
            <a:ext cx="103632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2333840254"/>
      </p:ext>
    </p:extLst>
  </p:cSld>
  <p:clrMap bg1="lt1" tx1="dk1" bg2="lt2" tx2="dk2" accent1="accent1" accent2="accent2" accent3="accent3" accent4="accent4" accent5="accent5" accent6="accent6" hlink="hlink" folHlink="folHlink"/>
  <p:sldLayoutIdLst>
    <p:sldLayoutId id="2147484418" r:id="rId1"/>
    <p:sldLayoutId id="2147484419" r:id="rId2"/>
    <p:sldLayoutId id="2147484420" r:id="rId3"/>
    <p:sldLayoutId id="2147484421" r:id="rId4"/>
    <p:sldLayoutId id="2147484422" r:id="rId5"/>
    <p:sldLayoutId id="2147484423" r:id="rId6"/>
    <p:sldLayoutId id="2147484424" r:id="rId7"/>
    <p:sldLayoutId id="2147484425" r:id="rId8"/>
    <p:sldLayoutId id="2147484426" r:id="rId9"/>
    <p:sldLayoutId id="2147484427" r:id="rId10"/>
    <p:sldLayoutId id="2147484428" r:id="rId11"/>
    <p:sldLayoutId id="2147484429" r:id="rId12"/>
    <p:sldLayoutId id="2147484430" r:id="rId13"/>
    <p:sldLayoutId id="2147484431" r:id="rId14"/>
    <p:sldLayoutId id="2147484432" r:id="rId15"/>
    <p:sldLayoutId id="2147484433" r:id="rId16"/>
    <p:sldLayoutId id="2147484434" r:id="rId17"/>
    <p:sldLayoutId id="2147484435" r:id="rId18"/>
    <p:sldLayoutId id="2147484436" r:id="rId19"/>
    <p:sldLayoutId id="2147484437" r:id="rId20"/>
    <p:sldLayoutId id="2147484438" r:id="rId21"/>
    <p:sldLayoutId id="2147484439" r:id="rId22"/>
  </p:sldLayoutIdLst>
  <p:transition spd="med">
    <p:pull/>
  </p:transition>
  <p:hf sldNum="0" hdr="0" dt="0"/>
  <p:txStyles>
    <p:titleStyle>
      <a:lvl1pPr algn="l" defTabSz="914400" rtl="0" eaLnBrk="1" latinLnBrk="0" hangingPunct="1">
        <a:lnSpc>
          <a:spcPct val="90000"/>
        </a:lnSpc>
        <a:spcBef>
          <a:spcPct val="0"/>
        </a:spcBef>
        <a:buNone/>
        <a:defRPr sz="4800" b="1" kern="1200" spc="-50" baseline="0">
          <a:solidFill>
            <a:schemeClr val="tx1">
              <a:lumMod val="75000"/>
              <a:lumOff val="25000"/>
            </a:schemeClr>
          </a:solidFill>
          <a:latin typeface="+mj-lt"/>
          <a:ea typeface="+mj-ea"/>
          <a:cs typeface="+mj-cs"/>
        </a:defRPr>
      </a:lvl1pPr>
    </p:titleStyle>
    <p:bodyStyle>
      <a:lvl1pPr marL="266700" indent="-266700" algn="l" defTabSz="914400" rtl="0" eaLnBrk="1" latinLnBrk="0" hangingPunct="1">
        <a:lnSpc>
          <a:spcPct val="100000"/>
        </a:lnSpc>
        <a:spcBef>
          <a:spcPts val="1200"/>
        </a:spcBef>
        <a:spcAft>
          <a:spcPts val="200"/>
        </a:spcAft>
        <a:buClr>
          <a:schemeClr val="accent1"/>
        </a:buClr>
        <a:buSzPct val="100000"/>
        <a:buFont typeface="Wingdings" panose="05000000000000000000" pitchFamily="2" charset="2"/>
        <a:buChar char="§"/>
        <a:defRPr sz="2000" kern="1200">
          <a:solidFill>
            <a:schemeClr val="tx1">
              <a:lumMod val="75000"/>
              <a:lumOff val="25000"/>
            </a:schemeClr>
          </a:solidFill>
          <a:latin typeface="+mj-lt"/>
          <a:ea typeface="+mn-ea"/>
          <a:cs typeface="+mn-cs"/>
        </a:defRPr>
      </a:lvl1pPr>
      <a:lvl2pPr marL="384048" indent="-182880" algn="l" defTabSz="914400" rtl="0" eaLnBrk="1" latinLnBrk="0" hangingPunct="1">
        <a:lnSpc>
          <a:spcPct val="100000"/>
        </a:lnSpc>
        <a:spcBef>
          <a:spcPts val="200"/>
        </a:spcBef>
        <a:spcAft>
          <a:spcPts val="400"/>
        </a:spcAft>
        <a:buClr>
          <a:schemeClr val="tx2"/>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
          <a:schemeClr val="accent2"/>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
          <a:schemeClr val="accent4"/>
        </a:buClr>
        <a:buFont typeface="Wingdings" panose="05000000000000000000" pitchFamily="2" charset="2"/>
        <a:buChar char="v"/>
        <a:defRPr sz="1600" b="1" i="1"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
          <a:schemeClr val="accent1"/>
        </a:buClr>
        <a:buFont typeface="Wingdings" panose="05000000000000000000" pitchFamily="2" charset="2"/>
        <a:buChar char="§"/>
        <a:defRPr sz="1400" i="1"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F26B43"/>
          </p15:clr>
        </p15:guide>
        <p15:guide id="2" pos="688">
          <p15:clr>
            <a:srgbClr val="F26B43"/>
          </p15:clr>
        </p15:guide>
        <p15:guide id="3" pos="7038">
          <p15:clr>
            <a:srgbClr val="F26B43"/>
          </p15:clr>
        </p15:guide>
        <p15:guide id="4" orient="horz" pos="3702">
          <p15:clr>
            <a:srgbClr val="F26B43"/>
          </p15:clr>
        </p15:guide>
        <p15:guide id="5" orient="horz" pos="406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AA8CD9C-90B8-4143-8761-D49B9170608C}"/>
              </a:ext>
            </a:extLst>
          </p:cNvPr>
          <p:cNvSpPr>
            <a:spLocks noGrp="1"/>
          </p:cNvSpPr>
          <p:nvPr>
            <p:ph type="title"/>
          </p:nvPr>
        </p:nvSpPr>
        <p:spPr>
          <a:xfrm>
            <a:off x="462708" y="365126"/>
            <a:ext cx="10891092" cy="56290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8E5431F-6518-084C-A046-3EE14847718D}"/>
              </a:ext>
            </a:extLst>
          </p:cNvPr>
          <p:cNvSpPr>
            <a:spLocks noGrp="1"/>
          </p:cNvSpPr>
          <p:nvPr>
            <p:ph type="body" idx="1"/>
          </p:nvPr>
        </p:nvSpPr>
        <p:spPr>
          <a:xfrm>
            <a:off x="838200" y="1333042"/>
            <a:ext cx="10515600" cy="459692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a:p>
            <a:pPr lvl="3"/>
            <a:endParaRPr lang="en-US" dirty="0"/>
          </a:p>
        </p:txBody>
      </p:sp>
      <p:cxnSp>
        <p:nvCxnSpPr>
          <p:cNvPr id="6" name="Google Shape;14;p41">
            <a:extLst>
              <a:ext uri="{FF2B5EF4-FFF2-40B4-BE49-F238E27FC236}">
                <a16:creationId xmlns:a16="http://schemas.microsoft.com/office/drawing/2014/main" id="{37999A32-77D7-7B4E-8BB3-707F81115AB7}"/>
              </a:ext>
            </a:extLst>
          </p:cNvPr>
          <p:cNvCxnSpPr>
            <a:cxnSpLocks/>
          </p:cNvCxnSpPr>
          <p:nvPr/>
        </p:nvCxnSpPr>
        <p:spPr>
          <a:xfrm>
            <a:off x="553722" y="985908"/>
            <a:ext cx="1439091" cy="0"/>
          </a:xfrm>
          <a:prstGeom prst="straightConnector1">
            <a:avLst/>
          </a:prstGeom>
          <a:noFill/>
          <a:ln w="50800" cap="rnd" cmpd="sng">
            <a:solidFill>
              <a:srgbClr val="0367A9"/>
            </a:solidFill>
            <a:prstDash val="solid"/>
            <a:miter lim="800000"/>
            <a:headEnd type="none" w="sm" len="sm"/>
            <a:tailEnd type="none" w="sm" len="sm"/>
          </a:ln>
        </p:spPr>
      </p:cxnSp>
      <p:sp>
        <p:nvSpPr>
          <p:cNvPr id="19" name="TextBox 18">
            <a:extLst>
              <a:ext uri="{FF2B5EF4-FFF2-40B4-BE49-F238E27FC236}">
                <a16:creationId xmlns:a16="http://schemas.microsoft.com/office/drawing/2014/main" id="{56D16189-5ADA-6831-1E3A-9D2C7421761B}"/>
              </a:ext>
            </a:extLst>
          </p:cNvPr>
          <p:cNvSpPr txBox="1"/>
          <p:nvPr/>
        </p:nvSpPr>
        <p:spPr>
          <a:xfrm>
            <a:off x="8030817" y="715617"/>
            <a:ext cx="2080592" cy="1709531"/>
          </a:xfrm>
          <a:prstGeom prst="rect">
            <a:avLst/>
          </a:prstGeom>
          <a:noFill/>
        </p:spPr>
        <p:txBody>
          <a:bodyPr wrap="square" rtlCol="0">
            <a:spAutoFit/>
          </a:bodyPr>
          <a:lstStyle/>
          <a:p>
            <a:endParaRPr lang="en-US" dirty="0"/>
          </a:p>
        </p:txBody>
      </p:sp>
      <p:cxnSp>
        <p:nvCxnSpPr>
          <p:cNvPr id="4" name="Google Shape;14;p41">
            <a:extLst>
              <a:ext uri="{FF2B5EF4-FFF2-40B4-BE49-F238E27FC236}">
                <a16:creationId xmlns:a16="http://schemas.microsoft.com/office/drawing/2014/main" id="{F7CE7929-D728-07AB-41EF-CA86F2B5837B}"/>
              </a:ext>
            </a:extLst>
          </p:cNvPr>
          <p:cNvCxnSpPr>
            <a:cxnSpLocks/>
          </p:cNvCxnSpPr>
          <p:nvPr userDrawn="1"/>
        </p:nvCxnSpPr>
        <p:spPr>
          <a:xfrm>
            <a:off x="553722" y="985908"/>
            <a:ext cx="1439091" cy="0"/>
          </a:xfrm>
          <a:prstGeom prst="straightConnector1">
            <a:avLst/>
          </a:prstGeom>
          <a:noFill/>
          <a:ln w="50800" cap="rnd" cmpd="sng">
            <a:solidFill>
              <a:srgbClr val="0367A9"/>
            </a:solidFill>
            <a:prstDash val="solid"/>
            <a:miter lim="800000"/>
            <a:headEnd type="none" w="sm" len="sm"/>
            <a:tailEnd type="none" w="sm" len="sm"/>
          </a:ln>
        </p:spPr>
      </p:cxnSp>
      <p:sp>
        <p:nvSpPr>
          <p:cNvPr id="5" name="TextBox 4">
            <a:extLst>
              <a:ext uri="{FF2B5EF4-FFF2-40B4-BE49-F238E27FC236}">
                <a16:creationId xmlns:a16="http://schemas.microsoft.com/office/drawing/2014/main" id="{3BA9544C-6EF0-0A5A-62A0-657726D2458E}"/>
              </a:ext>
            </a:extLst>
          </p:cNvPr>
          <p:cNvSpPr txBox="1"/>
          <p:nvPr userDrawn="1"/>
        </p:nvSpPr>
        <p:spPr>
          <a:xfrm>
            <a:off x="8030817" y="715617"/>
            <a:ext cx="2080592" cy="1709531"/>
          </a:xfrm>
          <a:prstGeom prst="rect">
            <a:avLst/>
          </a:prstGeom>
          <a:noFill/>
        </p:spPr>
        <p:txBody>
          <a:bodyPr wrap="square" rtlCol="0">
            <a:spAutoFit/>
          </a:bodyPr>
          <a:lstStyle/>
          <a:p>
            <a:endParaRPr lang="en-US" dirty="0"/>
          </a:p>
        </p:txBody>
      </p:sp>
    </p:spTree>
    <p:extLst>
      <p:ext uri="{BB962C8B-B14F-4D97-AF65-F5344CB8AC3E}">
        <p14:creationId xmlns:p14="http://schemas.microsoft.com/office/powerpoint/2010/main" val="456593535"/>
      </p:ext>
    </p:extLst>
  </p:cSld>
  <p:clrMap bg1="lt1" tx1="dk1" bg2="lt2" tx2="dk2" accent1="accent1" accent2="accent2" accent3="accent3" accent4="accent4" accent5="accent5" accent6="accent6" hlink="hlink" folHlink="folHlink"/>
  <p:sldLayoutIdLst>
    <p:sldLayoutId id="2147484453" r:id="rId1"/>
    <p:sldLayoutId id="2147484454" r:id="rId2"/>
    <p:sldLayoutId id="2147484455" r:id="rId3"/>
    <p:sldLayoutId id="2147484456" r:id="rId4"/>
    <p:sldLayoutId id="2147484457" r:id="rId5"/>
    <p:sldLayoutId id="2147484458" r:id="rId6"/>
    <p:sldLayoutId id="2147484459" r:id="rId7"/>
  </p:sldLayoutIdLst>
  <p:txStyles>
    <p:titleStyle>
      <a:lvl1pPr algn="l" defTabSz="914400" rtl="0" eaLnBrk="1" latinLnBrk="0" hangingPunct="1">
        <a:lnSpc>
          <a:spcPct val="90000"/>
        </a:lnSpc>
        <a:spcBef>
          <a:spcPct val="0"/>
        </a:spcBef>
        <a:buNone/>
        <a:defRPr sz="2600" b="1"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228600" indent="-228600" algn="l" defTabSz="914400" rtl="0" eaLnBrk="1" latinLnBrk="0" hangingPunct="1">
        <a:lnSpc>
          <a:spcPct val="100000"/>
        </a:lnSpc>
        <a:spcBef>
          <a:spcPts val="1000"/>
        </a:spcBef>
        <a:buClr>
          <a:srgbClr val="D65527"/>
        </a:buClr>
        <a:buFont typeface=".PingFang SC Regular"/>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100000"/>
        </a:lnSpc>
        <a:spcBef>
          <a:spcPts val="500"/>
        </a:spcBef>
        <a:buClr>
          <a:srgbClr val="D65527"/>
        </a:buClr>
        <a:buFont typeface="System Font Regular"/>
        <a:buChar char="▸"/>
        <a:defRPr sz="18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100000"/>
        </a:lnSpc>
        <a:spcBef>
          <a:spcPts val="500"/>
        </a:spcBef>
        <a:buClr>
          <a:srgbClr val="D65527"/>
        </a:buClr>
        <a:buFont typeface="System Font Regular"/>
        <a:buChar char="⁃"/>
        <a:defRPr sz="1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100000"/>
        </a:lnSpc>
        <a:spcBef>
          <a:spcPts val="500"/>
        </a:spcBef>
        <a:buClr>
          <a:srgbClr val="D65527"/>
        </a:buClr>
        <a:buFont typeface="Arial" panose="020B0604020202020204" pitchFamily="34" charset="0"/>
        <a:buChar char="•"/>
        <a:defRPr sz="14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b="0" i="0" kern="1200">
          <a:solidFill>
            <a:schemeClr val="tx1"/>
          </a:solidFill>
          <a:latin typeface="Lato Light" panose="020F030202020403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xml"/><Relationship Id="rId1" Type="http://schemas.openxmlformats.org/officeDocument/2006/relationships/slideLayout" Target="../slideLayouts/slideLayout417.xml"/><Relationship Id="rId4" Type="http://schemas.openxmlformats.org/officeDocument/2006/relationships/image" Target="../media/image4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7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7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7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78.xml"/></Relationships>
</file>

<file path=ppt/slides/_rels/slide1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xml"/><Relationship Id="rId1" Type="http://schemas.openxmlformats.org/officeDocument/2006/relationships/slideLayout" Target="../slideLayouts/slideLayout478.xml"/></Relationships>
</file>

<file path=ppt/slides/_rels/slide15.xml.rels><?xml version="1.0" encoding="UTF-8" standalone="yes"?>
<Relationships xmlns="http://schemas.openxmlformats.org/package/2006/relationships"><Relationship Id="rId3" Type="http://schemas.openxmlformats.org/officeDocument/2006/relationships/image" Target="../media/image57.jfif"/><Relationship Id="rId2" Type="http://schemas.openxmlformats.org/officeDocument/2006/relationships/notesSlide" Target="../notesSlides/notesSlide7.xml"/><Relationship Id="rId1" Type="http://schemas.openxmlformats.org/officeDocument/2006/relationships/slideLayout" Target="../slideLayouts/slideLayout478.xml"/><Relationship Id="rId4" Type="http://schemas.openxmlformats.org/officeDocument/2006/relationships/image" Target="../media/image58.jfif"/></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xml"/><Relationship Id="rId1" Type="http://schemas.openxmlformats.org/officeDocument/2006/relationships/slideLayout" Target="../slideLayouts/slideLayout422.xml"/><Relationship Id="rId4" Type="http://schemas.openxmlformats.org/officeDocument/2006/relationships/image" Target="../media/image60.png"/></Relationships>
</file>

<file path=ppt/slides/_rels/slide17.xml.rels><?xml version="1.0" encoding="UTF-8" standalone="yes"?>
<Relationships xmlns="http://schemas.openxmlformats.org/package/2006/relationships"><Relationship Id="rId8" Type="http://schemas.openxmlformats.org/officeDocument/2006/relationships/image" Target="../media/image75.png"/><Relationship Id="rId13" Type="http://schemas.microsoft.com/office/2007/relationships/diagramDrawing" Target="../diagrams/drawing3.xml"/><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diagramColors" Target="../diagrams/colors3.xml"/><Relationship Id="rId2" Type="http://schemas.openxmlformats.org/officeDocument/2006/relationships/notesSlide" Target="../notesSlides/notesSlide9.xml"/><Relationship Id="rId1" Type="http://schemas.openxmlformats.org/officeDocument/2006/relationships/slideLayout" Target="../slideLayouts/slideLayout418.xml"/><Relationship Id="rId6" Type="http://schemas.openxmlformats.org/officeDocument/2006/relationships/diagramColors" Target="../diagrams/colors2.xml"/><Relationship Id="rId11" Type="http://schemas.openxmlformats.org/officeDocument/2006/relationships/diagramQuickStyle" Target="../diagrams/quickStyle3.xml"/><Relationship Id="rId5" Type="http://schemas.openxmlformats.org/officeDocument/2006/relationships/diagramQuickStyle" Target="../diagrams/quickStyle2.xml"/><Relationship Id="rId10" Type="http://schemas.openxmlformats.org/officeDocument/2006/relationships/diagramLayout" Target="../diagrams/layout3.xml"/><Relationship Id="rId4" Type="http://schemas.openxmlformats.org/officeDocument/2006/relationships/diagramLayout" Target="../diagrams/layout2.xml"/><Relationship Id="rId9" Type="http://schemas.openxmlformats.org/officeDocument/2006/relationships/diagramData" Target="../diagrams/data3.xml"/></Relationships>
</file>

<file path=ppt/slides/_rels/slide1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10.xml"/><Relationship Id="rId1" Type="http://schemas.openxmlformats.org/officeDocument/2006/relationships/slideLayout" Target="../slideLayouts/slideLayout419.xml"/></Relationships>
</file>

<file path=ppt/slides/_rels/slide1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1.xml"/><Relationship Id="rId1" Type="http://schemas.openxmlformats.org/officeDocument/2006/relationships/slideLayout" Target="../slideLayouts/slideLayout445.xml"/></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6.jpe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41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445.xml"/></Relationships>
</file>

<file path=ppt/slides/_rels/slide21.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45.xml"/></Relationships>
</file>

<file path=ppt/slides/_rels/slide2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445.xml"/></Relationships>
</file>

<file path=ppt/slides/_rels/slide2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45.xml"/></Relationships>
</file>

<file path=ppt/slides/_rels/slide24.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12.xml"/><Relationship Id="rId1" Type="http://schemas.openxmlformats.org/officeDocument/2006/relationships/slideLayout" Target="../slideLayouts/slideLayout446.xml"/></Relationships>
</file>

<file path=ppt/slides/_rels/slide2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3.xml"/><Relationship Id="rId1" Type="http://schemas.openxmlformats.org/officeDocument/2006/relationships/slideLayout" Target="../slideLayouts/slideLayout445.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4.xml"/><Relationship Id="rId1" Type="http://schemas.openxmlformats.org/officeDocument/2006/relationships/slideLayout" Target="../slideLayouts/slideLayout46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5.xml"/><Relationship Id="rId1" Type="http://schemas.openxmlformats.org/officeDocument/2006/relationships/slideLayout" Target="../slideLayouts/slideLayout457.xml"/><Relationship Id="rId4" Type="http://schemas.openxmlformats.org/officeDocument/2006/relationships/image" Target="../media/image90.png"/></Relationships>
</file>

<file path=ppt/slides/_rels/slide2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6.xml"/><Relationship Id="rId1" Type="http://schemas.openxmlformats.org/officeDocument/2006/relationships/slideLayout" Target="../slideLayouts/slideLayout457.xml"/><Relationship Id="rId4" Type="http://schemas.openxmlformats.org/officeDocument/2006/relationships/image" Target="../media/image92.png"/></Relationships>
</file>

<file path=ppt/slides/_rels/slide2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7.xml"/><Relationship Id="rId1" Type="http://schemas.openxmlformats.org/officeDocument/2006/relationships/slideLayout" Target="../slideLayouts/slideLayout457.xml"/></Relationships>
</file>

<file path=ppt/slides/_rels/slide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481.xml"/><Relationship Id="rId5" Type="http://schemas.openxmlformats.org/officeDocument/2006/relationships/image" Target="../media/image49.png"/><Relationship Id="rId4" Type="http://schemas.openxmlformats.org/officeDocument/2006/relationships/image" Target="../media/image48.png"/></Relationships>
</file>

<file path=ppt/slides/_rels/slide3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8.xml"/><Relationship Id="rId1" Type="http://schemas.openxmlformats.org/officeDocument/2006/relationships/slideLayout" Target="../slideLayouts/slideLayout457.xml"/><Relationship Id="rId4" Type="http://schemas.openxmlformats.org/officeDocument/2006/relationships/image" Target="../media/image9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6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46.xml"/></Relationships>
</file>

<file path=ppt/slides/_rels/slide3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1.xml"/><Relationship Id="rId1" Type="http://schemas.openxmlformats.org/officeDocument/2006/relationships/slideLayout" Target="../slideLayouts/slideLayout429.xml"/></Relationships>
</file>

<file path=ppt/slides/_rels/slide3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2.xml"/><Relationship Id="rId1" Type="http://schemas.openxmlformats.org/officeDocument/2006/relationships/slideLayout" Target="../slideLayouts/slideLayout429.xml"/></Relationships>
</file>

<file path=ppt/slides/_rels/slide3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3.xml"/><Relationship Id="rId1" Type="http://schemas.openxmlformats.org/officeDocument/2006/relationships/slideLayout" Target="../slideLayouts/slideLayout429.xml"/></Relationships>
</file>

<file path=ppt/slides/_rels/slide3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4.xml"/><Relationship Id="rId1" Type="http://schemas.openxmlformats.org/officeDocument/2006/relationships/slideLayout" Target="../slideLayouts/slideLayout429.xml"/><Relationship Id="rId4" Type="http://schemas.openxmlformats.org/officeDocument/2006/relationships/image" Target="../media/image100.png"/></Relationships>
</file>

<file path=ppt/slides/_rels/slide37.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25.xml"/><Relationship Id="rId1" Type="http://schemas.openxmlformats.org/officeDocument/2006/relationships/slideLayout" Target="../slideLayouts/slideLayout430.xml"/></Relationships>
</file>

<file path=ppt/slides/_rels/slide38.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image" Target="../media/image102.jpeg"/><Relationship Id="rId7" Type="http://schemas.openxmlformats.org/officeDocument/2006/relationships/image" Target="../media/image106.png"/><Relationship Id="rId2" Type="http://schemas.openxmlformats.org/officeDocument/2006/relationships/notesSlide" Target="../notesSlides/notesSlide26.xml"/><Relationship Id="rId1" Type="http://schemas.openxmlformats.org/officeDocument/2006/relationships/slideLayout" Target="../slideLayouts/slideLayout429.xml"/><Relationship Id="rId6" Type="http://schemas.openxmlformats.org/officeDocument/2006/relationships/image" Target="../media/image105.svg"/><Relationship Id="rId5" Type="http://schemas.openxmlformats.org/officeDocument/2006/relationships/image" Target="../media/image104.png"/><Relationship Id="rId10" Type="http://schemas.openxmlformats.org/officeDocument/2006/relationships/image" Target="../media/image109.svg"/><Relationship Id="rId4" Type="http://schemas.openxmlformats.org/officeDocument/2006/relationships/image" Target="../media/image103.png"/><Relationship Id="rId9" Type="http://schemas.openxmlformats.org/officeDocument/2006/relationships/image" Target="../media/image108.png"/></Relationships>
</file>

<file path=ppt/slides/_rels/slide39.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429.xml"/></Relationships>
</file>

<file path=ppt/slides/_rels/slide4.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50.png"/><Relationship Id="rId1" Type="http://schemas.openxmlformats.org/officeDocument/2006/relationships/slideLayout" Target="../slideLayouts/slideLayout477.xml"/><Relationship Id="rId4" Type="http://schemas.openxmlformats.org/officeDocument/2006/relationships/image" Target="../media/image51.jpg"/></Relationships>
</file>

<file path=ppt/slides/_rels/slide4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7.xml"/><Relationship Id="rId1" Type="http://schemas.openxmlformats.org/officeDocument/2006/relationships/slideLayout" Target="../slideLayouts/slideLayout429.xml"/><Relationship Id="rId4" Type="http://schemas.openxmlformats.org/officeDocument/2006/relationships/image" Target="../media/image75.png"/></Relationships>
</file>

<file path=ppt/slides/_rels/slide41.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422.xml"/></Relationships>
</file>

<file path=ppt/slides/_rels/slide42.xml.rels><?xml version="1.0" encoding="UTF-8" standalone="yes"?>
<Relationships xmlns="http://schemas.openxmlformats.org/package/2006/relationships"><Relationship Id="rId3" Type="http://schemas.openxmlformats.org/officeDocument/2006/relationships/hyperlink" Target="http://www.winncomus.com/bead/" TargetMode="External"/><Relationship Id="rId2" Type="http://schemas.openxmlformats.org/officeDocument/2006/relationships/hyperlink" Target="mailto:bead@winncom.com" TargetMode="External"/><Relationship Id="rId1" Type="http://schemas.openxmlformats.org/officeDocument/2006/relationships/slideLayout" Target="../slideLayouts/slideLayout429.xml"/><Relationship Id="rId5" Type="http://schemas.openxmlformats.org/officeDocument/2006/relationships/image" Target="../media/image47.png"/><Relationship Id="rId4" Type="http://schemas.openxmlformats.org/officeDocument/2006/relationships/image" Target="../media/image75.png"/></Relationships>
</file>

<file path=ppt/slides/_rels/slide43.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75.png"/><Relationship Id="rId1" Type="http://schemas.openxmlformats.org/officeDocument/2006/relationships/slideLayout" Target="../slideLayouts/slideLayout429.xml"/><Relationship Id="rId4" Type="http://schemas.openxmlformats.org/officeDocument/2006/relationships/image" Target="../media/image4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82.xml"/></Relationships>
</file>

<file path=ppt/slides/_rels/slide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78.xml"/></Relationships>
</file>

<file path=ppt/slides/_rels/slide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78.xml"/></Relationships>
</file>

<file path=ppt/slides/_rels/slide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78.xml"/></Relationships>
</file>

<file path=ppt/slides/_rels/slide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xml"/><Relationship Id="rId1" Type="http://schemas.openxmlformats.org/officeDocument/2006/relationships/slideLayout" Target="../slideLayouts/slideLayout47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58" name="Rectangle 105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3">
            <a:extLst>
              <a:ext uri="{FF2B5EF4-FFF2-40B4-BE49-F238E27FC236}">
                <a16:creationId xmlns:a16="http://schemas.microsoft.com/office/drawing/2014/main" id="{04188DF7-9A48-703C-A543-1D814202F331}"/>
              </a:ext>
            </a:extLst>
          </p:cNvPr>
          <p:cNvPicPr>
            <a:picLocks noChangeAspect="1"/>
          </p:cNvPicPr>
          <p:nvPr/>
        </p:nvPicPr>
        <p:blipFill>
          <a:blip r:embed="rId3"/>
          <a:srcRect l="426" r="-1" b="-1"/>
          <a:stretch/>
        </p:blipFill>
        <p:spPr>
          <a:xfrm>
            <a:off x="20" y="1282"/>
            <a:ext cx="12191980" cy="6856718"/>
          </a:xfrm>
          <a:prstGeom prst="rect">
            <a:avLst/>
          </a:prstGeom>
        </p:spPr>
      </p:pic>
      <p:sp>
        <p:nvSpPr>
          <p:cNvPr id="3" name="Slide Number Placeholder 2">
            <a:extLst>
              <a:ext uri="{FF2B5EF4-FFF2-40B4-BE49-F238E27FC236}">
                <a16:creationId xmlns:a16="http://schemas.microsoft.com/office/drawing/2014/main" id="{FF8B1F07-DF39-498D-6851-6F3D85F3412D}"/>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marR="0" lvl="0" indent="0" fontAlgn="auto">
              <a:spcBef>
                <a:spcPts val="0"/>
              </a:spcBef>
              <a:spcAft>
                <a:spcPts val="600"/>
              </a:spcAft>
              <a:buClrTx/>
              <a:buSzTx/>
              <a:buFontTx/>
              <a:buNone/>
              <a:tabLst/>
              <a:defRPr/>
            </a:pPr>
            <a:fld id="{535878F3-CD42-4FA4-B835-F0690F02FFD1}" type="slidenum">
              <a:rPr kumimoji="0" lang="en-US" b="0" i="0" u="none" strike="noStrike" cap="none" spc="0" normalizeH="0" baseline="0" noProof="0">
                <a:ln>
                  <a:noFill/>
                </a:ln>
                <a:solidFill>
                  <a:srgbClr val="FFFFFF"/>
                </a:solidFill>
                <a:effectLst/>
                <a:uLnTx/>
                <a:uFillTx/>
              </a:rPr>
              <a:pPr marR="0" lvl="0" indent="0" fontAlgn="auto">
                <a:spcBef>
                  <a:spcPts val="0"/>
                </a:spcBef>
                <a:spcAft>
                  <a:spcPts val="600"/>
                </a:spcAft>
                <a:buClrTx/>
                <a:buSzTx/>
                <a:buFontTx/>
                <a:buNone/>
                <a:tabLst/>
                <a:defRPr/>
              </a:pPr>
              <a:t>1</a:t>
            </a:fld>
            <a:endParaRPr kumimoji="0" lang="en-US" b="0" i="0" u="none" strike="noStrike" cap="none" spc="0" normalizeH="0" baseline="0" noProof="0">
              <a:ln>
                <a:noFill/>
              </a:ln>
              <a:solidFill>
                <a:srgbClr val="FFFFFF"/>
              </a:solidFill>
              <a:effectLst/>
              <a:uLnTx/>
              <a:uFillTx/>
            </a:endParaRPr>
          </a:p>
        </p:txBody>
      </p:sp>
      <p:pic>
        <p:nvPicPr>
          <p:cNvPr id="7" name="Picture 6">
            <a:extLst>
              <a:ext uri="{FF2B5EF4-FFF2-40B4-BE49-F238E27FC236}">
                <a16:creationId xmlns:a16="http://schemas.microsoft.com/office/drawing/2014/main" id="{5943BABA-1DE2-7640-96A3-410B39B3682A}"/>
              </a:ext>
            </a:extLst>
          </p:cNvPr>
          <p:cNvPicPr>
            <a:picLocks noChangeAspect="1"/>
          </p:cNvPicPr>
          <p:nvPr/>
        </p:nvPicPr>
        <p:blipFill>
          <a:blip r:embed="rId4"/>
          <a:stretch>
            <a:fillRect/>
          </a:stretch>
        </p:blipFill>
        <p:spPr>
          <a:xfrm>
            <a:off x="4413228" y="5529862"/>
            <a:ext cx="3704137" cy="634270"/>
          </a:xfrm>
          <a:prstGeom prst="rect">
            <a:avLst/>
          </a:prstGeom>
        </p:spPr>
      </p:pic>
    </p:spTree>
    <p:extLst>
      <p:ext uri="{BB962C8B-B14F-4D97-AF65-F5344CB8AC3E}">
        <p14:creationId xmlns:p14="http://schemas.microsoft.com/office/powerpoint/2010/main" val="22342516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DB9622-A51B-B215-0DF9-F9D5306579A8}"/>
              </a:ext>
            </a:extLst>
          </p:cNvPr>
          <p:cNvSpPr>
            <a:spLocks noGrp="1"/>
          </p:cNvSpPr>
          <p:nvPr>
            <p:ph type="title"/>
          </p:nvPr>
        </p:nvSpPr>
        <p:spPr/>
        <p:txBody>
          <a:bodyPr>
            <a:normAutofit/>
          </a:bodyPr>
          <a:lstStyle/>
          <a:p>
            <a:r>
              <a:rPr lang="en-US" dirty="0">
                <a:latin typeface="Tahoma" panose="020B0604030504040204" pitchFamily="34" charset="0"/>
              </a:rPr>
              <a:t>Pennsylvania Scoring Criteria – Non-Priority Projects</a:t>
            </a:r>
          </a:p>
        </p:txBody>
      </p:sp>
      <p:sp>
        <p:nvSpPr>
          <p:cNvPr id="3" name="Content Placeholder 2">
            <a:extLst>
              <a:ext uri="{FF2B5EF4-FFF2-40B4-BE49-F238E27FC236}">
                <a16:creationId xmlns:a16="http://schemas.microsoft.com/office/drawing/2014/main" id="{683AEC74-C75D-5277-ECA9-CB3F1FBD9C1A}"/>
              </a:ext>
            </a:extLst>
          </p:cNvPr>
          <p:cNvSpPr>
            <a:spLocks noGrp="1"/>
          </p:cNvSpPr>
          <p:nvPr>
            <p:ph idx="1"/>
          </p:nvPr>
        </p:nvSpPr>
        <p:spPr/>
        <p:txBody>
          <a:bodyPr>
            <a:normAutofit/>
          </a:bodyPr>
          <a:lstStyle/>
          <a:p>
            <a:r>
              <a:rPr lang="en-US" dirty="0">
                <a:latin typeface="Tahoma" panose="020B0604030504040204" pitchFamily="34" charset="0"/>
              </a:rPr>
              <a:t>Minimal BEAD Program Outlay (35 pts)</a:t>
            </a:r>
          </a:p>
          <a:p>
            <a:r>
              <a:rPr lang="en-US" dirty="0">
                <a:latin typeface="Tahoma" panose="020B0604030504040204" pitchFamily="34" charset="0"/>
              </a:rPr>
              <a:t>Affordability (25 pts) </a:t>
            </a:r>
          </a:p>
          <a:p>
            <a:r>
              <a:rPr lang="en-US" dirty="0">
                <a:latin typeface="Tahoma" panose="020B0604030504040204" pitchFamily="34" charset="0"/>
              </a:rPr>
              <a:t>Fair Labor Practices (15 pts) </a:t>
            </a:r>
          </a:p>
          <a:p>
            <a:r>
              <a:rPr lang="en-US" dirty="0">
                <a:latin typeface="Tahoma" panose="020B0604030504040204" pitchFamily="34" charset="0"/>
              </a:rPr>
              <a:t>Speed to Deployment (1 pts) </a:t>
            </a:r>
          </a:p>
          <a:p>
            <a:r>
              <a:rPr lang="en-US" dirty="0">
                <a:latin typeface="Tahoma" panose="020B0604030504040204" pitchFamily="34" charset="0"/>
              </a:rPr>
              <a:t>Speed of Network and Other Technical Capabilities (5 pts) </a:t>
            </a:r>
          </a:p>
          <a:p>
            <a:r>
              <a:rPr lang="en-US" dirty="0">
                <a:latin typeface="Tahoma" panose="020B0604030504040204" pitchFamily="34" charset="0"/>
              </a:rPr>
              <a:t>Equitable Workforce Development and Job Quality (10 pts) </a:t>
            </a:r>
          </a:p>
          <a:p>
            <a:r>
              <a:rPr lang="en-US" dirty="0">
                <a:latin typeface="Tahoma" panose="020B0604030504040204" pitchFamily="34" charset="0"/>
              </a:rPr>
              <a:t>Local Government Coordination (4 pts)</a:t>
            </a:r>
          </a:p>
          <a:p>
            <a:r>
              <a:rPr lang="en-US" dirty="0">
                <a:latin typeface="Tahoma" panose="020B0604030504040204" pitchFamily="34" charset="0"/>
              </a:rPr>
              <a:t>Open Access (5 pts)</a:t>
            </a:r>
          </a:p>
          <a:p>
            <a:pPr lvl="1"/>
            <a:endParaRPr lang="en-US" dirty="0"/>
          </a:p>
          <a:p>
            <a:pPr lvl="1"/>
            <a:endParaRPr lang="en-US" dirty="0"/>
          </a:p>
          <a:p>
            <a:pPr lvl="1"/>
            <a:endParaRPr lang="en-US" dirty="0"/>
          </a:p>
        </p:txBody>
      </p:sp>
    </p:spTree>
    <p:extLst>
      <p:ext uri="{BB962C8B-B14F-4D97-AF65-F5344CB8AC3E}">
        <p14:creationId xmlns:p14="http://schemas.microsoft.com/office/powerpoint/2010/main" val="12444917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D95026-B652-F5AA-3F75-6ABE16914550}"/>
              </a:ext>
            </a:extLst>
          </p:cNvPr>
          <p:cNvSpPr>
            <a:spLocks noGrp="1"/>
          </p:cNvSpPr>
          <p:nvPr>
            <p:ph type="title"/>
          </p:nvPr>
        </p:nvSpPr>
        <p:spPr/>
        <p:txBody>
          <a:bodyPr>
            <a:normAutofit fontScale="90000"/>
          </a:bodyPr>
          <a:lstStyle/>
          <a:p>
            <a:r>
              <a:rPr lang="en-US" dirty="0">
                <a:latin typeface="Tahoma" panose="020B0604030504040204" pitchFamily="34" charset="0"/>
              </a:rPr>
              <a:t>Washington Scoring Criteria – Non-Priority Projects (100 pts Max.</a:t>
            </a:r>
          </a:p>
        </p:txBody>
      </p:sp>
      <p:sp>
        <p:nvSpPr>
          <p:cNvPr id="3" name="Content Placeholder 2">
            <a:extLst>
              <a:ext uri="{FF2B5EF4-FFF2-40B4-BE49-F238E27FC236}">
                <a16:creationId xmlns:a16="http://schemas.microsoft.com/office/drawing/2014/main" id="{99FFB55C-3162-509E-A8D6-96305A5ADE48}"/>
              </a:ext>
            </a:extLst>
          </p:cNvPr>
          <p:cNvSpPr>
            <a:spLocks noGrp="1"/>
          </p:cNvSpPr>
          <p:nvPr>
            <p:ph idx="1"/>
          </p:nvPr>
        </p:nvSpPr>
        <p:spPr/>
        <p:txBody>
          <a:bodyPr>
            <a:normAutofit/>
          </a:bodyPr>
          <a:lstStyle/>
          <a:p>
            <a:r>
              <a:rPr lang="en-US" dirty="0">
                <a:latin typeface="Tahoma" panose="020B0604030504040204" pitchFamily="34" charset="0"/>
              </a:rPr>
              <a:t>Minimal BEAD Program Outlay (40 pts)</a:t>
            </a:r>
          </a:p>
          <a:p>
            <a:r>
              <a:rPr lang="en-US" dirty="0">
                <a:latin typeface="Tahoma" panose="020B0604030504040204" pitchFamily="34" charset="0"/>
              </a:rPr>
              <a:t>Affordability (20 pts)</a:t>
            </a:r>
          </a:p>
          <a:p>
            <a:r>
              <a:rPr lang="en-US" dirty="0">
                <a:latin typeface="Tahoma" panose="020B0604030504040204" pitchFamily="34" charset="0"/>
              </a:rPr>
              <a:t>Fair Labor Practices (15 pts)</a:t>
            </a:r>
          </a:p>
          <a:p>
            <a:r>
              <a:rPr lang="en-US" dirty="0">
                <a:latin typeface="Tahoma" panose="020B0604030504040204" pitchFamily="34" charset="0"/>
              </a:rPr>
              <a:t>Speed to Deployment (1 pts)</a:t>
            </a:r>
          </a:p>
          <a:p>
            <a:r>
              <a:rPr lang="en-US" dirty="0">
                <a:latin typeface="Tahoma" panose="020B0604030504040204" pitchFamily="34" charset="0"/>
              </a:rPr>
              <a:t>Open Access (7 pts)</a:t>
            </a:r>
          </a:p>
          <a:p>
            <a:r>
              <a:rPr lang="en-US" dirty="0">
                <a:latin typeface="Tahoma" panose="020B0604030504040204" pitchFamily="34" charset="0"/>
              </a:rPr>
              <a:t>Local and Tribal Coordination (7 pts)</a:t>
            </a:r>
          </a:p>
          <a:p>
            <a:r>
              <a:rPr lang="en-US" dirty="0">
                <a:latin typeface="Tahoma" panose="020B0604030504040204" pitchFamily="34" charset="0"/>
              </a:rPr>
              <a:t>Adoption and Digital Navigation (7 pts)</a:t>
            </a:r>
          </a:p>
          <a:p>
            <a:r>
              <a:rPr lang="en-US" dirty="0">
                <a:latin typeface="Tahoma" panose="020B0604030504040204" pitchFamily="34" charset="0"/>
              </a:rPr>
              <a:t>Speed of Network (3 pts)</a:t>
            </a:r>
          </a:p>
        </p:txBody>
      </p:sp>
    </p:spTree>
    <p:extLst>
      <p:ext uri="{BB962C8B-B14F-4D97-AF65-F5344CB8AC3E}">
        <p14:creationId xmlns:p14="http://schemas.microsoft.com/office/powerpoint/2010/main" val="13812361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CAA772-2803-3DEF-2B99-23DC86A1E32D}"/>
              </a:ext>
            </a:extLst>
          </p:cNvPr>
          <p:cNvSpPr>
            <a:spLocks noGrp="1"/>
          </p:cNvSpPr>
          <p:nvPr>
            <p:ph type="title"/>
          </p:nvPr>
        </p:nvSpPr>
        <p:spPr/>
        <p:txBody>
          <a:bodyPr/>
          <a:lstStyle/>
          <a:p>
            <a:r>
              <a:rPr lang="en-US" dirty="0">
                <a:latin typeface="Tahoma" panose="020B0604030504040204" pitchFamily="34" charset="0"/>
              </a:rPr>
              <a:t>Washington Scoring Criteria – Hybrid Technology Project Bids</a:t>
            </a:r>
          </a:p>
        </p:txBody>
      </p:sp>
      <p:sp>
        <p:nvSpPr>
          <p:cNvPr id="3" name="Content Placeholder 2">
            <a:extLst>
              <a:ext uri="{FF2B5EF4-FFF2-40B4-BE49-F238E27FC236}">
                <a16:creationId xmlns:a16="http://schemas.microsoft.com/office/drawing/2014/main" id="{11E18F60-0C61-6076-4BE6-72A7157D90ED}"/>
              </a:ext>
            </a:extLst>
          </p:cNvPr>
          <p:cNvSpPr>
            <a:spLocks noGrp="1"/>
          </p:cNvSpPr>
          <p:nvPr>
            <p:ph idx="1"/>
          </p:nvPr>
        </p:nvSpPr>
        <p:spPr>
          <a:xfrm>
            <a:off x="838200" y="1333042"/>
            <a:ext cx="10661374" cy="4041598"/>
          </a:xfrm>
        </p:spPr>
        <p:txBody>
          <a:bodyPr/>
          <a:lstStyle/>
          <a:p>
            <a:r>
              <a:rPr lang="en-US" dirty="0">
                <a:latin typeface="Tahoma" panose="020B0604030504040204" pitchFamily="34" charset="0"/>
              </a:rPr>
              <a:t>“The WSBO will still accept applications that propose a combination of fiber optic technology, hybrid fiber coaxial DOCSIS 3.1 or higher, wireless using licensed spectrum, or LEO satellite to serve a project area optimally.” (WA IP Vol. 2, pg. 45)</a:t>
            </a:r>
          </a:p>
          <a:p>
            <a:r>
              <a:rPr lang="en-US" dirty="0">
                <a:latin typeface="Tahoma" panose="020B0604030504040204" pitchFamily="34" charset="0"/>
              </a:rPr>
              <a:t>Applications with multiple technologies for service will be considered for an award in they:</a:t>
            </a:r>
          </a:p>
          <a:p>
            <a:pPr lvl="1"/>
            <a:r>
              <a:rPr lang="en-US" dirty="0">
                <a:latin typeface="Tahoma" panose="020B0604030504040204" pitchFamily="34" charset="0"/>
              </a:rPr>
              <a:t>Satisfy the speed of service requirements.</a:t>
            </a:r>
          </a:p>
          <a:p>
            <a:pPr lvl="1"/>
            <a:r>
              <a:rPr lang="en-US" dirty="0">
                <a:latin typeface="Tahoma" panose="020B0604030504040204" pitchFamily="34" charset="0"/>
              </a:rPr>
              <a:t>Can attain a lower cost per location within the applied project area(s) due to combination of technologies</a:t>
            </a:r>
          </a:p>
          <a:p>
            <a:r>
              <a:rPr lang="en-US" dirty="0">
                <a:latin typeface="Tahoma" panose="020B0604030504040204" pitchFamily="34" charset="0"/>
              </a:rPr>
              <a:t>To be scored using the “Other Last-Mile Broadband Deployment” project scoring criteria</a:t>
            </a:r>
          </a:p>
          <a:p>
            <a:r>
              <a:rPr lang="en-US" dirty="0">
                <a:latin typeface="Tahoma" panose="020B0604030504040204" pitchFamily="34" charset="0"/>
              </a:rPr>
              <a:t>Multiple technology bids will obtain “Speed of Network” scores based on the slowest broadband speed.</a:t>
            </a:r>
          </a:p>
        </p:txBody>
      </p:sp>
    </p:spTree>
    <p:extLst>
      <p:ext uri="{BB962C8B-B14F-4D97-AF65-F5344CB8AC3E}">
        <p14:creationId xmlns:p14="http://schemas.microsoft.com/office/powerpoint/2010/main" val="14141310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7D9573-1523-F3DF-7E59-7D451F5AB486}"/>
              </a:ext>
            </a:extLst>
          </p:cNvPr>
          <p:cNvSpPr>
            <a:spLocks noGrp="1"/>
          </p:cNvSpPr>
          <p:nvPr>
            <p:ph type="title"/>
          </p:nvPr>
        </p:nvSpPr>
        <p:spPr/>
        <p:txBody>
          <a:bodyPr/>
          <a:lstStyle/>
          <a:p>
            <a:r>
              <a:rPr lang="en-US" dirty="0">
                <a:latin typeface="Tahoma" panose="020B0604030504040204" pitchFamily="34" charset="0"/>
              </a:rPr>
              <a:t>Considering </a:t>
            </a:r>
            <a:r>
              <a:rPr lang="en-US" dirty="0" err="1">
                <a:latin typeface="Tahoma" panose="020B0604030504040204" pitchFamily="34" charset="0"/>
              </a:rPr>
              <a:t>ngFWA</a:t>
            </a:r>
            <a:r>
              <a:rPr lang="en-US" dirty="0">
                <a:latin typeface="Tahoma" panose="020B0604030504040204" pitchFamily="34" charset="0"/>
              </a:rPr>
              <a:t> for your BEAD strategy</a:t>
            </a:r>
          </a:p>
        </p:txBody>
      </p:sp>
      <p:sp>
        <p:nvSpPr>
          <p:cNvPr id="3" name="Content Placeholder 2">
            <a:extLst>
              <a:ext uri="{FF2B5EF4-FFF2-40B4-BE49-F238E27FC236}">
                <a16:creationId xmlns:a16="http://schemas.microsoft.com/office/drawing/2014/main" id="{A79308CC-CFDF-29AA-71A8-2E2BF73B5AC1}"/>
              </a:ext>
            </a:extLst>
          </p:cNvPr>
          <p:cNvSpPr>
            <a:spLocks noGrp="1"/>
          </p:cNvSpPr>
          <p:nvPr>
            <p:ph idx="1"/>
          </p:nvPr>
        </p:nvSpPr>
        <p:spPr/>
        <p:txBody>
          <a:bodyPr/>
          <a:lstStyle/>
          <a:p>
            <a:r>
              <a:rPr lang="en-US" dirty="0">
                <a:latin typeface="Tahoma" panose="020B0604030504040204" pitchFamily="34" charset="0"/>
              </a:rPr>
              <a:t>Both Washington and Pennsylvania are explicit about the scoring of hybrid technology bids. </a:t>
            </a:r>
          </a:p>
          <a:p>
            <a:r>
              <a:rPr lang="en-US" dirty="0">
                <a:latin typeface="Tahoma" panose="020B0604030504040204" pitchFamily="34" charset="0"/>
              </a:rPr>
              <a:t>For states with multiple rounds of bidding, alternate technology providers should look to feasibly bid all unbid project areas or clusters of BSLs.  </a:t>
            </a:r>
          </a:p>
          <a:p>
            <a:r>
              <a:rPr lang="en-US" dirty="0">
                <a:latin typeface="Tahoma" panose="020B0604030504040204" pitchFamily="34" charset="0"/>
              </a:rPr>
              <a:t>Design project bids that exceed the 100/20 Mbps speed standard to demonstrate futureproof and scalable broadband infrastructure.</a:t>
            </a:r>
          </a:p>
          <a:p>
            <a:r>
              <a:rPr lang="en-US" dirty="0">
                <a:latin typeface="Tahoma" panose="020B0604030504040204" pitchFamily="34" charset="0"/>
              </a:rPr>
              <a:t>Depending on the state, this approach will max out the “Speed of network or other technical capabilities” scoring segment and offer valuable application points for non-fiber applicants.</a:t>
            </a:r>
          </a:p>
        </p:txBody>
      </p:sp>
    </p:spTree>
    <p:extLst>
      <p:ext uri="{BB962C8B-B14F-4D97-AF65-F5344CB8AC3E}">
        <p14:creationId xmlns:p14="http://schemas.microsoft.com/office/powerpoint/2010/main" val="24437803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F89E1A-4A77-4DFC-EDBA-9A5AF343F8DE}"/>
              </a:ext>
            </a:extLst>
          </p:cNvPr>
          <p:cNvSpPr>
            <a:spLocks noGrp="1"/>
          </p:cNvSpPr>
          <p:nvPr>
            <p:ph type="title"/>
          </p:nvPr>
        </p:nvSpPr>
        <p:spPr/>
        <p:txBody>
          <a:bodyPr/>
          <a:lstStyle/>
          <a:p>
            <a:r>
              <a:rPr lang="en-US" dirty="0">
                <a:latin typeface="Tahoma" panose="020B0604030504040204" pitchFamily="34" charset="0"/>
              </a:rPr>
              <a:t>Our Engagement with SBOs has been extensive and productive</a:t>
            </a:r>
          </a:p>
        </p:txBody>
      </p:sp>
      <p:pic>
        <p:nvPicPr>
          <p:cNvPr id="8" name="Picture 7" descr="A map of the united states&#10;&#10;Description automatically generated">
            <a:extLst>
              <a:ext uri="{FF2B5EF4-FFF2-40B4-BE49-F238E27FC236}">
                <a16:creationId xmlns:a16="http://schemas.microsoft.com/office/drawing/2014/main" id="{EBE1096F-A30B-0886-BA41-0F0601217A3C}"/>
              </a:ext>
            </a:extLst>
          </p:cNvPr>
          <p:cNvPicPr>
            <a:picLocks noChangeAspect="1"/>
          </p:cNvPicPr>
          <p:nvPr/>
        </p:nvPicPr>
        <p:blipFill>
          <a:blip r:embed="rId3"/>
          <a:stretch>
            <a:fillRect/>
          </a:stretch>
        </p:blipFill>
        <p:spPr>
          <a:xfrm>
            <a:off x="2446319" y="1024668"/>
            <a:ext cx="7299362" cy="4019844"/>
          </a:xfrm>
          <a:prstGeom prst="rect">
            <a:avLst/>
          </a:prstGeom>
        </p:spPr>
      </p:pic>
      <p:grpSp>
        <p:nvGrpSpPr>
          <p:cNvPr id="5" name="Group 4">
            <a:extLst>
              <a:ext uri="{FF2B5EF4-FFF2-40B4-BE49-F238E27FC236}">
                <a16:creationId xmlns:a16="http://schemas.microsoft.com/office/drawing/2014/main" id="{67C00A29-991F-8CFC-45ED-EF068C0D00CE}"/>
              </a:ext>
            </a:extLst>
          </p:cNvPr>
          <p:cNvGrpSpPr/>
          <p:nvPr/>
        </p:nvGrpSpPr>
        <p:grpSpPr>
          <a:xfrm>
            <a:off x="763139" y="4566331"/>
            <a:ext cx="3966012" cy="924339"/>
            <a:chOff x="531813" y="1382226"/>
            <a:chExt cx="3334831" cy="1277847"/>
          </a:xfrm>
        </p:grpSpPr>
        <p:sp>
          <p:nvSpPr>
            <p:cNvPr id="6" name="Content Placeholder 9">
              <a:extLst>
                <a:ext uri="{FF2B5EF4-FFF2-40B4-BE49-F238E27FC236}">
                  <a16:creationId xmlns:a16="http://schemas.microsoft.com/office/drawing/2014/main" id="{58C94820-D880-9A8D-530F-09533EFB3BC2}"/>
                </a:ext>
              </a:extLst>
            </p:cNvPr>
            <p:cNvSpPr txBox="1">
              <a:spLocks/>
            </p:cNvSpPr>
            <p:nvPr/>
          </p:nvSpPr>
          <p:spPr>
            <a:xfrm>
              <a:off x="602310" y="1479209"/>
              <a:ext cx="3264334" cy="1048876"/>
            </a:xfrm>
            <a:prstGeom prst="rect">
              <a:avLst/>
            </a:prstGeom>
          </p:spPr>
          <p:txBody>
            <a:bodyPr>
              <a:normAutofit fontScale="92500"/>
            </a:bodyPr>
            <a:lstStyle>
              <a:lvl1pPr marL="228600" indent="-228600" algn="l" defTabSz="914400" rtl="0" eaLnBrk="1" latinLnBrk="0" hangingPunct="1">
                <a:lnSpc>
                  <a:spcPct val="100000"/>
                </a:lnSpc>
                <a:spcBef>
                  <a:spcPts val="1000"/>
                </a:spcBef>
                <a:buClr>
                  <a:srgbClr val="D65527"/>
                </a:buClr>
                <a:buFont typeface=".PingFang SC Regular"/>
                <a:buChar char="〉"/>
                <a:defRPr sz="2000" b="0" i="0" kern="1200">
                  <a:solidFill>
                    <a:schemeClr val="tx1"/>
                  </a:solidFill>
                  <a:latin typeface="Lato4" panose="020F0302020204030203" pitchFamily="34" charset="77"/>
                  <a:ea typeface="+mn-ea"/>
                  <a:cs typeface="+mn-cs"/>
                </a:defRPr>
              </a:lvl1pPr>
              <a:lvl2pPr marL="685800" indent="-228600" algn="l" defTabSz="914400" rtl="0" eaLnBrk="1" latinLnBrk="0" hangingPunct="1">
                <a:lnSpc>
                  <a:spcPct val="100000"/>
                </a:lnSpc>
                <a:spcBef>
                  <a:spcPts val="500"/>
                </a:spcBef>
                <a:buClr>
                  <a:srgbClr val="D65527"/>
                </a:buClr>
                <a:buFont typeface="System Font Regular"/>
                <a:buChar char="▸"/>
                <a:defRPr sz="1800" b="0" i="0" kern="1200">
                  <a:solidFill>
                    <a:schemeClr val="tx1"/>
                  </a:solidFill>
                  <a:latin typeface="Lato4" panose="020F0302020204030203" pitchFamily="34" charset="77"/>
                  <a:ea typeface="+mn-ea"/>
                  <a:cs typeface="+mn-cs"/>
                </a:defRPr>
              </a:lvl2pPr>
              <a:lvl3pPr marL="1143000" indent="-228600" algn="l" defTabSz="914400" rtl="0" eaLnBrk="1" latinLnBrk="0" hangingPunct="1">
                <a:lnSpc>
                  <a:spcPct val="100000"/>
                </a:lnSpc>
                <a:spcBef>
                  <a:spcPts val="500"/>
                </a:spcBef>
                <a:buClr>
                  <a:srgbClr val="D65527"/>
                </a:buClr>
                <a:buFont typeface="System Font Regular"/>
                <a:buChar char="⁃"/>
                <a:defRPr sz="1600" b="0" i="0" kern="1200">
                  <a:solidFill>
                    <a:schemeClr val="tx1"/>
                  </a:solidFill>
                  <a:latin typeface="Lato4" panose="020F0302020204030203" pitchFamily="34" charset="77"/>
                  <a:ea typeface="+mn-ea"/>
                  <a:cs typeface="+mn-cs"/>
                </a:defRPr>
              </a:lvl3pPr>
              <a:lvl4pPr marL="1600200" indent="-228600" algn="l" defTabSz="914400" rtl="0" eaLnBrk="1" latinLnBrk="0" hangingPunct="1">
                <a:lnSpc>
                  <a:spcPct val="100000"/>
                </a:lnSpc>
                <a:spcBef>
                  <a:spcPts val="500"/>
                </a:spcBef>
                <a:buClr>
                  <a:srgbClr val="D65527"/>
                </a:buClr>
                <a:buFont typeface="Arial" panose="020B0604020202020204" pitchFamily="34" charset="0"/>
                <a:buChar char="•"/>
                <a:defRPr sz="1400" b="0" i="0" kern="1200">
                  <a:solidFill>
                    <a:schemeClr val="tx1"/>
                  </a:solidFill>
                  <a:latin typeface="Lato4" panose="020F0302020204030203" pitchFamily="34"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b="0" i="0" kern="1200">
                  <a:solidFill>
                    <a:schemeClr val="tx1"/>
                  </a:solidFill>
                  <a:latin typeface="Lato Light" panose="020F030202020403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D65527"/>
                </a:buClr>
                <a:buSzTx/>
                <a:buFont typeface=".PingFang SC Regular"/>
                <a:buNone/>
                <a:tabLst/>
                <a:defRPr/>
              </a:pPr>
              <a:r>
                <a:rPr kumimoji="0" lang="en-US" sz="1000" b="1" i="0" u="none" strike="noStrike" kern="1200" cap="none" spc="0" normalizeH="0" baseline="0" noProof="0" dirty="0">
                  <a:ln>
                    <a:noFill/>
                  </a:ln>
                  <a:solidFill>
                    <a:srgbClr val="000000"/>
                  </a:solidFill>
                  <a:effectLst/>
                  <a:uLnTx/>
                  <a:uFillTx/>
                  <a:latin typeface="Lato4" panose="020F0302020204030203" pitchFamily="34" charset="77"/>
                  <a:ea typeface="+mn-ea"/>
                  <a:cs typeface="+mn-cs"/>
                  <a:sym typeface="Tahoma"/>
                </a:rPr>
                <a:t>KEY</a:t>
              </a:r>
            </a:p>
            <a:p>
              <a:pPr marL="0" marR="0" lvl="0" indent="0" algn="l" defTabSz="914400" rtl="0" eaLnBrk="1" fontAlgn="auto" latinLnBrk="0" hangingPunct="1">
                <a:lnSpc>
                  <a:spcPct val="100000"/>
                </a:lnSpc>
                <a:spcBef>
                  <a:spcPts val="1000"/>
                </a:spcBef>
                <a:spcAft>
                  <a:spcPts val="0"/>
                </a:spcAft>
                <a:buClr>
                  <a:srgbClr val="D65527"/>
                </a:buClr>
                <a:buSzTx/>
                <a:buFont typeface=".PingFang SC Regular"/>
                <a:buNone/>
                <a:tabLst/>
                <a:defRPr/>
              </a:pPr>
              <a:r>
                <a:rPr kumimoji="0" lang="en-US" sz="1000" b="1" i="0" u="none" strike="noStrike" kern="1200" cap="none" spc="0" normalizeH="0" baseline="0" noProof="0" dirty="0">
                  <a:ln>
                    <a:noFill/>
                  </a:ln>
                  <a:solidFill>
                    <a:srgbClr val="0367A9"/>
                  </a:solidFill>
                  <a:effectLst/>
                  <a:uLnTx/>
                  <a:uFillTx/>
                  <a:latin typeface="Lato4" panose="020F0302020204030203" pitchFamily="34" charset="77"/>
                  <a:ea typeface="+mn-ea"/>
                  <a:cs typeface="+mn-cs"/>
                  <a:sym typeface="Tahoma"/>
                </a:rPr>
                <a:t>Blue </a:t>
              </a:r>
              <a:r>
                <a:rPr kumimoji="0" lang="en-US" sz="1000" b="0" i="0" u="none" strike="noStrike" kern="1200" cap="none" spc="0" normalizeH="0" baseline="0" noProof="0" dirty="0">
                  <a:ln>
                    <a:noFill/>
                  </a:ln>
                  <a:solidFill>
                    <a:srgbClr val="000000"/>
                  </a:solidFill>
                  <a:effectLst/>
                  <a:uLnTx/>
                  <a:uFillTx/>
                  <a:latin typeface="Lato4" panose="020F0302020204030203" pitchFamily="34" charset="77"/>
                  <a:ea typeface="+mn-ea"/>
                  <a:cs typeface="+mn-cs"/>
                  <a:sym typeface="Tahoma"/>
                </a:rPr>
                <a:t>= In-state tour with SBO  successfully completed (22 Completed)</a:t>
              </a:r>
            </a:p>
            <a:p>
              <a:pPr marL="0" marR="0" lvl="0" indent="0" algn="l" defTabSz="914400" rtl="0" eaLnBrk="1" fontAlgn="auto" latinLnBrk="0" hangingPunct="1">
                <a:lnSpc>
                  <a:spcPct val="100000"/>
                </a:lnSpc>
                <a:spcBef>
                  <a:spcPts val="1000"/>
                </a:spcBef>
                <a:spcAft>
                  <a:spcPts val="0"/>
                </a:spcAft>
                <a:buClr>
                  <a:srgbClr val="D65527"/>
                </a:buClr>
                <a:buSzTx/>
                <a:buFont typeface=".PingFang SC Regular"/>
                <a:buNone/>
                <a:tabLst/>
                <a:defRPr/>
              </a:pPr>
              <a:r>
                <a:rPr kumimoji="0" lang="en-US" sz="1000" b="1" i="0" u="none" strike="noStrike" kern="1200" cap="none" spc="0" normalizeH="0" baseline="0" noProof="0" dirty="0">
                  <a:ln>
                    <a:noFill/>
                  </a:ln>
                  <a:solidFill>
                    <a:srgbClr val="00B050"/>
                  </a:solidFill>
                  <a:effectLst/>
                  <a:uLnTx/>
                  <a:uFillTx/>
                  <a:latin typeface="Lato4" panose="020F0302020204030203" pitchFamily="34" charset="77"/>
                  <a:ea typeface="+mn-ea"/>
                  <a:cs typeface="+mn-cs"/>
                  <a:sym typeface="Tahoma"/>
                </a:rPr>
                <a:t>Green</a:t>
              </a:r>
              <a:r>
                <a:rPr kumimoji="0" lang="en-US" sz="1000" b="0" i="0" u="none" strike="noStrike" kern="1200" cap="none" spc="0" normalizeH="0" baseline="0" noProof="0" dirty="0">
                  <a:ln>
                    <a:noFill/>
                  </a:ln>
                  <a:solidFill>
                    <a:srgbClr val="000000"/>
                  </a:solidFill>
                  <a:effectLst/>
                  <a:uLnTx/>
                  <a:uFillTx/>
                  <a:latin typeface="Lato4" panose="020F0302020204030203" pitchFamily="34" charset="77"/>
                  <a:ea typeface="+mn-ea"/>
                  <a:cs typeface="+mn-cs"/>
                  <a:sym typeface="Tahoma"/>
                </a:rPr>
                <a:t> = In-state tour with SBO scheduled &amp; coming (2 scheduled)</a:t>
              </a:r>
            </a:p>
          </p:txBody>
        </p:sp>
        <p:sp>
          <p:nvSpPr>
            <p:cNvPr id="7" name="Rectangle 6">
              <a:extLst>
                <a:ext uri="{FF2B5EF4-FFF2-40B4-BE49-F238E27FC236}">
                  <a16:creationId xmlns:a16="http://schemas.microsoft.com/office/drawing/2014/main" id="{B44BC76C-330C-3539-FDEF-2E99EF444616}"/>
                </a:ext>
              </a:extLst>
            </p:cNvPr>
            <p:cNvSpPr/>
            <p:nvPr/>
          </p:nvSpPr>
          <p:spPr>
            <a:xfrm>
              <a:off x="531813" y="1382226"/>
              <a:ext cx="3264334" cy="1277847"/>
            </a:xfrm>
            <a:prstGeom prst="rect">
              <a:avLst/>
            </a:prstGeom>
            <a:no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6327472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3E4AD0-A9BB-9D99-EBE5-FA614BB795E1}"/>
              </a:ext>
            </a:extLst>
          </p:cNvPr>
          <p:cNvSpPr>
            <a:spLocks noGrp="1"/>
          </p:cNvSpPr>
          <p:nvPr>
            <p:ph type="title"/>
          </p:nvPr>
        </p:nvSpPr>
        <p:spPr/>
        <p:txBody>
          <a:bodyPr/>
          <a:lstStyle/>
          <a:p>
            <a:r>
              <a:rPr lang="en-US" dirty="0">
                <a:latin typeface="Tahoma" panose="020B0604030504040204" pitchFamily="34" charset="0"/>
              </a:rPr>
              <a:t>Live Tech Demos: Washington &amp; Pennsylvania</a:t>
            </a:r>
          </a:p>
        </p:txBody>
      </p:sp>
      <p:sp>
        <p:nvSpPr>
          <p:cNvPr id="3" name="Content Placeholder 2">
            <a:extLst>
              <a:ext uri="{FF2B5EF4-FFF2-40B4-BE49-F238E27FC236}">
                <a16:creationId xmlns:a16="http://schemas.microsoft.com/office/drawing/2014/main" id="{AB41CCA9-4C1F-C692-8E2E-86DDE2D17AB7}"/>
              </a:ext>
            </a:extLst>
          </p:cNvPr>
          <p:cNvSpPr>
            <a:spLocks noGrp="1"/>
          </p:cNvSpPr>
          <p:nvPr>
            <p:ph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0" indent="0">
              <a:buNone/>
            </a:pPr>
            <a:endParaRPr lang="en-US" dirty="0"/>
          </a:p>
        </p:txBody>
      </p:sp>
      <p:pic>
        <p:nvPicPr>
          <p:cNvPr id="7" name="Picture 6" descr="A group of men standing together&#10;&#10;Description automatically generated">
            <a:extLst>
              <a:ext uri="{FF2B5EF4-FFF2-40B4-BE49-F238E27FC236}">
                <a16:creationId xmlns:a16="http://schemas.microsoft.com/office/drawing/2014/main" id="{35C011BD-7AA7-6EA8-D72A-E4777173CECA}"/>
              </a:ext>
            </a:extLst>
          </p:cNvPr>
          <p:cNvPicPr>
            <a:picLocks noChangeAspect="1"/>
          </p:cNvPicPr>
          <p:nvPr/>
        </p:nvPicPr>
        <p:blipFill>
          <a:blip r:embed="rId3"/>
          <a:stretch>
            <a:fillRect/>
          </a:stretch>
        </p:blipFill>
        <p:spPr>
          <a:xfrm>
            <a:off x="895277" y="1163040"/>
            <a:ext cx="4703198" cy="3004213"/>
          </a:xfrm>
          <a:prstGeom prst="rect">
            <a:avLst/>
          </a:prstGeom>
        </p:spPr>
      </p:pic>
      <p:sp>
        <p:nvSpPr>
          <p:cNvPr id="8" name="TextBox 7">
            <a:extLst>
              <a:ext uri="{FF2B5EF4-FFF2-40B4-BE49-F238E27FC236}">
                <a16:creationId xmlns:a16="http://schemas.microsoft.com/office/drawing/2014/main" id="{808103D0-F9F5-2602-A65F-3988A58FC87E}"/>
              </a:ext>
            </a:extLst>
          </p:cNvPr>
          <p:cNvSpPr txBox="1"/>
          <p:nvPr/>
        </p:nvSpPr>
        <p:spPr>
          <a:xfrm>
            <a:off x="781122" y="4167253"/>
            <a:ext cx="4817353" cy="166199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Brandon Carson and Brandon Pet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ennsylvania Broadband Development Author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Rep. John Joyce (PA-1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House Energy and Commerce Committe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Rural Broadband Cauc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Lato4" panose="020F0302020204030203" pitchFamily="34" charset="77"/>
              <a:ea typeface="+mn-ea"/>
              <a:cs typeface="+mn-cs"/>
            </a:endParaRPr>
          </a:p>
        </p:txBody>
      </p:sp>
      <p:sp>
        <p:nvSpPr>
          <p:cNvPr id="9" name="TextBox 8">
            <a:extLst>
              <a:ext uri="{FF2B5EF4-FFF2-40B4-BE49-F238E27FC236}">
                <a16:creationId xmlns:a16="http://schemas.microsoft.com/office/drawing/2014/main" id="{8AC1EA2B-BD4B-E858-0FD8-2C1ED77FC9A5}"/>
              </a:ext>
            </a:extLst>
          </p:cNvPr>
          <p:cNvSpPr txBox="1"/>
          <p:nvPr/>
        </p:nvSpPr>
        <p:spPr>
          <a:xfrm>
            <a:off x="6430512" y="4736639"/>
            <a:ext cx="468297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Rep. Cathy McMorris Rodgers (WA-0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hair House Energy Commerce Committee</a:t>
            </a:r>
          </a:p>
        </p:txBody>
      </p:sp>
      <p:pic>
        <p:nvPicPr>
          <p:cNvPr id="13" name="Picture 12" descr="A group of people standing in front of a tower&#10;&#10;Description automatically generated">
            <a:extLst>
              <a:ext uri="{FF2B5EF4-FFF2-40B4-BE49-F238E27FC236}">
                <a16:creationId xmlns:a16="http://schemas.microsoft.com/office/drawing/2014/main" id="{E96731D0-9E4C-29DA-2784-FBF0EF51A833}"/>
              </a:ext>
            </a:extLst>
          </p:cNvPr>
          <p:cNvPicPr>
            <a:picLocks noChangeAspect="1"/>
          </p:cNvPicPr>
          <p:nvPr/>
        </p:nvPicPr>
        <p:blipFill>
          <a:blip r:embed="rId4"/>
          <a:stretch>
            <a:fillRect/>
          </a:stretch>
        </p:blipFill>
        <p:spPr>
          <a:xfrm>
            <a:off x="7227554" y="1109618"/>
            <a:ext cx="3088892" cy="3542816"/>
          </a:xfrm>
          <a:prstGeom prst="rect">
            <a:avLst/>
          </a:prstGeom>
        </p:spPr>
      </p:pic>
    </p:spTree>
    <p:extLst>
      <p:ext uri="{BB962C8B-B14F-4D97-AF65-F5344CB8AC3E}">
        <p14:creationId xmlns:p14="http://schemas.microsoft.com/office/powerpoint/2010/main" val="36010308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32">
            <a:extLst>
              <a:ext uri="{FF2B5EF4-FFF2-40B4-BE49-F238E27FC236}">
                <a16:creationId xmlns:a16="http://schemas.microsoft.com/office/drawing/2014/main" id="{33ADEAE5-B080-4DEC-819A-00E41A93F8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D9FB580A-BA0E-4D5E-90F4-C42767A783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 name="Title 1">
            <a:extLst>
              <a:ext uri="{FF2B5EF4-FFF2-40B4-BE49-F238E27FC236}">
                <a16:creationId xmlns:a16="http://schemas.microsoft.com/office/drawing/2014/main" id="{48D1EDC4-1740-B885-C6EF-B69FC5AB261B}"/>
              </a:ext>
            </a:extLst>
          </p:cNvPr>
          <p:cNvSpPr>
            <a:spLocks noGrp="1"/>
          </p:cNvSpPr>
          <p:nvPr>
            <p:ph type="title"/>
          </p:nvPr>
        </p:nvSpPr>
        <p:spPr>
          <a:xfrm>
            <a:off x="1548919" y="5039015"/>
            <a:ext cx="8098740" cy="965864"/>
          </a:xfrm>
        </p:spPr>
        <p:txBody>
          <a:bodyPr vert="horz" lIns="91440" tIns="45720" rIns="91440" bIns="45720" rtlCol="0" anchor="b">
            <a:normAutofit fontScale="90000"/>
          </a:bodyPr>
          <a:lstStyle/>
          <a:p>
            <a:pPr algn="ctr"/>
            <a:r>
              <a:rPr lang="en-US" sz="4800" b="1" kern="1200" dirty="0">
                <a:solidFill>
                  <a:srgbClr val="FFFFFF"/>
                </a:solidFill>
                <a:latin typeface="+mj-lt"/>
                <a:ea typeface="+mj-ea"/>
                <a:cs typeface="+mj-cs"/>
              </a:rPr>
              <a:t>Winncom BEAD Strategy &amp; Services</a:t>
            </a:r>
          </a:p>
        </p:txBody>
      </p:sp>
      <p:pic>
        <p:nvPicPr>
          <p:cNvPr id="1026" name="Picture 2" descr="NTIA Releases Requirements for $42.5B of BEAD Funding: Here's What It Says  About Digital Equity - National Digital Inclusion Alliance">
            <a:extLst>
              <a:ext uri="{FF2B5EF4-FFF2-40B4-BE49-F238E27FC236}">
                <a16:creationId xmlns:a16="http://schemas.microsoft.com/office/drawing/2014/main" id="{83D4CF79-CF69-DD93-E609-0AC5D85D14B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1539" r="21730"/>
          <a:stretch/>
        </p:blipFill>
        <p:spPr bwMode="auto">
          <a:xfrm>
            <a:off x="10761394" y="4257937"/>
            <a:ext cx="1227139" cy="121674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5" name="Picture 4">
            <a:extLst>
              <a:ext uri="{FF2B5EF4-FFF2-40B4-BE49-F238E27FC236}">
                <a16:creationId xmlns:a16="http://schemas.microsoft.com/office/drawing/2014/main" id="{04A68455-C963-073C-4EF7-72A417E6C5F9}"/>
              </a:ext>
            </a:extLst>
          </p:cNvPr>
          <p:cNvPicPr>
            <a:picLocks noChangeAspect="1"/>
          </p:cNvPicPr>
          <p:nvPr/>
        </p:nvPicPr>
        <p:blipFill>
          <a:blip r:embed="rId4"/>
          <a:stretch>
            <a:fillRect/>
          </a:stretch>
        </p:blipFill>
        <p:spPr>
          <a:xfrm>
            <a:off x="0" y="-1"/>
            <a:ext cx="12192000" cy="4157343"/>
          </a:xfrm>
          <a:prstGeom prst="rect">
            <a:avLst/>
          </a:prstGeom>
        </p:spPr>
      </p:pic>
      <p:sp>
        <p:nvSpPr>
          <p:cNvPr id="4" name="Slide Number Placeholder 3">
            <a:extLst>
              <a:ext uri="{FF2B5EF4-FFF2-40B4-BE49-F238E27FC236}">
                <a16:creationId xmlns:a16="http://schemas.microsoft.com/office/drawing/2014/main" id="{925815DE-FB3A-7B91-D64E-F691A337F58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878F3-CD42-4FA4-B835-F0690F02FFD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19614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73D82-62A4-ED95-3697-665774641ADE}"/>
              </a:ext>
            </a:extLst>
          </p:cNvPr>
          <p:cNvSpPr>
            <a:spLocks noGrp="1"/>
          </p:cNvSpPr>
          <p:nvPr>
            <p:ph type="title"/>
          </p:nvPr>
        </p:nvSpPr>
        <p:spPr>
          <a:xfrm>
            <a:off x="1371597" y="348865"/>
            <a:ext cx="10044023" cy="877729"/>
          </a:xfrm>
        </p:spPr>
        <p:txBody>
          <a:bodyPr anchor="ctr">
            <a:normAutofit/>
          </a:bodyPr>
          <a:lstStyle/>
          <a:p>
            <a:endParaRPr lang="en-US" sz="4000">
              <a:solidFill>
                <a:srgbClr val="FFFFFF"/>
              </a:solidFill>
            </a:endParaRPr>
          </a:p>
        </p:txBody>
      </p:sp>
      <p:graphicFrame>
        <p:nvGraphicFramePr>
          <p:cNvPr id="5" name="Content Placeholder 2">
            <a:extLst>
              <a:ext uri="{FF2B5EF4-FFF2-40B4-BE49-F238E27FC236}">
                <a16:creationId xmlns:a16="http://schemas.microsoft.com/office/drawing/2014/main" id="{28A72F34-0DBB-13C5-CC04-7451157AD018}"/>
              </a:ext>
            </a:extLst>
          </p:cNvPr>
          <p:cNvGraphicFramePr>
            <a:graphicFrameLocks noGrp="1"/>
          </p:cNvGraphicFramePr>
          <p:nvPr>
            <p:ph idx="1"/>
          </p:nvPr>
        </p:nvGraphicFramePr>
        <p:xfrm>
          <a:off x="-18" y="2255348"/>
          <a:ext cx="12192001" cy="17538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MasterHeader2.png">
            <a:extLst>
              <a:ext uri="{FF2B5EF4-FFF2-40B4-BE49-F238E27FC236}">
                <a16:creationId xmlns:a16="http://schemas.microsoft.com/office/drawing/2014/main" id="{1BAAACC1-A45C-4F5F-9B70-D05D49CC90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0"/>
            <a:ext cx="12192016" cy="2286000"/>
          </a:xfrm>
          <a:prstGeom prst="rect">
            <a:avLst/>
          </a:prstGeom>
        </p:spPr>
      </p:pic>
      <p:graphicFrame>
        <p:nvGraphicFramePr>
          <p:cNvPr id="7" name="TextBox 2">
            <a:extLst>
              <a:ext uri="{FF2B5EF4-FFF2-40B4-BE49-F238E27FC236}">
                <a16:creationId xmlns:a16="http://schemas.microsoft.com/office/drawing/2014/main" id="{610328FE-F5B2-F294-0FBB-9ADD374F5253}"/>
              </a:ext>
            </a:extLst>
          </p:cNvPr>
          <p:cNvGraphicFramePr/>
          <p:nvPr/>
        </p:nvGraphicFramePr>
        <p:xfrm>
          <a:off x="1904755" y="5088779"/>
          <a:ext cx="8382454" cy="175389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8" name="Rectangle 7">
            <a:extLst>
              <a:ext uri="{FF2B5EF4-FFF2-40B4-BE49-F238E27FC236}">
                <a16:creationId xmlns:a16="http://schemas.microsoft.com/office/drawing/2014/main" id="{EE6FF59F-9D62-E34C-2A1A-6D1306359534}"/>
              </a:ext>
            </a:extLst>
          </p:cNvPr>
          <p:cNvSpPr/>
          <p:nvPr/>
        </p:nvSpPr>
        <p:spPr>
          <a:xfrm>
            <a:off x="2502859" y="3998559"/>
            <a:ext cx="7186246" cy="879280"/>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libri"/>
                <a:ea typeface="+mn-ea"/>
                <a:cs typeface="+mn-cs"/>
              </a:rPr>
              <a:t>Winncom Customer Strategy</a:t>
            </a:r>
          </a:p>
        </p:txBody>
      </p:sp>
      <p:sp>
        <p:nvSpPr>
          <p:cNvPr id="3" name="Slide Number Placeholder 2">
            <a:extLst>
              <a:ext uri="{FF2B5EF4-FFF2-40B4-BE49-F238E27FC236}">
                <a16:creationId xmlns:a16="http://schemas.microsoft.com/office/drawing/2014/main" id="{7D9C32D6-8BB1-F01C-D10C-123785EB4E9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878F3-CD42-4FA4-B835-F0690F02FFD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979700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8A95209C-5275-4E15-8EA7-7F42980AB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4C51B80-2AB5-CDB8-9210-D0A6512D225C}"/>
              </a:ext>
            </a:extLst>
          </p:cNvPr>
          <p:cNvPicPr>
            <a:picLocks noChangeAspect="1"/>
          </p:cNvPicPr>
          <p:nvPr/>
        </p:nvPicPr>
        <p:blipFill rotWithShape="1">
          <a:blip r:embed="rId3">
            <a:alphaModFix amt="50000"/>
          </a:blip>
          <a:srcRect t="29245" r="-1" b="13048"/>
          <a:stretch/>
        </p:blipFill>
        <p:spPr>
          <a:xfrm>
            <a:off x="20" y="10"/>
            <a:ext cx="12188931" cy="6857990"/>
          </a:xfrm>
          <a:prstGeom prst="rect">
            <a:avLst/>
          </a:prstGeom>
        </p:spPr>
      </p:pic>
      <p:sp>
        <p:nvSpPr>
          <p:cNvPr id="4" name="Title 3">
            <a:extLst>
              <a:ext uri="{FF2B5EF4-FFF2-40B4-BE49-F238E27FC236}">
                <a16:creationId xmlns:a16="http://schemas.microsoft.com/office/drawing/2014/main" id="{B2727F40-C1A2-50A2-B455-045B4601D2E9}"/>
              </a:ext>
            </a:extLst>
          </p:cNvPr>
          <p:cNvSpPr>
            <a:spLocks noGrp="1"/>
          </p:cNvSpPr>
          <p:nvPr>
            <p:ph type="title"/>
          </p:nvPr>
        </p:nvSpPr>
        <p:spPr>
          <a:xfrm>
            <a:off x="1527048" y="1124712"/>
            <a:ext cx="9144000" cy="3063240"/>
          </a:xfrm>
        </p:spPr>
        <p:txBody>
          <a:bodyPr vert="horz" lIns="91440" tIns="45720" rIns="91440" bIns="45720" rtlCol="0" anchor="b">
            <a:normAutofit/>
          </a:bodyPr>
          <a:lstStyle/>
          <a:p>
            <a:pPr algn="ctr"/>
            <a:r>
              <a:rPr lang="en-US" sz="6600" dirty="0">
                <a:solidFill>
                  <a:schemeClr val="bg1"/>
                </a:solidFill>
              </a:rPr>
              <a:t>Network Planning </a:t>
            </a:r>
            <a:br>
              <a:rPr lang="en-US" sz="6600" dirty="0">
                <a:solidFill>
                  <a:schemeClr val="bg1"/>
                </a:solidFill>
              </a:rPr>
            </a:br>
            <a:r>
              <a:rPr lang="en-US" sz="6600" dirty="0">
                <a:solidFill>
                  <a:schemeClr val="bg1"/>
                </a:solidFill>
              </a:rPr>
              <a:t>&amp;</a:t>
            </a:r>
            <a:br>
              <a:rPr lang="en-US" sz="6600" dirty="0">
                <a:solidFill>
                  <a:schemeClr val="bg1"/>
                </a:solidFill>
              </a:rPr>
            </a:br>
            <a:r>
              <a:rPr lang="en-US" sz="6600" dirty="0">
                <a:solidFill>
                  <a:schemeClr val="bg1"/>
                </a:solidFill>
              </a:rPr>
              <a:t> Design</a:t>
            </a:r>
          </a:p>
        </p:txBody>
      </p:sp>
      <p:sp>
        <p:nvSpPr>
          <p:cNvPr id="5" name="Text Placeholder 4">
            <a:extLst>
              <a:ext uri="{FF2B5EF4-FFF2-40B4-BE49-F238E27FC236}">
                <a16:creationId xmlns:a16="http://schemas.microsoft.com/office/drawing/2014/main" id="{0873720C-C982-E125-1152-8CB73A2A948A}"/>
              </a:ext>
            </a:extLst>
          </p:cNvPr>
          <p:cNvSpPr>
            <a:spLocks noGrp="1"/>
          </p:cNvSpPr>
          <p:nvPr>
            <p:ph type="body" idx="1"/>
          </p:nvPr>
        </p:nvSpPr>
        <p:spPr>
          <a:xfrm>
            <a:off x="1527048" y="4599432"/>
            <a:ext cx="9144000" cy="1227520"/>
          </a:xfrm>
        </p:spPr>
        <p:txBody>
          <a:bodyPr vert="horz" lIns="91440" tIns="45720" rIns="91440" bIns="45720" rtlCol="0">
            <a:normAutofit/>
          </a:bodyPr>
          <a:lstStyle/>
          <a:p>
            <a:pPr algn="ctr"/>
            <a:endParaRPr lang="en-US" dirty="0">
              <a:solidFill>
                <a:schemeClr val="bg1"/>
              </a:solidFill>
            </a:endParaRPr>
          </a:p>
          <a:p>
            <a:pPr algn="ctr"/>
            <a:r>
              <a:rPr lang="en-US" dirty="0">
                <a:solidFill>
                  <a:schemeClr val="bg1"/>
                </a:solidFill>
              </a:rPr>
              <a:t>QGIS Mapping Eligibility</a:t>
            </a:r>
          </a:p>
        </p:txBody>
      </p:sp>
      <p:sp>
        <p:nvSpPr>
          <p:cNvPr id="24" name="sketchy line">
            <a:extLst>
              <a:ext uri="{FF2B5EF4-FFF2-40B4-BE49-F238E27FC236}">
                <a16:creationId xmlns:a16="http://schemas.microsoft.com/office/drawing/2014/main" id="{DEF0EFD6-A3C2-4C94-A80A-BA9709D990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74206" y="4368623"/>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rgbClr val="FFFFFF">
              <a:alpha val="75000"/>
            </a:srgbClr>
          </a:solidFill>
          <a:ln w="44450" cap="rnd">
            <a:solidFill>
              <a:schemeClr val="bg1">
                <a:alpha val="75000"/>
              </a:scheme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ketchy box">
            <a:extLst>
              <a:ext uri="{FF2B5EF4-FFF2-40B4-BE49-F238E27FC236}">
                <a16:creationId xmlns:a16="http://schemas.microsoft.com/office/drawing/2014/main" id="{4F2ED431-E304-4FF0-9F4E-032783C9D61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838200" y="720953"/>
            <a:ext cx="10515600" cy="5416094"/>
          </a:xfrm>
          <a:custGeom>
            <a:avLst/>
            <a:gdLst>
              <a:gd name="connsiteX0" fmla="*/ 0 w 10515600"/>
              <a:gd name="connsiteY0" fmla="*/ 0 h 5416094"/>
              <a:gd name="connsiteX1" fmla="*/ 552069 w 10515600"/>
              <a:gd name="connsiteY1" fmla="*/ 0 h 5416094"/>
              <a:gd name="connsiteX2" fmla="*/ 893826 w 10515600"/>
              <a:gd name="connsiteY2" fmla="*/ 0 h 5416094"/>
              <a:gd name="connsiteX3" fmla="*/ 1761363 w 10515600"/>
              <a:gd name="connsiteY3" fmla="*/ 0 h 5416094"/>
              <a:gd name="connsiteX4" fmla="*/ 2313432 w 10515600"/>
              <a:gd name="connsiteY4" fmla="*/ 0 h 5416094"/>
              <a:gd name="connsiteX5" fmla="*/ 2865501 w 10515600"/>
              <a:gd name="connsiteY5" fmla="*/ 0 h 5416094"/>
              <a:gd name="connsiteX6" fmla="*/ 3733038 w 10515600"/>
              <a:gd name="connsiteY6" fmla="*/ 0 h 5416094"/>
              <a:gd name="connsiteX7" fmla="*/ 4179951 w 10515600"/>
              <a:gd name="connsiteY7" fmla="*/ 0 h 5416094"/>
              <a:gd name="connsiteX8" fmla="*/ 5047488 w 10515600"/>
              <a:gd name="connsiteY8" fmla="*/ 0 h 5416094"/>
              <a:gd name="connsiteX9" fmla="*/ 5915025 w 10515600"/>
              <a:gd name="connsiteY9" fmla="*/ 0 h 5416094"/>
              <a:gd name="connsiteX10" fmla="*/ 6572250 w 10515600"/>
              <a:gd name="connsiteY10" fmla="*/ 0 h 5416094"/>
              <a:gd name="connsiteX11" fmla="*/ 7439787 w 10515600"/>
              <a:gd name="connsiteY11" fmla="*/ 0 h 5416094"/>
              <a:gd name="connsiteX12" fmla="*/ 7991856 w 10515600"/>
              <a:gd name="connsiteY12" fmla="*/ 0 h 5416094"/>
              <a:gd name="connsiteX13" fmla="*/ 8543925 w 10515600"/>
              <a:gd name="connsiteY13" fmla="*/ 0 h 5416094"/>
              <a:gd name="connsiteX14" fmla="*/ 9306306 w 10515600"/>
              <a:gd name="connsiteY14" fmla="*/ 0 h 5416094"/>
              <a:gd name="connsiteX15" fmla="*/ 9858375 w 10515600"/>
              <a:gd name="connsiteY15" fmla="*/ 0 h 5416094"/>
              <a:gd name="connsiteX16" fmla="*/ 10515600 w 10515600"/>
              <a:gd name="connsiteY16" fmla="*/ 0 h 5416094"/>
              <a:gd name="connsiteX17" fmla="*/ 10515600 w 10515600"/>
              <a:gd name="connsiteY17" fmla="*/ 785334 h 5416094"/>
              <a:gd name="connsiteX18" fmla="*/ 10515600 w 10515600"/>
              <a:gd name="connsiteY18" fmla="*/ 1516506 h 5416094"/>
              <a:gd name="connsiteX19" fmla="*/ 10515600 w 10515600"/>
              <a:gd name="connsiteY19" fmla="*/ 2247679 h 5416094"/>
              <a:gd name="connsiteX20" fmla="*/ 10515600 w 10515600"/>
              <a:gd name="connsiteY20" fmla="*/ 2762208 h 5416094"/>
              <a:gd name="connsiteX21" fmla="*/ 10515600 w 10515600"/>
              <a:gd name="connsiteY21" fmla="*/ 3330898 h 5416094"/>
              <a:gd name="connsiteX22" fmla="*/ 10515600 w 10515600"/>
              <a:gd name="connsiteY22" fmla="*/ 4062071 h 5416094"/>
              <a:gd name="connsiteX23" fmla="*/ 10515600 w 10515600"/>
              <a:gd name="connsiteY23" fmla="*/ 4684921 h 5416094"/>
              <a:gd name="connsiteX24" fmla="*/ 10515600 w 10515600"/>
              <a:gd name="connsiteY24" fmla="*/ 5416094 h 5416094"/>
              <a:gd name="connsiteX25" fmla="*/ 9753219 w 10515600"/>
              <a:gd name="connsiteY25" fmla="*/ 5416094 h 5416094"/>
              <a:gd name="connsiteX26" fmla="*/ 9411462 w 10515600"/>
              <a:gd name="connsiteY26" fmla="*/ 5416094 h 5416094"/>
              <a:gd name="connsiteX27" fmla="*/ 8754237 w 10515600"/>
              <a:gd name="connsiteY27" fmla="*/ 5416094 h 5416094"/>
              <a:gd name="connsiteX28" fmla="*/ 8307324 w 10515600"/>
              <a:gd name="connsiteY28" fmla="*/ 5416094 h 5416094"/>
              <a:gd name="connsiteX29" fmla="*/ 7544943 w 10515600"/>
              <a:gd name="connsiteY29" fmla="*/ 5416094 h 5416094"/>
              <a:gd name="connsiteX30" fmla="*/ 7098030 w 10515600"/>
              <a:gd name="connsiteY30" fmla="*/ 5416094 h 5416094"/>
              <a:gd name="connsiteX31" fmla="*/ 6335649 w 10515600"/>
              <a:gd name="connsiteY31" fmla="*/ 5416094 h 5416094"/>
              <a:gd name="connsiteX32" fmla="*/ 5993892 w 10515600"/>
              <a:gd name="connsiteY32" fmla="*/ 5416094 h 5416094"/>
              <a:gd name="connsiteX33" fmla="*/ 5231511 w 10515600"/>
              <a:gd name="connsiteY33" fmla="*/ 5416094 h 5416094"/>
              <a:gd name="connsiteX34" fmla="*/ 4784598 w 10515600"/>
              <a:gd name="connsiteY34" fmla="*/ 5416094 h 5416094"/>
              <a:gd name="connsiteX35" fmla="*/ 4442841 w 10515600"/>
              <a:gd name="connsiteY35" fmla="*/ 5416094 h 5416094"/>
              <a:gd name="connsiteX36" fmla="*/ 3995928 w 10515600"/>
              <a:gd name="connsiteY36" fmla="*/ 5416094 h 5416094"/>
              <a:gd name="connsiteX37" fmla="*/ 3233547 w 10515600"/>
              <a:gd name="connsiteY37" fmla="*/ 5416094 h 5416094"/>
              <a:gd name="connsiteX38" fmla="*/ 2786634 w 10515600"/>
              <a:gd name="connsiteY38" fmla="*/ 5416094 h 5416094"/>
              <a:gd name="connsiteX39" fmla="*/ 2444877 w 10515600"/>
              <a:gd name="connsiteY39" fmla="*/ 5416094 h 5416094"/>
              <a:gd name="connsiteX40" fmla="*/ 1997964 w 10515600"/>
              <a:gd name="connsiteY40" fmla="*/ 5416094 h 5416094"/>
              <a:gd name="connsiteX41" fmla="*/ 1445895 w 10515600"/>
              <a:gd name="connsiteY41" fmla="*/ 5416094 h 5416094"/>
              <a:gd name="connsiteX42" fmla="*/ 788670 w 10515600"/>
              <a:gd name="connsiteY42" fmla="*/ 5416094 h 5416094"/>
              <a:gd name="connsiteX43" fmla="*/ 0 w 10515600"/>
              <a:gd name="connsiteY43" fmla="*/ 5416094 h 5416094"/>
              <a:gd name="connsiteX44" fmla="*/ 0 w 10515600"/>
              <a:gd name="connsiteY44" fmla="*/ 4630760 h 5416094"/>
              <a:gd name="connsiteX45" fmla="*/ 0 w 10515600"/>
              <a:gd name="connsiteY45" fmla="*/ 3953749 h 5416094"/>
              <a:gd name="connsiteX46" fmla="*/ 0 w 10515600"/>
              <a:gd name="connsiteY46" fmla="*/ 3276737 h 5416094"/>
              <a:gd name="connsiteX47" fmla="*/ 0 w 10515600"/>
              <a:gd name="connsiteY47" fmla="*/ 2599725 h 5416094"/>
              <a:gd name="connsiteX48" fmla="*/ 0 w 10515600"/>
              <a:gd name="connsiteY48" fmla="*/ 1922713 h 5416094"/>
              <a:gd name="connsiteX49" fmla="*/ 0 w 10515600"/>
              <a:gd name="connsiteY49" fmla="*/ 1299863 h 5416094"/>
              <a:gd name="connsiteX50" fmla="*/ 0 w 10515600"/>
              <a:gd name="connsiteY50" fmla="*/ 0 h 541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515600" h="5416094"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24919" y="196329"/>
                  <a:pt x="10549062" y="488432"/>
                  <a:pt x="10515600" y="785334"/>
                </a:cubicBezTo>
                <a:cubicBezTo>
                  <a:pt x="10482138" y="1082236"/>
                  <a:pt x="10536385" y="1323726"/>
                  <a:pt x="10515600" y="1516506"/>
                </a:cubicBezTo>
                <a:cubicBezTo>
                  <a:pt x="10494815" y="1709286"/>
                  <a:pt x="10546328" y="2097632"/>
                  <a:pt x="10515600" y="2247679"/>
                </a:cubicBezTo>
                <a:cubicBezTo>
                  <a:pt x="10484872" y="2397726"/>
                  <a:pt x="10491771" y="2577292"/>
                  <a:pt x="10515600" y="2762208"/>
                </a:cubicBezTo>
                <a:cubicBezTo>
                  <a:pt x="10539429" y="2947124"/>
                  <a:pt x="10511007" y="3105736"/>
                  <a:pt x="10515600" y="3330898"/>
                </a:cubicBezTo>
                <a:cubicBezTo>
                  <a:pt x="10520194" y="3556060"/>
                  <a:pt x="10497393" y="3882611"/>
                  <a:pt x="10515600" y="4062071"/>
                </a:cubicBezTo>
                <a:cubicBezTo>
                  <a:pt x="10533807" y="4241531"/>
                  <a:pt x="10544791" y="4505155"/>
                  <a:pt x="10515600" y="4684921"/>
                </a:cubicBezTo>
                <a:cubicBezTo>
                  <a:pt x="10486410" y="4864687"/>
                  <a:pt x="10497356" y="5246484"/>
                  <a:pt x="10515600" y="5416094"/>
                </a:cubicBezTo>
                <a:cubicBezTo>
                  <a:pt x="10245623" y="5445692"/>
                  <a:pt x="10029676" y="5415505"/>
                  <a:pt x="9753219" y="5416094"/>
                </a:cubicBezTo>
                <a:cubicBezTo>
                  <a:pt x="9476762" y="5416683"/>
                  <a:pt x="9553148" y="5422760"/>
                  <a:pt x="9411462" y="5416094"/>
                </a:cubicBezTo>
                <a:cubicBezTo>
                  <a:pt x="9269776" y="5409428"/>
                  <a:pt x="8927709" y="5385012"/>
                  <a:pt x="8754237" y="5416094"/>
                </a:cubicBezTo>
                <a:cubicBezTo>
                  <a:pt x="8580766" y="5447176"/>
                  <a:pt x="8413264" y="5410024"/>
                  <a:pt x="8307324" y="5416094"/>
                </a:cubicBezTo>
                <a:cubicBezTo>
                  <a:pt x="8201384" y="5422164"/>
                  <a:pt x="7912690" y="5421686"/>
                  <a:pt x="7544943" y="5416094"/>
                </a:cubicBezTo>
                <a:cubicBezTo>
                  <a:pt x="7177196" y="5410502"/>
                  <a:pt x="7304235" y="5418502"/>
                  <a:pt x="7098030" y="5416094"/>
                </a:cubicBezTo>
                <a:cubicBezTo>
                  <a:pt x="6891825" y="5413686"/>
                  <a:pt x="6541479" y="5434609"/>
                  <a:pt x="6335649" y="5416094"/>
                </a:cubicBezTo>
                <a:cubicBezTo>
                  <a:pt x="6129819" y="5397579"/>
                  <a:pt x="6106541" y="5402791"/>
                  <a:pt x="5993892" y="5416094"/>
                </a:cubicBezTo>
                <a:cubicBezTo>
                  <a:pt x="5881243" y="5429397"/>
                  <a:pt x="5545248" y="5437743"/>
                  <a:pt x="5231511" y="5416094"/>
                </a:cubicBezTo>
                <a:cubicBezTo>
                  <a:pt x="4917774" y="5394445"/>
                  <a:pt x="4963237" y="5426599"/>
                  <a:pt x="4784598" y="5416094"/>
                </a:cubicBezTo>
                <a:cubicBezTo>
                  <a:pt x="4605959" y="5405589"/>
                  <a:pt x="4605904" y="5406658"/>
                  <a:pt x="4442841" y="5416094"/>
                </a:cubicBezTo>
                <a:cubicBezTo>
                  <a:pt x="4279778" y="5425530"/>
                  <a:pt x="4177180" y="5426138"/>
                  <a:pt x="3995928" y="5416094"/>
                </a:cubicBezTo>
                <a:cubicBezTo>
                  <a:pt x="3814676" y="5406050"/>
                  <a:pt x="3516440" y="5429234"/>
                  <a:pt x="3233547" y="5416094"/>
                </a:cubicBezTo>
                <a:cubicBezTo>
                  <a:pt x="2950654" y="5402954"/>
                  <a:pt x="2884354" y="5436103"/>
                  <a:pt x="2786634" y="5416094"/>
                </a:cubicBezTo>
                <a:cubicBezTo>
                  <a:pt x="2688914" y="5396085"/>
                  <a:pt x="2522958" y="5423232"/>
                  <a:pt x="2444877" y="5416094"/>
                </a:cubicBezTo>
                <a:cubicBezTo>
                  <a:pt x="2366796" y="5408956"/>
                  <a:pt x="2104768" y="5395479"/>
                  <a:pt x="1997964" y="5416094"/>
                </a:cubicBezTo>
                <a:cubicBezTo>
                  <a:pt x="1891160" y="5436709"/>
                  <a:pt x="1573016" y="5412376"/>
                  <a:pt x="1445895" y="5416094"/>
                </a:cubicBezTo>
                <a:cubicBezTo>
                  <a:pt x="1318774" y="5419812"/>
                  <a:pt x="986443" y="5400529"/>
                  <a:pt x="788670" y="5416094"/>
                </a:cubicBezTo>
                <a:cubicBezTo>
                  <a:pt x="590897" y="5431659"/>
                  <a:pt x="363709" y="5381266"/>
                  <a:pt x="0" y="5416094"/>
                </a:cubicBezTo>
                <a:cubicBezTo>
                  <a:pt x="-22973" y="5218643"/>
                  <a:pt x="-26699" y="5010779"/>
                  <a:pt x="0" y="4630760"/>
                </a:cubicBezTo>
                <a:cubicBezTo>
                  <a:pt x="26699" y="4250741"/>
                  <a:pt x="-15389" y="4196664"/>
                  <a:pt x="0" y="3953749"/>
                </a:cubicBezTo>
                <a:cubicBezTo>
                  <a:pt x="15389" y="3710834"/>
                  <a:pt x="468" y="3611311"/>
                  <a:pt x="0" y="3276737"/>
                </a:cubicBezTo>
                <a:cubicBezTo>
                  <a:pt x="-468" y="2942163"/>
                  <a:pt x="15360" y="2781998"/>
                  <a:pt x="0" y="2599725"/>
                </a:cubicBezTo>
                <a:cubicBezTo>
                  <a:pt x="-15360" y="2417452"/>
                  <a:pt x="14816" y="2100232"/>
                  <a:pt x="0" y="1922713"/>
                </a:cubicBezTo>
                <a:cubicBezTo>
                  <a:pt x="-14816" y="1745194"/>
                  <a:pt x="-24648" y="1604167"/>
                  <a:pt x="0" y="1299863"/>
                </a:cubicBezTo>
                <a:cubicBezTo>
                  <a:pt x="24648" y="995559"/>
                  <a:pt x="2182" y="279525"/>
                  <a:pt x="0" y="0"/>
                </a:cubicBezTo>
                <a:close/>
              </a:path>
            </a:pathLst>
          </a:custGeom>
          <a:noFill/>
          <a:ln w="47625" cap="rnd">
            <a:solidFill>
              <a:schemeClr val="bg1">
                <a:alpha val="75000"/>
              </a:schemeClr>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D406DFEB-BB6A-30CB-AC84-D5D6A840DC36}"/>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defRPr/>
            </a:pPr>
            <a:fld id="{535878F3-CD42-4FA4-B835-F0690F02FFD1}" type="slidenum">
              <a:rPr lang="en-US">
                <a:solidFill>
                  <a:srgbClr val="FFFFFF"/>
                </a:solidFill>
                <a:latin typeface="Calibri" panose="020F0502020204030204"/>
              </a:rPr>
              <a:pPr>
                <a:spcAft>
                  <a:spcPts val="600"/>
                </a:spcAft>
                <a:defRPr/>
              </a:pPr>
              <a:t>18</a:t>
            </a:fld>
            <a:endParaRPr lang="en-US" dirty="0">
              <a:solidFill>
                <a:srgbClr val="FFFFFF"/>
              </a:solidFill>
              <a:latin typeface="Calibri" panose="020F0502020204030204"/>
            </a:endParaRPr>
          </a:p>
        </p:txBody>
      </p:sp>
    </p:spTree>
    <p:extLst>
      <p:ext uri="{BB962C8B-B14F-4D97-AF65-F5344CB8AC3E}">
        <p14:creationId xmlns:p14="http://schemas.microsoft.com/office/powerpoint/2010/main" val="12188680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84182D7-FBA9-8D9F-1A66-79D6EC2FDB42}"/>
              </a:ext>
            </a:extLst>
          </p:cNvPr>
          <p:cNvPicPr>
            <a:picLocks noGrp="1" noChangeAspect="1"/>
          </p:cNvPicPr>
          <p:nvPr>
            <p:ph idx="1"/>
          </p:nvPr>
        </p:nvPicPr>
        <p:blipFill rotWithShape="1">
          <a:blip r:embed="rId3"/>
          <a:srcRect r="-2" b="3897"/>
          <a:stretch/>
        </p:blipFill>
        <p:spPr>
          <a:xfrm>
            <a:off x="-6588" y="10"/>
            <a:ext cx="12198588" cy="6857990"/>
          </a:xfrm>
          <a:prstGeom prst="rect">
            <a:avLst/>
          </a:prstGeom>
        </p:spPr>
      </p:pic>
    </p:spTree>
    <p:extLst>
      <p:ext uri="{BB962C8B-B14F-4D97-AF65-F5344CB8AC3E}">
        <p14:creationId xmlns:p14="http://schemas.microsoft.com/office/powerpoint/2010/main" val="2038698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228552E-C8B1-4A80-8448-0787CE0FC7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Close-up of folded paper&#10;&#10;Description automatically generated">
            <a:extLst>
              <a:ext uri="{FF2B5EF4-FFF2-40B4-BE49-F238E27FC236}">
                <a16:creationId xmlns:a16="http://schemas.microsoft.com/office/drawing/2014/main" id="{EB78810F-F316-F5DD-C6BD-7AB8725B70E0}"/>
              </a:ext>
            </a:extLst>
          </p:cNvPr>
          <p:cNvPicPr>
            <a:picLocks noChangeAspect="1"/>
          </p:cNvPicPr>
          <p:nvPr/>
        </p:nvPicPr>
        <p:blipFill rotWithShape="1">
          <a:blip r:embed="rId3">
            <a:alphaModFix amt="35000"/>
          </a:blip>
          <a:srcRect t="1192" b="14538"/>
          <a:stretch/>
        </p:blipFill>
        <p:spPr>
          <a:xfrm>
            <a:off x="20" y="10"/>
            <a:ext cx="12191980" cy="6857990"/>
          </a:xfrm>
          <a:prstGeom prst="rect">
            <a:avLst/>
          </a:prstGeom>
        </p:spPr>
      </p:pic>
      <p:sp>
        <p:nvSpPr>
          <p:cNvPr id="2" name="Title 1">
            <a:extLst>
              <a:ext uri="{FF2B5EF4-FFF2-40B4-BE49-F238E27FC236}">
                <a16:creationId xmlns:a16="http://schemas.microsoft.com/office/drawing/2014/main" id="{E7F74325-96B3-EB33-3B7A-CC25E474F32C}"/>
              </a:ext>
            </a:extLst>
          </p:cNvPr>
          <p:cNvSpPr>
            <a:spLocks noGrp="1"/>
          </p:cNvSpPr>
          <p:nvPr>
            <p:ph type="title"/>
          </p:nvPr>
        </p:nvSpPr>
        <p:spPr>
          <a:xfrm>
            <a:off x="838200" y="136525"/>
            <a:ext cx="10515600" cy="1325563"/>
          </a:xfrm>
        </p:spPr>
        <p:txBody>
          <a:bodyPr>
            <a:normAutofit/>
          </a:bodyPr>
          <a:lstStyle/>
          <a:p>
            <a:pPr algn="ctr"/>
            <a:r>
              <a:rPr lang="en-US" dirty="0">
                <a:solidFill>
                  <a:srgbClr val="FFFFFF"/>
                </a:solidFill>
              </a:rPr>
              <a:t>WEBINAR’S AGENDA</a:t>
            </a:r>
          </a:p>
        </p:txBody>
      </p:sp>
      <p:sp>
        <p:nvSpPr>
          <p:cNvPr id="4" name="Slide Number Placeholder 3">
            <a:extLst>
              <a:ext uri="{FF2B5EF4-FFF2-40B4-BE49-F238E27FC236}">
                <a16:creationId xmlns:a16="http://schemas.microsoft.com/office/drawing/2014/main" id="{1A226D56-F296-AE02-28FE-45480292AE3E}"/>
              </a:ext>
            </a:extLst>
          </p:cNvPr>
          <p:cNvSpPr>
            <a:spLocks noGrp="1"/>
          </p:cNvSpPr>
          <p:nvPr>
            <p:ph type="sldNum" sz="quarter" idx="12"/>
          </p:nvPr>
        </p:nvSpPr>
        <p:spPr>
          <a:xfrm>
            <a:off x="8610600" y="6356350"/>
            <a:ext cx="2743200" cy="365125"/>
          </a:xfrm>
        </p:spPr>
        <p:txBody>
          <a:bodyPr>
            <a:normAutofit/>
          </a:bodyPr>
          <a:lstStyle/>
          <a:p>
            <a:pPr>
              <a:spcAft>
                <a:spcPts val="600"/>
              </a:spcAft>
            </a:pPr>
            <a:fld id="{535878F3-CD42-4FA4-B835-F0690F02FFD1}" type="slidenum">
              <a:rPr lang="en-US">
                <a:solidFill>
                  <a:srgbClr val="FFFFFF"/>
                </a:solidFill>
              </a:rPr>
              <a:pPr>
                <a:spcAft>
                  <a:spcPts val="600"/>
                </a:spcAft>
              </a:pPr>
              <a:t>2</a:t>
            </a:fld>
            <a:endParaRPr lang="en-US">
              <a:solidFill>
                <a:srgbClr val="FFFFFF"/>
              </a:solidFill>
            </a:endParaRPr>
          </a:p>
        </p:txBody>
      </p:sp>
      <p:graphicFrame>
        <p:nvGraphicFramePr>
          <p:cNvPr id="6" name="Content Placeholder 2">
            <a:extLst>
              <a:ext uri="{FF2B5EF4-FFF2-40B4-BE49-F238E27FC236}">
                <a16:creationId xmlns:a16="http://schemas.microsoft.com/office/drawing/2014/main" id="{EF85795D-EE5E-0773-BE09-641E2678F500}"/>
              </a:ext>
            </a:extLst>
          </p:cNvPr>
          <p:cNvGraphicFramePr>
            <a:graphicFrameLocks noGrp="1"/>
          </p:cNvGraphicFramePr>
          <p:nvPr>
            <p:ph idx="1"/>
            <p:extLst>
              <p:ext uri="{D42A27DB-BD31-4B8C-83A1-F6EECF244321}">
                <p14:modId xmlns:p14="http://schemas.microsoft.com/office/powerpoint/2010/main" val="3962014539"/>
              </p:ext>
            </p:extLst>
          </p:nvPr>
        </p:nvGraphicFramePr>
        <p:xfrm>
          <a:off x="838200" y="1570615"/>
          <a:ext cx="10515600" cy="492225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917060843"/>
      </p:ext>
    </p:extLst>
  </p:cSld>
  <p:clrMapOvr>
    <a:overrideClrMapping bg1="dk1" tx1="lt1" bg2="dk2" tx2="lt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3AFE8227-C443-417B-BA91-520EB1EF455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68579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F34384AC-5A04-F5FC-89BB-F787FDD13303}"/>
              </a:ext>
            </a:extLst>
          </p:cNvPr>
          <p:cNvSpPr>
            <a:spLocks noGrp="1"/>
          </p:cNvSpPr>
          <p:nvPr>
            <p:ph type="title"/>
          </p:nvPr>
        </p:nvSpPr>
        <p:spPr>
          <a:xfrm>
            <a:off x="8643193" y="489507"/>
            <a:ext cx="3091607" cy="1655483"/>
          </a:xfrm>
        </p:spPr>
        <p:txBody>
          <a:bodyPr anchor="b">
            <a:normAutofit/>
          </a:bodyPr>
          <a:lstStyle/>
          <a:p>
            <a:pPr algn="ctr"/>
            <a:r>
              <a:rPr lang="en-US" sz="4000" dirty="0"/>
              <a:t>Exist Technology</a:t>
            </a:r>
          </a:p>
        </p:txBody>
      </p:sp>
      <p:pic>
        <p:nvPicPr>
          <p:cNvPr id="5" name="Content Placeholder 4">
            <a:extLst>
              <a:ext uri="{FF2B5EF4-FFF2-40B4-BE49-F238E27FC236}">
                <a16:creationId xmlns:a16="http://schemas.microsoft.com/office/drawing/2014/main" id="{D6F471D7-24FC-2D39-E7C5-DA3240C0E5E6}"/>
              </a:ext>
            </a:extLst>
          </p:cNvPr>
          <p:cNvPicPr>
            <a:picLocks noChangeAspect="1"/>
          </p:cNvPicPr>
          <p:nvPr/>
        </p:nvPicPr>
        <p:blipFill rotWithShape="1">
          <a:blip r:embed="rId2"/>
          <a:srcRect l="1866" r="6007" b="1"/>
          <a:stretch/>
        </p:blipFill>
        <p:spPr>
          <a:xfrm>
            <a:off x="20" y="431"/>
            <a:ext cx="8115280" cy="6408311"/>
          </a:xfrm>
          <a:prstGeom prst="rect">
            <a:avLst/>
          </a:prstGeom>
        </p:spPr>
      </p:pic>
      <p:sp>
        <p:nvSpPr>
          <p:cNvPr id="14" name="Rectangle 13">
            <a:extLst>
              <a:ext uri="{FF2B5EF4-FFF2-40B4-BE49-F238E27FC236}">
                <a16:creationId xmlns:a16="http://schemas.microsoft.com/office/drawing/2014/main" id="{907741FC-B544-4A6E-B831-6789D04233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6408741"/>
            <a:ext cx="12191998" cy="457202"/>
          </a:xfrm>
          <a:prstGeom prst="rect">
            <a:avLst/>
          </a:prstGeom>
          <a:gradFill>
            <a:gsLst>
              <a:gs pos="34000">
                <a:srgbClr val="000000">
                  <a:alpha val="96000"/>
                </a:srgbClr>
              </a:gs>
              <a:gs pos="100000">
                <a:schemeClr val="accent1"/>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 name="Rectangle 19">
            <a:extLst>
              <a:ext uri="{FF2B5EF4-FFF2-40B4-BE49-F238E27FC236}">
                <a16:creationId xmlns:a16="http://schemas.microsoft.com/office/drawing/2014/main" id="{3F0BE7ED-7814-4273-B18A-F26CC03803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 y="6408742"/>
            <a:ext cx="8115300" cy="449258"/>
          </a:xfrm>
          <a:prstGeom prst="rect">
            <a:avLst/>
          </a:prstGeom>
          <a:gradFill>
            <a:gsLst>
              <a:gs pos="28000">
                <a:schemeClr val="accent1">
                  <a:lumMod val="75000"/>
                  <a:alpha val="59000"/>
                </a:schemeClr>
              </a:gs>
              <a:gs pos="100000">
                <a:srgbClr val="000000">
                  <a:alpha val="7000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8" name="Picture 7">
            <a:extLst>
              <a:ext uri="{FF2B5EF4-FFF2-40B4-BE49-F238E27FC236}">
                <a16:creationId xmlns:a16="http://schemas.microsoft.com/office/drawing/2014/main" id="{0222EA04-2BCD-7D92-C829-4075DC4FEF49}"/>
              </a:ext>
            </a:extLst>
          </p:cNvPr>
          <p:cNvPicPr>
            <a:picLocks noChangeAspect="1"/>
          </p:cNvPicPr>
          <p:nvPr/>
        </p:nvPicPr>
        <p:blipFill>
          <a:blip r:embed="rId3"/>
          <a:stretch>
            <a:fillRect/>
          </a:stretch>
        </p:blipFill>
        <p:spPr>
          <a:xfrm>
            <a:off x="8835101" y="2957104"/>
            <a:ext cx="2899699" cy="1896998"/>
          </a:xfrm>
          <a:prstGeom prst="rect">
            <a:avLst/>
          </a:prstGeom>
        </p:spPr>
      </p:pic>
    </p:spTree>
    <p:extLst>
      <p:ext uri="{BB962C8B-B14F-4D97-AF65-F5344CB8AC3E}">
        <p14:creationId xmlns:p14="http://schemas.microsoft.com/office/powerpoint/2010/main" val="37341606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E7456C52-A5A4-CAB5-C999-0825E2DF62CC}"/>
              </a:ext>
            </a:extLst>
          </p:cNvPr>
          <p:cNvPicPr>
            <a:picLocks noGrp="1" noChangeAspect="1"/>
          </p:cNvPicPr>
          <p:nvPr>
            <p:ph idx="1"/>
          </p:nvPr>
        </p:nvPicPr>
        <p:blipFill rotWithShape="1">
          <a:blip r:embed="rId2"/>
          <a:srcRect t="2343" b="8016"/>
          <a:stretch/>
        </p:blipFill>
        <p:spPr>
          <a:xfrm>
            <a:off x="20" y="10"/>
            <a:ext cx="12191980" cy="6857990"/>
          </a:xfrm>
          <a:prstGeom prst="rect">
            <a:avLst/>
          </a:prstGeom>
        </p:spPr>
      </p:pic>
      <p:sp>
        <p:nvSpPr>
          <p:cNvPr id="10" name="Rectangle 9">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885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8D383947-7008-4EF4-8222-1AD7A60059EE}"/>
              </a:ext>
            </a:extLst>
          </p:cNvPr>
          <p:cNvSpPr>
            <a:spLocks noGrp="1"/>
          </p:cNvSpPr>
          <p:nvPr>
            <p:ph type="title"/>
          </p:nvPr>
        </p:nvSpPr>
        <p:spPr>
          <a:xfrm>
            <a:off x="523875" y="425950"/>
            <a:ext cx="11210925" cy="744836"/>
          </a:xfrm>
        </p:spPr>
        <p:txBody>
          <a:bodyPr vert="horz" lIns="91440" tIns="45720" rIns="91440" bIns="45720" rtlCol="0" anchor="ctr">
            <a:normAutofit/>
          </a:bodyPr>
          <a:lstStyle/>
          <a:p>
            <a:pPr algn="ctr"/>
            <a:r>
              <a:rPr lang="en-US" sz="3600">
                <a:solidFill>
                  <a:schemeClr val="tx1">
                    <a:lumMod val="85000"/>
                    <a:lumOff val="15000"/>
                  </a:schemeClr>
                </a:solidFill>
              </a:rPr>
              <a:t>Ookla Qualifying Broadband Speeds</a:t>
            </a:r>
          </a:p>
        </p:txBody>
      </p:sp>
      <p:cxnSp>
        <p:nvCxnSpPr>
          <p:cNvPr id="12" name="Straight Connector 11">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35069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124356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36927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3881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1990DB82-8ED2-9748-3087-A98DA2B0122B}"/>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2600" kern="1200">
                <a:solidFill>
                  <a:srgbClr val="FFFFFF"/>
                </a:solidFill>
                <a:latin typeface="+mj-lt"/>
                <a:ea typeface="+mj-ea"/>
                <a:cs typeface="+mj-cs"/>
              </a:rPr>
              <a:t>Previous Government Funding</a:t>
            </a:r>
          </a:p>
        </p:txBody>
      </p:sp>
      <p:pic>
        <p:nvPicPr>
          <p:cNvPr id="5" name="Content Placeholder 4">
            <a:extLst>
              <a:ext uri="{FF2B5EF4-FFF2-40B4-BE49-F238E27FC236}">
                <a16:creationId xmlns:a16="http://schemas.microsoft.com/office/drawing/2014/main" id="{903BEEFB-35D7-AA46-8DE6-2A9D68A41A63}"/>
              </a:ext>
            </a:extLst>
          </p:cNvPr>
          <p:cNvPicPr>
            <a:picLocks noGrp="1" noChangeAspect="1"/>
          </p:cNvPicPr>
          <p:nvPr>
            <p:ph idx="1"/>
          </p:nvPr>
        </p:nvPicPr>
        <p:blipFill>
          <a:blip r:embed="rId2"/>
          <a:stretch>
            <a:fillRect/>
          </a:stretch>
        </p:blipFill>
        <p:spPr>
          <a:xfrm>
            <a:off x="4032514" y="747804"/>
            <a:ext cx="6531109" cy="4930987"/>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6" name="TextBox 5">
            <a:extLst>
              <a:ext uri="{FF2B5EF4-FFF2-40B4-BE49-F238E27FC236}">
                <a16:creationId xmlns:a16="http://schemas.microsoft.com/office/drawing/2014/main" id="{ADD8BCB8-0108-23F2-E4C9-A30CB710AA58}"/>
              </a:ext>
            </a:extLst>
          </p:cNvPr>
          <p:cNvSpPr txBox="1"/>
          <p:nvPr/>
        </p:nvSpPr>
        <p:spPr>
          <a:xfrm>
            <a:off x="10794151" y="1689261"/>
            <a:ext cx="11673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ptos" panose="02110004020202020204"/>
                <a:ea typeface="+mn-ea"/>
                <a:cs typeface="+mn-cs"/>
              </a:rPr>
              <a:t>RUS: Rural </a:t>
            </a:r>
            <a:r>
              <a:rPr kumimoji="0" lang="en-US" sz="800" b="1" i="0" u="none" strike="noStrike" kern="1200" cap="none" spc="0" normalizeH="0" baseline="0" noProof="0" dirty="0" err="1">
                <a:ln>
                  <a:noFill/>
                </a:ln>
                <a:solidFill>
                  <a:prstClr val="black"/>
                </a:solidFill>
                <a:effectLst/>
                <a:uLnTx/>
                <a:uFillTx/>
                <a:latin typeface="Aptos" panose="02110004020202020204"/>
                <a:ea typeface="+mn-ea"/>
                <a:cs typeface="+mn-cs"/>
              </a:rPr>
              <a:t>EConnectivity</a:t>
            </a:r>
            <a:r>
              <a:rPr kumimoji="0" lang="en-US" sz="800" b="1" i="0" u="none" strike="noStrike" kern="1200" cap="none" spc="0" normalizeH="0" baseline="0" noProof="0" dirty="0">
                <a:ln>
                  <a:noFill/>
                </a:ln>
                <a:solidFill>
                  <a:prstClr val="black"/>
                </a:solidFill>
                <a:effectLst/>
                <a:uLnTx/>
                <a:uFillTx/>
                <a:latin typeface="Aptos" panose="02110004020202020204"/>
                <a:ea typeface="+mn-ea"/>
                <a:cs typeface="+mn-cs"/>
              </a:rPr>
              <a:t> Program</a:t>
            </a:r>
          </a:p>
        </p:txBody>
      </p:sp>
      <p:sp>
        <p:nvSpPr>
          <p:cNvPr id="7" name="TextBox 6">
            <a:extLst>
              <a:ext uri="{FF2B5EF4-FFF2-40B4-BE49-F238E27FC236}">
                <a16:creationId xmlns:a16="http://schemas.microsoft.com/office/drawing/2014/main" id="{C825AE23-E1BD-18DD-3434-294A2A92065E}"/>
              </a:ext>
            </a:extLst>
          </p:cNvPr>
          <p:cNvSpPr txBox="1"/>
          <p:nvPr/>
        </p:nvSpPr>
        <p:spPr>
          <a:xfrm>
            <a:off x="7298068" y="143070"/>
            <a:ext cx="1167320"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ptos" panose="02110004020202020204"/>
                <a:ea typeface="+mn-ea"/>
                <a:cs typeface="+mn-cs"/>
              </a:rPr>
              <a:t>EACACM</a:t>
            </a:r>
          </a:p>
        </p:txBody>
      </p:sp>
      <p:cxnSp>
        <p:nvCxnSpPr>
          <p:cNvPr id="9" name="Straight Arrow Connector 8">
            <a:extLst>
              <a:ext uri="{FF2B5EF4-FFF2-40B4-BE49-F238E27FC236}">
                <a16:creationId xmlns:a16="http://schemas.microsoft.com/office/drawing/2014/main" id="{27A84437-B0E0-3222-044D-28A443FCE94F}"/>
              </a:ext>
            </a:extLst>
          </p:cNvPr>
          <p:cNvCxnSpPr>
            <a:stCxn id="7" idx="2"/>
          </p:cNvCxnSpPr>
          <p:nvPr/>
        </p:nvCxnSpPr>
        <p:spPr>
          <a:xfrm>
            <a:off x="7881728" y="358514"/>
            <a:ext cx="0" cy="9453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4922AFA9-7647-2580-179E-7E9730748FEA}"/>
              </a:ext>
            </a:extLst>
          </p:cNvPr>
          <p:cNvCxnSpPr/>
          <p:nvPr/>
        </p:nvCxnSpPr>
        <p:spPr>
          <a:xfrm flipH="1">
            <a:off x="9990667" y="1920093"/>
            <a:ext cx="931333"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EB7B07A1-7750-659E-F124-F8CDA58AB89D}"/>
              </a:ext>
            </a:extLst>
          </p:cNvPr>
          <p:cNvSpPr txBox="1"/>
          <p:nvPr/>
        </p:nvSpPr>
        <p:spPr>
          <a:xfrm>
            <a:off x="8103680" y="6002474"/>
            <a:ext cx="1167320"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ptos" panose="02110004020202020204"/>
                <a:ea typeface="+mn-ea"/>
                <a:cs typeface="+mn-cs"/>
              </a:rPr>
              <a:t>RDOF</a:t>
            </a:r>
          </a:p>
        </p:txBody>
      </p:sp>
      <p:cxnSp>
        <p:nvCxnSpPr>
          <p:cNvPr id="16" name="Straight Arrow Connector 15">
            <a:extLst>
              <a:ext uri="{FF2B5EF4-FFF2-40B4-BE49-F238E27FC236}">
                <a16:creationId xmlns:a16="http://schemas.microsoft.com/office/drawing/2014/main" id="{13045D45-2940-6411-CF5C-E5D4B80A394B}"/>
              </a:ext>
            </a:extLst>
          </p:cNvPr>
          <p:cNvCxnSpPr/>
          <p:nvPr/>
        </p:nvCxnSpPr>
        <p:spPr>
          <a:xfrm flipV="1">
            <a:off x="8813800" y="5088467"/>
            <a:ext cx="457200" cy="8382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BBF6431D-05DF-0220-DFE6-ABB9FFE76C84}"/>
              </a:ext>
            </a:extLst>
          </p:cNvPr>
          <p:cNvCxnSpPr/>
          <p:nvPr/>
        </p:nvCxnSpPr>
        <p:spPr>
          <a:xfrm flipH="1" flipV="1">
            <a:off x="7772400" y="4715933"/>
            <a:ext cx="1041400" cy="12276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B8A14681-9051-7CD0-FE41-E73E7D0C7949}"/>
              </a:ext>
            </a:extLst>
          </p:cNvPr>
          <p:cNvSpPr txBox="1"/>
          <p:nvPr/>
        </p:nvSpPr>
        <p:spPr>
          <a:xfrm>
            <a:off x="5512340" y="6002474"/>
            <a:ext cx="1167320"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ptos" panose="02110004020202020204"/>
                <a:ea typeface="+mn-ea"/>
                <a:cs typeface="+mn-cs"/>
              </a:rPr>
              <a:t>CAF II</a:t>
            </a:r>
          </a:p>
        </p:txBody>
      </p:sp>
      <p:cxnSp>
        <p:nvCxnSpPr>
          <p:cNvPr id="21" name="Straight Arrow Connector 20">
            <a:extLst>
              <a:ext uri="{FF2B5EF4-FFF2-40B4-BE49-F238E27FC236}">
                <a16:creationId xmlns:a16="http://schemas.microsoft.com/office/drawing/2014/main" id="{7E94F3CF-B7F6-EF85-F946-CABD07DD579A}"/>
              </a:ext>
            </a:extLst>
          </p:cNvPr>
          <p:cNvCxnSpPr>
            <a:stCxn id="19" idx="0"/>
          </p:cNvCxnSpPr>
          <p:nvPr/>
        </p:nvCxnSpPr>
        <p:spPr>
          <a:xfrm flipV="1">
            <a:off x="6096000" y="4470400"/>
            <a:ext cx="583660" cy="153207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5E413826-55E5-BE36-B323-81168A935B7B}"/>
              </a:ext>
            </a:extLst>
          </p:cNvPr>
          <p:cNvCxnSpPr>
            <a:stCxn id="19" idx="0"/>
          </p:cNvCxnSpPr>
          <p:nvPr/>
        </p:nvCxnSpPr>
        <p:spPr>
          <a:xfrm flipH="1" flipV="1">
            <a:off x="5753443" y="4224867"/>
            <a:ext cx="342557" cy="177760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396836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Content Placeholder 4" descr="A map of land with red dots&#10;&#10;Description automatically generated">
            <a:extLst>
              <a:ext uri="{FF2B5EF4-FFF2-40B4-BE49-F238E27FC236}">
                <a16:creationId xmlns:a16="http://schemas.microsoft.com/office/drawing/2014/main" id="{46A6063B-DB79-4028-293E-BD29554A7845}"/>
              </a:ext>
            </a:extLst>
          </p:cNvPr>
          <p:cNvPicPr>
            <a:picLocks noGrp="1" noChangeAspect="1"/>
          </p:cNvPicPr>
          <p:nvPr>
            <p:ph idx="1"/>
          </p:nvPr>
        </p:nvPicPr>
        <p:blipFill rotWithShape="1">
          <a:blip r:embed="rId2"/>
          <a:srcRect b="20228"/>
          <a:stretch/>
        </p:blipFill>
        <p:spPr>
          <a:xfrm>
            <a:off x="20" y="1282"/>
            <a:ext cx="12191980" cy="6856718"/>
          </a:xfrm>
          <a:prstGeom prst="rect">
            <a:avLst/>
          </a:prstGeom>
        </p:spPr>
      </p:pic>
    </p:spTree>
    <p:extLst>
      <p:ext uri="{BB962C8B-B14F-4D97-AF65-F5344CB8AC3E}">
        <p14:creationId xmlns:p14="http://schemas.microsoft.com/office/powerpoint/2010/main" val="1554924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93446DF3-EE1C-CB6F-22F0-1194EE2D76CC}"/>
              </a:ext>
            </a:extLst>
          </p:cNvPr>
          <p:cNvPicPr>
            <a:picLocks noChangeAspect="1"/>
          </p:cNvPicPr>
          <p:nvPr/>
        </p:nvPicPr>
        <p:blipFill>
          <a:blip r:embed="rId3"/>
          <a:srcRect t="19643"/>
          <a:stretch/>
        </p:blipFill>
        <p:spPr>
          <a:xfrm>
            <a:off x="30480" y="0"/>
            <a:ext cx="12191999" cy="6857990"/>
          </a:xfrm>
          <a:prstGeom prst="rect">
            <a:avLst/>
          </a:prstGeom>
        </p:spPr>
      </p:pic>
      <p:sp>
        <p:nvSpPr>
          <p:cNvPr id="30" name="Rectangle 29">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8587E0F-C978-9B76-7F50-4866FA3AED53}"/>
              </a:ext>
            </a:extLst>
          </p:cNvPr>
          <p:cNvSpPr>
            <a:spLocks noGrp="1"/>
          </p:cNvSpPr>
          <p:nvPr>
            <p:ph type="title"/>
          </p:nvPr>
        </p:nvSpPr>
        <p:spPr>
          <a:xfrm>
            <a:off x="1065275" y="161010"/>
            <a:ext cx="10058400" cy="1114371"/>
          </a:xfrm>
          <a:effectLst>
            <a:outerShdw blurRad="50800" dist="38100" dir="2700000" algn="tl" rotWithShape="0">
              <a:prstClr val="black">
                <a:alpha val="40000"/>
              </a:prstClr>
            </a:outerShdw>
          </a:effectLst>
        </p:spPr>
        <p:txBody>
          <a:bodyPr vert="horz" lIns="91440" tIns="45720" rIns="91440" bIns="45720" rtlCol="0" anchor="b">
            <a:normAutofit/>
          </a:bodyPr>
          <a:lstStyle/>
          <a:p>
            <a:pPr algn="ctr"/>
            <a:r>
              <a:rPr lang="en-US" sz="5200" dirty="0">
                <a:solidFill>
                  <a:srgbClr val="FFFFFF"/>
                </a:solidFill>
              </a:rPr>
              <a:t>Winncom Enhanced Services</a:t>
            </a:r>
          </a:p>
        </p:txBody>
      </p:sp>
      <p:sp>
        <p:nvSpPr>
          <p:cNvPr id="3" name="Text Placeholder 2">
            <a:extLst>
              <a:ext uri="{FF2B5EF4-FFF2-40B4-BE49-F238E27FC236}">
                <a16:creationId xmlns:a16="http://schemas.microsoft.com/office/drawing/2014/main" id="{14F370BF-87E4-AB9F-7673-BD2D55E264A0}"/>
              </a:ext>
            </a:extLst>
          </p:cNvPr>
          <p:cNvSpPr>
            <a:spLocks noGrp="1"/>
          </p:cNvSpPr>
          <p:nvPr>
            <p:ph type="body" idx="1"/>
          </p:nvPr>
        </p:nvSpPr>
        <p:spPr>
          <a:xfrm>
            <a:off x="1100051" y="4072043"/>
            <a:ext cx="10058400" cy="2460407"/>
          </a:xfrm>
          <a:effectLst>
            <a:outerShdw blurRad="50800" dist="38100" dir="2700000" algn="tl" rotWithShape="0">
              <a:prstClr val="black">
                <a:alpha val="40000"/>
              </a:prstClr>
            </a:outerShdw>
          </a:effectLst>
        </p:spPr>
        <p:txBody>
          <a:bodyPr vert="horz" lIns="91440" tIns="45720" rIns="91440" bIns="45720" rtlCol="0">
            <a:normAutofit/>
          </a:bodyPr>
          <a:lstStyle/>
          <a:p>
            <a:pPr algn="ctr"/>
            <a:r>
              <a:rPr lang="en-US" sz="3200" dirty="0">
                <a:solidFill>
                  <a:srgbClr val="FFFFFF"/>
                </a:solidFill>
              </a:rPr>
              <a:t>High Level Fiber Design</a:t>
            </a:r>
          </a:p>
          <a:p>
            <a:pPr algn="ctr"/>
            <a:r>
              <a:rPr lang="en-US" sz="3200" dirty="0">
                <a:solidFill>
                  <a:srgbClr val="FFFFFF"/>
                </a:solidFill>
              </a:rPr>
              <a:t>Grant Writing</a:t>
            </a:r>
          </a:p>
          <a:p>
            <a:pPr algn="ctr"/>
            <a:r>
              <a:rPr lang="en-US" sz="3200" dirty="0">
                <a:solidFill>
                  <a:srgbClr val="FFFFFF"/>
                </a:solidFill>
              </a:rPr>
              <a:t>Professional Engineering Services</a:t>
            </a:r>
          </a:p>
          <a:p>
            <a:pPr algn="ctr"/>
            <a:r>
              <a:rPr lang="en-US" sz="3200" dirty="0">
                <a:solidFill>
                  <a:srgbClr val="FFFFFF"/>
                </a:solidFill>
              </a:rPr>
              <a:t>Financial Services</a:t>
            </a:r>
          </a:p>
        </p:txBody>
      </p:sp>
    </p:spTree>
    <p:extLst>
      <p:ext uri="{BB962C8B-B14F-4D97-AF65-F5344CB8AC3E}">
        <p14:creationId xmlns:p14="http://schemas.microsoft.com/office/powerpoint/2010/main" val="20772163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5954CDB-CE29-F75F-EB46-8CF644997A20}"/>
              </a:ext>
            </a:extLst>
          </p:cNvPr>
          <p:cNvPicPr>
            <a:picLocks noChangeAspect="1"/>
          </p:cNvPicPr>
          <p:nvPr/>
        </p:nvPicPr>
        <p:blipFill rotWithShape="1">
          <a:blip r:embed="rId3"/>
          <a:srcRect b="2598"/>
          <a:stretch/>
        </p:blipFill>
        <p:spPr>
          <a:xfrm>
            <a:off x="20" y="10"/>
            <a:ext cx="12191980" cy="6857990"/>
          </a:xfrm>
          <a:prstGeom prst="rect">
            <a:avLst/>
          </a:prstGeom>
          <a:solidFill>
            <a:srgbClr val="FFFFFF">
              <a:shade val="85000"/>
            </a:srgbClr>
          </a:solidFill>
          <a:scene3d>
            <a:camera prst="orthographicFront"/>
            <a:lightRig rig="twoPt" dir="t">
              <a:rot lat="0" lon="0" rev="7200000"/>
            </a:lightRig>
          </a:scene3d>
          <a:sp3d>
            <a:bevelT w="25400" h="19050"/>
            <a:contourClr>
              <a:srgbClr val="FFFFFF"/>
            </a:contourClr>
          </a:sp3d>
        </p:spPr>
      </p:pic>
      <p:sp>
        <p:nvSpPr>
          <p:cNvPr id="2" name="Title 1">
            <a:extLst>
              <a:ext uri="{FF2B5EF4-FFF2-40B4-BE49-F238E27FC236}">
                <a16:creationId xmlns:a16="http://schemas.microsoft.com/office/drawing/2014/main" id="{599799E0-9FE3-7292-5A81-6F44B4743969}"/>
              </a:ext>
            </a:extLst>
          </p:cNvPr>
          <p:cNvSpPr>
            <a:spLocks noGrp="1"/>
          </p:cNvSpPr>
          <p:nvPr>
            <p:ph type="title"/>
          </p:nvPr>
        </p:nvSpPr>
        <p:spPr>
          <a:xfrm>
            <a:off x="502613" y="2985802"/>
            <a:ext cx="3414373" cy="886397"/>
          </a:xfrm>
          <a:solidFill>
            <a:schemeClr val="bg1">
              <a:alpha val="90000"/>
            </a:schemeClr>
          </a:solidFill>
          <a:ln w="127000" cap="sq" cmpd="thinThick">
            <a:solidFill>
              <a:schemeClr val="bg1"/>
            </a:solidFill>
          </a:ln>
        </p:spPr>
        <p:txBody>
          <a:bodyPr vert="horz" wrap="square" lIns="91440" tIns="45720" rIns="91440" bIns="45720" rtlCol="0" anchor="ctr">
            <a:normAutofit/>
          </a:bodyPr>
          <a:lstStyle/>
          <a:p>
            <a:pPr algn="ctr"/>
            <a:r>
              <a:rPr lang="en-US" sz="2400">
                <a:solidFill>
                  <a:schemeClr val="tx1">
                    <a:lumMod val="75000"/>
                    <a:lumOff val="25000"/>
                  </a:schemeClr>
                </a:solidFill>
              </a:rPr>
              <a:t>Enhanced Services: High-Level Fiber Design</a:t>
            </a:r>
          </a:p>
        </p:txBody>
      </p:sp>
    </p:spTree>
    <p:extLst>
      <p:ext uri="{BB962C8B-B14F-4D97-AF65-F5344CB8AC3E}">
        <p14:creationId xmlns:p14="http://schemas.microsoft.com/office/powerpoint/2010/main" val="454760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9451528-0368-45CE-A13E-EDB97BE9583E}"/>
              </a:ext>
            </a:extLst>
          </p:cNvPr>
          <p:cNvSpPr>
            <a:spLocks noGrp="1"/>
          </p:cNvSpPr>
          <p:nvPr>
            <p:ph type="title"/>
          </p:nvPr>
        </p:nvSpPr>
        <p:spPr>
          <a:xfrm>
            <a:off x="1066800" y="146644"/>
            <a:ext cx="10408194" cy="682687"/>
          </a:xfrm>
        </p:spPr>
        <p:txBody>
          <a:bodyPr vert="horz" lIns="91440" tIns="45720" rIns="91440" bIns="45720" rtlCol="0" anchor="b">
            <a:normAutofit/>
          </a:bodyPr>
          <a:lstStyle/>
          <a:p>
            <a:pPr marL="0" indent="0" algn="ctr">
              <a:buNone/>
            </a:pPr>
            <a:r>
              <a:rPr lang="en-US" sz="3200" b="0" dirty="0">
                <a:solidFill>
                  <a:schemeClr val="tx2"/>
                </a:solidFill>
                <a:effectLst/>
                <a:latin typeface="Avenir Next LT Pro Demi"/>
              </a:rPr>
              <a:t>WHERE</a:t>
            </a:r>
            <a:r>
              <a:rPr lang="en-US" sz="3200" b="1" dirty="0">
                <a:solidFill>
                  <a:schemeClr val="tx2"/>
                </a:solidFill>
                <a:effectLst/>
                <a:latin typeface="Avenir Next LT Pro Demi"/>
              </a:rPr>
              <a:t>,</a:t>
            </a:r>
            <a:r>
              <a:rPr lang="en-US" sz="3200" b="1" dirty="0">
                <a:solidFill>
                  <a:schemeClr val="tx2"/>
                </a:solidFill>
                <a:effectLst/>
              </a:rPr>
              <a:t> WHAT </a:t>
            </a:r>
            <a:r>
              <a:rPr lang="en-US" sz="3200" b="0" dirty="0">
                <a:solidFill>
                  <a:schemeClr val="tx2"/>
                </a:solidFill>
                <a:effectLst/>
                <a:latin typeface="Avenir Next LT Pro"/>
              </a:rPr>
              <a:t>and </a:t>
            </a:r>
            <a:r>
              <a:rPr lang="en-US" sz="3200" b="1" dirty="0">
                <a:solidFill>
                  <a:schemeClr val="tx2"/>
                </a:solidFill>
                <a:effectLst/>
              </a:rPr>
              <a:t>HOW MUCH </a:t>
            </a:r>
            <a:r>
              <a:rPr lang="en-US" sz="3200" b="0" dirty="0">
                <a:solidFill>
                  <a:schemeClr val="tx2"/>
                </a:solidFill>
                <a:effectLst/>
                <a:latin typeface="Avenir Next LT Pro"/>
              </a:rPr>
              <a:t>To Bid?</a:t>
            </a:r>
          </a:p>
        </p:txBody>
      </p:sp>
      <p:sp>
        <p:nvSpPr>
          <p:cNvPr id="15" name="Footer Placeholder 4">
            <a:extLst>
              <a:ext uri="{FF2B5EF4-FFF2-40B4-BE49-F238E27FC236}">
                <a16:creationId xmlns:a16="http://schemas.microsoft.com/office/drawing/2014/main" id="{4691AE17-CF5E-8540-0BBC-43B2B9506EFF}"/>
              </a:ext>
            </a:extLst>
          </p:cNvPr>
          <p:cNvSpPr>
            <a:spLocks noGrp="1"/>
          </p:cNvSpPr>
          <p:nvPr>
            <p:ph type="ftr" sz="quarter" idx="11"/>
          </p:nvPr>
        </p:nvSpPr>
        <p:spPr>
          <a:xfrm>
            <a:off x="1097279" y="6446838"/>
            <a:ext cx="4846321" cy="365125"/>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black"/>
                </a:solidFill>
                <a:effectLst/>
                <a:uLnTx/>
                <a:uFillTx/>
                <a:latin typeface="Avenir Next LT Pro"/>
                <a:ea typeface="+mn-ea"/>
                <a:cs typeface="+mn-cs"/>
              </a:rPr>
              <a:t>Collaborate. Integrate. Succeed. </a:t>
            </a:r>
          </a:p>
        </p:txBody>
      </p:sp>
      <p:sp>
        <p:nvSpPr>
          <p:cNvPr id="21" name="TextBox 20">
            <a:extLst>
              <a:ext uri="{FF2B5EF4-FFF2-40B4-BE49-F238E27FC236}">
                <a16:creationId xmlns:a16="http://schemas.microsoft.com/office/drawing/2014/main" id="{314275A6-4CB7-D5F0-86D6-175CC515DEB4}"/>
              </a:ext>
            </a:extLst>
          </p:cNvPr>
          <p:cNvSpPr txBox="1"/>
          <p:nvPr/>
        </p:nvSpPr>
        <p:spPr>
          <a:xfrm>
            <a:off x="1097279" y="1052341"/>
            <a:ext cx="10207898" cy="68268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venir Next LT Pro"/>
                <a:ea typeface="+mn-ea"/>
                <a:cs typeface="+mn-cs"/>
              </a:rPr>
              <a:t>You provide us a few parameters…and we will provide the </a:t>
            </a:r>
            <a:r>
              <a:rPr kumimoji="0" lang="en-US" sz="1800" b="1" i="0" u="none" strike="noStrike" kern="1200" cap="none" spc="0" normalizeH="0" baseline="0" noProof="0" dirty="0">
                <a:ln>
                  <a:noFill/>
                </a:ln>
                <a:solidFill>
                  <a:prstClr val="black"/>
                </a:solidFill>
                <a:effectLst/>
                <a:uLnTx/>
                <a:uFillTx/>
                <a:latin typeface="Avenir Next LT Pro"/>
                <a:ea typeface="+mn-ea"/>
                <a:cs typeface="+mn-cs"/>
              </a:rPr>
              <a:t>WHERE </a:t>
            </a:r>
            <a:r>
              <a:rPr kumimoji="0" lang="en-US" sz="1800" b="0" i="0" u="none" strike="noStrike" kern="1200" cap="none" spc="0" normalizeH="0" baseline="0" noProof="0" dirty="0">
                <a:ln>
                  <a:noFill/>
                </a:ln>
                <a:solidFill>
                  <a:prstClr val="black"/>
                </a:solidFill>
                <a:effectLst/>
                <a:uLnTx/>
                <a:uFillTx/>
                <a:latin typeface="Avenir Next LT Pro"/>
                <a:ea typeface="+mn-ea"/>
                <a:cs typeface="+mn-cs"/>
              </a:rPr>
              <a:t>to bid, the recommended network structure (</a:t>
            </a:r>
            <a:r>
              <a:rPr kumimoji="0" lang="en-US" sz="1800" b="1" i="0" u="none" strike="noStrike" kern="1200" cap="none" spc="0" normalizeH="0" baseline="0" noProof="0" dirty="0">
                <a:ln>
                  <a:noFill/>
                </a:ln>
                <a:solidFill>
                  <a:prstClr val="black"/>
                </a:solidFill>
                <a:effectLst/>
                <a:uLnTx/>
                <a:uFillTx/>
                <a:latin typeface="Avenir Next LT Pro"/>
                <a:ea typeface="+mn-ea"/>
                <a:cs typeface="+mn-cs"/>
              </a:rPr>
              <a:t>WHAT</a:t>
            </a:r>
            <a:r>
              <a:rPr kumimoji="0" lang="en-US" sz="1800" b="0" i="0" u="none" strike="noStrike" kern="1200" cap="none" spc="0" normalizeH="0" baseline="0" noProof="0" dirty="0">
                <a:ln>
                  <a:noFill/>
                </a:ln>
                <a:solidFill>
                  <a:prstClr val="black"/>
                </a:solidFill>
                <a:effectLst/>
                <a:uLnTx/>
                <a:uFillTx/>
                <a:latin typeface="Avenir Next LT Pro"/>
                <a:ea typeface="+mn-ea"/>
                <a:cs typeface="+mn-cs"/>
              </a:rPr>
              <a:t>) with the costs and ROI (</a:t>
            </a:r>
            <a:r>
              <a:rPr kumimoji="0" lang="en-US" sz="1800" b="1" i="0" u="none" strike="noStrike" kern="1200" cap="none" spc="0" normalizeH="0" baseline="0" noProof="0" dirty="0">
                <a:ln>
                  <a:noFill/>
                </a:ln>
                <a:solidFill>
                  <a:prstClr val="black"/>
                </a:solidFill>
                <a:effectLst/>
                <a:uLnTx/>
                <a:uFillTx/>
                <a:latin typeface="Avenir Next LT Pro"/>
                <a:ea typeface="+mn-ea"/>
                <a:cs typeface="+mn-cs"/>
              </a:rPr>
              <a:t>HOW MUCH</a:t>
            </a:r>
            <a:r>
              <a:rPr kumimoji="0" lang="en-US" sz="1800" b="0" i="0" u="none" strike="noStrike" kern="1200" cap="none" spc="0" normalizeH="0" baseline="0" noProof="0" dirty="0">
                <a:ln>
                  <a:noFill/>
                </a:ln>
                <a:solidFill>
                  <a:prstClr val="black"/>
                </a:solidFill>
                <a:effectLst/>
                <a:uLnTx/>
                <a:uFillTx/>
                <a:latin typeface="Avenir Next LT Pro"/>
                <a:ea typeface="+mn-ea"/>
                <a:cs typeface="+mn-cs"/>
              </a:rPr>
              <a:t>)</a:t>
            </a:r>
            <a:endParaRPr kumimoji="0" lang="en-US" sz="1800" b="1" i="0" u="none" strike="noStrike" kern="1200" cap="none" spc="0" normalizeH="0" baseline="0" noProof="0" dirty="0">
              <a:ln>
                <a:noFill/>
              </a:ln>
              <a:solidFill>
                <a:prstClr val="black"/>
              </a:solidFill>
              <a:effectLst/>
              <a:uLnTx/>
              <a:uFillTx/>
              <a:latin typeface="Avenir Next LT Pro"/>
              <a:ea typeface="+mn-ea"/>
              <a:cs typeface="+mn-cs"/>
            </a:endParaRPr>
          </a:p>
        </p:txBody>
      </p:sp>
      <p:graphicFrame>
        <p:nvGraphicFramePr>
          <p:cNvPr id="2" name="Diagram 1">
            <a:extLst>
              <a:ext uri="{FF2B5EF4-FFF2-40B4-BE49-F238E27FC236}">
                <a16:creationId xmlns:a16="http://schemas.microsoft.com/office/drawing/2014/main" id="{31A610A8-2EE2-B1B2-A88E-83FD4C17B3CE}"/>
              </a:ext>
            </a:extLst>
          </p:cNvPr>
          <p:cNvGraphicFramePr/>
          <p:nvPr>
            <p:extLst>
              <p:ext uri="{D42A27DB-BD31-4B8C-83A1-F6EECF244321}">
                <p14:modId xmlns:p14="http://schemas.microsoft.com/office/powerpoint/2010/main" val="387846583"/>
              </p:ext>
            </p:extLst>
          </p:nvPr>
        </p:nvGraphicFramePr>
        <p:xfrm>
          <a:off x="907142" y="2011449"/>
          <a:ext cx="10377715" cy="39091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74886026"/>
      </p:ext>
    </p:extLst>
  </p:cSld>
  <p:clrMapOvr>
    <a:masterClrMapping/>
  </p:clrMapOvr>
  <p:transition spd="med">
    <p:pull/>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9AB20-CDDE-8D05-6DD9-601A81449D1F}"/>
              </a:ext>
            </a:extLst>
          </p:cNvPr>
          <p:cNvSpPr>
            <a:spLocks noGrp="1"/>
          </p:cNvSpPr>
          <p:nvPr>
            <p:ph type="title"/>
          </p:nvPr>
        </p:nvSpPr>
        <p:spPr/>
        <p:txBody>
          <a:bodyPr/>
          <a:lstStyle/>
          <a:p>
            <a:r>
              <a:rPr lang="en-US" dirty="0"/>
              <a:t>The WHERE</a:t>
            </a:r>
          </a:p>
        </p:txBody>
      </p:sp>
      <p:pic>
        <p:nvPicPr>
          <p:cNvPr id="9" name="Content Placeholder 8" descr="A screenshot of a map&#10;&#10;Description automatically generated">
            <a:extLst>
              <a:ext uri="{FF2B5EF4-FFF2-40B4-BE49-F238E27FC236}">
                <a16:creationId xmlns:a16="http://schemas.microsoft.com/office/drawing/2014/main" id="{68A36B0D-EB3C-5A6D-D2B8-681C8B915E05}"/>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58855" y="1786541"/>
            <a:ext cx="6966472" cy="3947835"/>
          </a:xfrm>
          <a:prstGeom prst="rect">
            <a:avLst/>
          </a:prstGeom>
          <a:ln>
            <a:noFill/>
          </a:ln>
          <a:effectLst>
            <a:outerShdw blurRad="190500" algn="tl" rotWithShape="0">
              <a:srgbClr val="000000">
                <a:alpha val="70000"/>
              </a:srgbClr>
            </a:outerShdw>
          </a:effectLst>
        </p:spPr>
      </p:pic>
      <p:pic>
        <p:nvPicPr>
          <p:cNvPr id="11" name="Picture 10" descr="A screenshot of a computer&#10;&#10;Description automatically generated">
            <a:extLst>
              <a:ext uri="{FF2B5EF4-FFF2-40B4-BE49-F238E27FC236}">
                <a16:creationId xmlns:a16="http://schemas.microsoft.com/office/drawing/2014/main" id="{FC74A5FB-9AB8-25BD-B6F9-F31F6323920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8530" y="481875"/>
            <a:ext cx="6457137" cy="3083312"/>
          </a:xfrm>
          <a:prstGeom prst="rect">
            <a:avLst/>
          </a:prstGeom>
          <a:ln>
            <a:noFill/>
          </a:ln>
          <a:effectLst>
            <a:outerShdw blurRad="190500" algn="tl" rotWithShape="0">
              <a:srgbClr val="000000">
                <a:alpha val="70000"/>
              </a:srgbClr>
            </a:outerShdw>
          </a:effectLst>
        </p:spPr>
      </p:pic>
      <p:sp>
        <p:nvSpPr>
          <p:cNvPr id="12" name="TextBox 11">
            <a:extLst>
              <a:ext uri="{FF2B5EF4-FFF2-40B4-BE49-F238E27FC236}">
                <a16:creationId xmlns:a16="http://schemas.microsoft.com/office/drawing/2014/main" id="{8E520E27-3A96-6FBC-7A7B-D9815DCD762B}"/>
              </a:ext>
            </a:extLst>
          </p:cNvPr>
          <p:cNvSpPr txBox="1"/>
          <p:nvPr/>
        </p:nvSpPr>
        <p:spPr>
          <a:xfrm>
            <a:off x="8780835" y="3686783"/>
            <a:ext cx="271448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venir Next LT Pro"/>
                <a:ea typeface="+mn-ea"/>
                <a:cs typeface="+mn-cs"/>
              </a:rPr>
              <a:t>Demographic Overlay of Target Area</a:t>
            </a:r>
          </a:p>
        </p:txBody>
      </p:sp>
      <p:cxnSp>
        <p:nvCxnSpPr>
          <p:cNvPr id="14" name="Straight Arrow Connector 13">
            <a:extLst>
              <a:ext uri="{FF2B5EF4-FFF2-40B4-BE49-F238E27FC236}">
                <a16:creationId xmlns:a16="http://schemas.microsoft.com/office/drawing/2014/main" id="{7566FBA6-1A0B-0410-AFEE-A41A14139E88}"/>
              </a:ext>
            </a:extLst>
          </p:cNvPr>
          <p:cNvCxnSpPr/>
          <p:nvPr/>
        </p:nvCxnSpPr>
        <p:spPr>
          <a:xfrm flipV="1">
            <a:off x="9484468" y="2708563"/>
            <a:ext cx="77821" cy="97822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15" name="TextBox 14">
            <a:extLst>
              <a:ext uri="{FF2B5EF4-FFF2-40B4-BE49-F238E27FC236}">
                <a16:creationId xmlns:a16="http://schemas.microsoft.com/office/drawing/2014/main" id="{884711C0-5F7C-0117-9807-9C73C9F35D6B}"/>
              </a:ext>
            </a:extLst>
          </p:cNvPr>
          <p:cNvSpPr txBox="1"/>
          <p:nvPr/>
        </p:nvSpPr>
        <p:spPr>
          <a:xfrm>
            <a:off x="7125327" y="4334820"/>
            <a:ext cx="271448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venir Next LT Pro"/>
                <a:ea typeface="+mn-ea"/>
                <a:cs typeface="+mn-cs"/>
              </a:rPr>
              <a:t>Ability to Alter Custom Business Attributes</a:t>
            </a:r>
          </a:p>
        </p:txBody>
      </p:sp>
      <p:cxnSp>
        <p:nvCxnSpPr>
          <p:cNvPr id="16" name="Straight Arrow Connector 15">
            <a:extLst>
              <a:ext uri="{FF2B5EF4-FFF2-40B4-BE49-F238E27FC236}">
                <a16:creationId xmlns:a16="http://schemas.microsoft.com/office/drawing/2014/main" id="{08005F5D-333F-9BA9-5530-339CF8E16E30}"/>
              </a:ext>
            </a:extLst>
          </p:cNvPr>
          <p:cNvCxnSpPr>
            <a:cxnSpLocks/>
          </p:cNvCxnSpPr>
          <p:nvPr/>
        </p:nvCxnSpPr>
        <p:spPr>
          <a:xfrm flipH="1" flipV="1">
            <a:off x="6157087" y="2248678"/>
            <a:ext cx="1718172" cy="2083245"/>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18" name="TextBox 17">
            <a:extLst>
              <a:ext uri="{FF2B5EF4-FFF2-40B4-BE49-F238E27FC236}">
                <a16:creationId xmlns:a16="http://schemas.microsoft.com/office/drawing/2014/main" id="{2BF08DEF-DFA9-E5F1-D28E-888986F36452}"/>
              </a:ext>
            </a:extLst>
          </p:cNvPr>
          <p:cNvSpPr txBox="1"/>
          <p:nvPr/>
        </p:nvSpPr>
        <p:spPr>
          <a:xfrm>
            <a:off x="0" y="5866234"/>
            <a:ext cx="271448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venir Next LT Pro"/>
                <a:ea typeface="+mn-ea"/>
                <a:cs typeface="+mn-cs"/>
              </a:rPr>
              <a:t>Ranking Score</a:t>
            </a:r>
          </a:p>
        </p:txBody>
      </p:sp>
      <p:cxnSp>
        <p:nvCxnSpPr>
          <p:cNvPr id="19" name="Straight Arrow Connector 18">
            <a:extLst>
              <a:ext uri="{FF2B5EF4-FFF2-40B4-BE49-F238E27FC236}">
                <a16:creationId xmlns:a16="http://schemas.microsoft.com/office/drawing/2014/main" id="{14FDBED3-D4B3-3F3B-041A-2AFB53CFAFD9}"/>
              </a:ext>
            </a:extLst>
          </p:cNvPr>
          <p:cNvCxnSpPr>
            <a:cxnSpLocks/>
          </p:cNvCxnSpPr>
          <p:nvPr/>
        </p:nvCxnSpPr>
        <p:spPr>
          <a:xfrm flipH="1" flipV="1">
            <a:off x="1341385" y="4009948"/>
            <a:ext cx="155362" cy="1866977"/>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21" name="TextBox 20">
            <a:extLst>
              <a:ext uri="{FF2B5EF4-FFF2-40B4-BE49-F238E27FC236}">
                <a16:creationId xmlns:a16="http://schemas.microsoft.com/office/drawing/2014/main" id="{F83E4E58-BF19-CCE9-21BE-336A186C9F60}"/>
              </a:ext>
            </a:extLst>
          </p:cNvPr>
          <p:cNvSpPr txBox="1"/>
          <p:nvPr/>
        </p:nvSpPr>
        <p:spPr>
          <a:xfrm>
            <a:off x="3122271" y="4033660"/>
            <a:ext cx="271448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venir Next LT Pro"/>
                <a:ea typeface="+mn-ea"/>
                <a:cs typeface="+mn-cs"/>
              </a:rPr>
              <a:t>Matches Based on Selections</a:t>
            </a:r>
          </a:p>
        </p:txBody>
      </p:sp>
      <p:cxnSp>
        <p:nvCxnSpPr>
          <p:cNvPr id="22" name="Straight Arrow Connector 21">
            <a:extLst>
              <a:ext uri="{FF2B5EF4-FFF2-40B4-BE49-F238E27FC236}">
                <a16:creationId xmlns:a16="http://schemas.microsoft.com/office/drawing/2014/main" id="{4F9D3B9E-FE94-9C5A-D0B5-906EEB31ECE9}"/>
              </a:ext>
            </a:extLst>
          </p:cNvPr>
          <p:cNvCxnSpPr>
            <a:cxnSpLocks/>
          </p:cNvCxnSpPr>
          <p:nvPr/>
        </p:nvCxnSpPr>
        <p:spPr>
          <a:xfrm flipH="1" flipV="1">
            <a:off x="3986127" y="2387377"/>
            <a:ext cx="791085" cy="1736754"/>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cxnSp>
        <p:nvCxnSpPr>
          <p:cNvPr id="24" name="Straight Arrow Connector 23">
            <a:extLst>
              <a:ext uri="{FF2B5EF4-FFF2-40B4-BE49-F238E27FC236}">
                <a16:creationId xmlns:a16="http://schemas.microsoft.com/office/drawing/2014/main" id="{003650D7-660F-62EB-E60F-F1340D3B79DF}"/>
              </a:ext>
            </a:extLst>
          </p:cNvPr>
          <p:cNvCxnSpPr>
            <a:cxnSpLocks/>
          </p:cNvCxnSpPr>
          <p:nvPr/>
        </p:nvCxnSpPr>
        <p:spPr>
          <a:xfrm flipH="1" flipV="1">
            <a:off x="3236195" y="3669015"/>
            <a:ext cx="1121201" cy="364645"/>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225674150"/>
      </p:ext>
    </p:extLst>
  </p:cSld>
  <p:clrMapOvr>
    <a:masterClrMapping/>
  </p:clrMapOvr>
  <p:transition spd="med">
    <p:pull/>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9AB20-CDDE-8D05-6DD9-601A81449D1F}"/>
              </a:ext>
            </a:extLst>
          </p:cNvPr>
          <p:cNvSpPr>
            <a:spLocks noGrp="1"/>
          </p:cNvSpPr>
          <p:nvPr>
            <p:ph type="title"/>
          </p:nvPr>
        </p:nvSpPr>
        <p:spPr>
          <a:xfrm>
            <a:off x="959313" y="242601"/>
            <a:ext cx="10058400" cy="1450757"/>
          </a:xfrm>
        </p:spPr>
        <p:txBody>
          <a:bodyPr>
            <a:normAutofit/>
          </a:bodyPr>
          <a:lstStyle/>
          <a:p>
            <a:r>
              <a:rPr lang="en-US" sz="4000"/>
              <a:t>The NETWORK</a:t>
            </a:r>
          </a:p>
        </p:txBody>
      </p:sp>
      <p:sp>
        <p:nvSpPr>
          <p:cNvPr id="12" name="TextBox 11">
            <a:extLst>
              <a:ext uri="{FF2B5EF4-FFF2-40B4-BE49-F238E27FC236}">
                <a16:creationId xmlns:a16="http://schemas.microsoft.com/office/drawing/2014/main" id="{8E520E27-3A96-6FBC-7A7B-D9815DCD762B}"/>
              </a:ext>
            </a:extLst>
          </p:cNvPr>
          <p:cNvSpPr txBox="1"/>
          <p:nvPr/>
        </p:nvSpPr>
        <p:spPr>
          <a:xfrm>
            <a:off x="8995439" y="3726940"/>
            <a:ext cx="271448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venir Next LT Pro"/>
                <a:ea typeface="+mn-ea"/>
                <a:cs typeface="+mn-cs"/>
              </a:rPr>
              <a:t>Recommended Fiber Spine</a:t>
            </a:r>
          </a:p>
        </p:txBody>
      </p:sp>
      <p:sp>
        <p:nvSpPr>
          <p:cNvPr id="15" name="TextBox 14">
            <a:extLst>
              <a:ext uri="{FF2B5EF4-FFF2-40B4-BE49-F238E27FC236}">
                <a16:creationId xmlns:a16="http://schemas.microsoft.com/office/drawing/2014/main" id="{884711C0-5F7C-0117-9807-9C73C9F35D6B}"/>
              </a:ext>
            </a:extLst>
          </p:cNvPr>
          <p:cNvSpPr txBox="1"/>
          <p:nvPr/>
        </p:nvSpPr>
        <p:spPr>
          <a:xfrm>
            <a:off x="7864309" y="5020747"/>
            <a:ext cx="271448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venir Next LT Pro"/>
                <a:ea typeface="+mn-ea"/>
                <a:cs typeface="+mn-cs"/>
              </a:rPr>
              <a:t>Details of Served vs Unserved and Types</a:t>
            </a:r>
          </a:p>
        </p:txBody>
      </p:sp>
      <p:sp>
        <p:nvSpPr>
          <p:cNvPr id="21" name="TextBox 20">
            <a:extLst>
              <a:ext uri="{FF2B5EF4-FFF2-40B4-BE49-F238E27FC236}">
                <a16:creationId xmlns:a16="http://schemas.microsoft.com/office/drawing/2014/main" id="{F83E4E58-BF19-CCE9-21BE-336A186C9F60}"/>
              </a:ext>
            </a:extLst>
          </p:cNvPr>
          <p:cNvSpPr txBox="1"/>
          <p:nvPr/>
        </p:nvSpPr>
        <p:spPr>
          <a:xfrm>
            <a:off x="3122271" y="4033660"/>
            <a:ext cx="271448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venir Next LT Pro"/>
                <a:ea typeface="+mn-ea"/>
                <a:cs typeface="+mn-cs"/>
              </a:rPr>
              <a:t>Matches Based on Selections</a:t>
            </a:r>
          </a:p>
        </p:txBody>
      </p:sp>
      <p:cxnSp>
        <p:nvCxnSpPr>
          <p:cNvPr id="22" name="Straight Arrow Connector 21">
            <a:extLst>
              <a:ext uri="{FF2B5EF4-FFF2-40B4-BE49-F238E27FC236}">
                <a16:creationId xmlns:a16="http://schemas.microsoft.com/office/drawing/2014/main" id="{4F9D3B9E-FE94-9C5A-D0B5-906EEB31ECE9}"/>
              </a:ext>
            </a:extLst>
          </p:cNvPr>
          <p:cNvCxnSpPr>
            <a:cxnSpLocks/>
          </p:cNvCxnSpPr>
          <p:nvPr/>
        </p:nvCxnSpPr>
        <p:spPr>
          <a:xfrm flipH="1" flipV="1">
            <a:off x="3986127" y="2387377"/>
            <a:ext cx="791085" cy="1736754"/>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cxnSp>
        <p:nvCxnSpPr>
          <p:cNvPr id="24" name="Straight Arrow Connector 23">
            <a:extLst>
              <a:ext uri="{FF2B5EF4-FFF2-40B4-BE49-F238E27FC236}">
                <a16:creationId xmlns:a16="http://schemas.microsoft.com/office/drawing/2014/main" id="{003650D7-660F-62EB-E60F-F1340D3B79DF}"/>
              </a:ext>
            </a:extLst>
          </p:cNvPr>
          <p:cNvCxnSpPr>
            <a:cxnSpLocks/>
          </p:cNvCxnSpPr>
          <p:nvPr/>
        </p:nvCxnSpPr>
        <p:spPr>
          <a:xfrm flipH="1" flipV="1">
            <a:off x="3236195" y="3669015"/>
            <a:ext cx="1121201" cy="364645"/>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pic>
        <p:nvPicPr>
          <p:cNvPr id="6" name="Picture 5" descr="A screenshot of a map&#10;&#10;Description automatically generated">
            <a:extLst>
              <a:ext uri="{FF2B5EF4-FFF2-40B4-BE49-F238E27FC236}">
                <a16:creationId xmlns:a16="http://schemas.microsoft.com/office/drawing/2014/main" id="{712D6CC2-7B7F-450F-F740-F0020044E9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877" y="2275507"/>
            <a:ext cx="7357565" cy="3468882"/>
          </a:xfrm>
          <a:prstGeom prst="rect">
            <a:avLst/>
          </a:prstGeom>
          <a:ln>
            <a:noFill/>
          </a:ln>
          <a:effectLst>
            <a:outerShdw blurRad="190500" algn="tl" rotWithShape="0">
              <a:srgbClr val="000000">
                <a:alpha val="70000"/>
              </a:srgbClr>
            </a:outerShdw>
          </a:effectLst>
        </p:spPr>
      </p:pic>
      <p:pic>
        <p:nvPicPr>
          <p:cNvPr id="8" name="Picture 7" descr="A map of a country&#10;&#10;Description automatically generated">
            <a:extLst>
              <a:ext uri="{FF2B5EF4-FFF2-40B4-BE49-F238E27FC236}">
                <a16:creationId xmlns:a16="http://schemas.microsoft.com/office/drawing/2014/main" id="{23EBEDCC-8317-ED4D-0BF8-1884F4D7A5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71933" y="319912"/>
            <a:ext cx="7037986" cy="3266736"/>
          </a:xfrm>
          <a:prstGeom prst="rect">
            <a:avLst/>
          </a:prstGeom>
          <a:ln>
            <a:noFill/>
          </a:ln>
          <a:effectLst>
            <a:outerShdw blurRad="190500" algn="tl" rotWithShape="0">
              <a:srgbClr val="000000">
                <a:alpha val="70000"/>
              </a:srgbClr>
            </a:outerShdw>
          </a:effectLst>
        </p:spPr>
      </p:pic>
      <p:cxnSp>
        <p:nvCxnSpPr>
          <p:cNvPr id="14" name="Straight Arrow Connector 13">
            <a:extLst>
              <a:ext uri="{FF2B5EF4-FFF2-40B4-BE49-F238E27FC236}">
                <a16:creationId xmlns:a16="http://schemas.microsoft.com/office/drawing/2014/main" id="{7566FBA6-1A0B-0410-AFEE-A41A14139E88}"/>
              </a:ext>
            </a:extLst>
          </p:cNvPr>
          <p:cNvCxnSpPr>
            <a:cxnSpLocks/>
          </p:cNvCxnSpPr>
          <p:nvPr/>
        </p:nvCxnSpPr>
        <p:spPr>
          <a:xfrm flipH="1" flipV="1">
            <a:off x="8835452" y="2612571"/>
            <a:ext cx="1004355" cy="1183695"/>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cxnSp>
        <p:nvCxnSpPr>
          <p:cNvPr id="16" name="Straight Arrow Connector 15">
            <a:extLst>
              <a:ext uri="{FF2B5EF4-FFF2-40B4-BE49-F238E27FC236}">
                <a16:creationId xmlns:a16="http://schemas.microsoft.com/office/drawing/2014/main" id="{08005F5D-333F-9BA9-5530-339CF8E16E30}"/>
              </a:ext>
            </a:extLst>
          </p:cNvPr>
          <p:cNvCxnSpPr>
            <a:cxnSpLocks/>
          </p:cNvCxnSpPr>
          <p:nvPr/>
        </p:nvCxnSpPr>
        <p:spPr>
          <a:xfrm flipH="1" flipV="1">
            <a:off x="3708218" y="4124131"/>
            <a:ext cx="4712948" cy="819305"/>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40784244"/>
      </p:ext>
    </p:extLst>
  </p:cSld>
  <p:clrMapOvr>
    <a:masterClrMapping/>
  </p:clrMapOvr>
  <p:transition spd="med">
    <p:pull/>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9AB20-CDDE-8D05-6DD9-601A81449D1F}"/>
              </a:ext>
            </a:extLst>
          </p:cNvPr>
          <p:cNvSpPr>
            <a:spLocks noGrp="1"/>
          </p:cNvSpPr>
          <p:nvPr>
            <p:ph type="title"/>
          </p:nvPr>
        </p:nvSpPr>
        <p:spPr>
          <a:xfrm>
            <a:off x="950685" y="136706"/>
            <a:ext cx="10058400" cy="599756"/>
          </a:xfrm>
        </p:spPr>
        <p:txBody>
          <a:bodyPr>
            <a:normAutofit fontScale="90000"/>
          </a:bodyPr>
          <a:lstStyle/>
          <a:p>
            <a:r>
              <a:rPr lang="en-US" sz="4400"/>
              <a:t>The MONEY (Pro Forma)</a:t>
            </a:r>
          </a:p>
        </p:txBody>
      </p:sp>
      <p:pic>
        <p:nvPicPr>
          <p:cNvPr id="5" name="Picture 4" descr="A screenshot of a computer&#10;&#10;Description automatically generated">
            <a:extLst>
              <a:ext uri="{FF2B5EF4-FFF2-40B4-BE49-F238E27FC236}">
                <a16:creationId xmlns:a16="http://schemas.microsoft.com/office/drawing/2014/main" id="{63EB21DF-B50F-86BF-C56D-62F6172B77F5}"/>
              </a:ext>
            </a:extLst>
          </p:cNvPr>
          <p:cNvPicPr>
            <a:picLocks noChangeAspect="1"/>
          </p:cNvPicPr>
          <p:nvPr/>
        </p:nvPicPr>
        <p:blipFill rotWithShape="1">
          <a:blip r:embed="rId3">
            <a:extLst>
              <a:ext uri="{28A0092B-C50C-407E-A947-70E740481C1C}">
                <a14:useLocalDpi xmlns:a14="http://schemas.microsoft.com/office/drawing/2010/main" val="0"/>
              </a:ext>
            </a:extLst>
          </a:blip>
          <a:srcRect l="15829" t="11524"/>
          <a:stretch/>
        </p:blipFill>
        <p:spPr>
          <a:xfrm>
            <a:off x="1634246" y="1004568"/>
            <a:ext cx="9163456" cy="541684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94162305"/>
      </p:ext>
    </p:extLst>
  </p:cSld>
  <p:clrMapOvr>
    <a:masterClrMapping/>
  </p:clrMapOvr>
  <p:transition spd="med">
    <p:pull/>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F1942-814C-3C4C-B0E1-2BB1C10E5681}"/>
              </a:ext>
            </a:extLst>
          </p:cNvPr>
          <p:cNvSpPr>
            <a:spLocks noGrp="1"/>
          </p:cNvSpPr>
          <p:nvPr>
            <p:ph type="ctrTitle"/>
          </p:nvPr>
        </p:nvSpPr>
        <p:spPr/>
        <p:txBody>
          <a:bodyPr/>
          <a:lstStyle/>
          <a:p>
            <a:r>
              <a:rPr lang="en-US" sz="3200" dirty="0"/>
              <a:t>First Movers Webinar: Pennsylvania and Washington</a:t>
            </a:r>
            <a:endParaRPr lang="en-US" dirty="0"/>
          </a:p>
        </p:txBody>
      </p:sp>
      <p:sp>
        <p:nvSpPr>
          <p:cNvPr id="3" name="Text Placeholder 2">
            <a:extLst>
              <a:ext uri="{FF2B5EF4-FFF2-40B4-BE49-F238E27FC236}">
                <a16:creationId xmlns:a16="http://schemas.microsoft.com/office/drawing/2014/main" id="{48939EE4-25B3-7941-A7C0-F03305913CC2}"/>
              </a:ext>
            </a:extLst>
          </p:cNvPr>
          <p:cNvSpPr>
            <a:spLocks noGrp="1"/>
          </p:cNvSpPr>
          <p:nvPr>
            <p:ph type="body" idx="4294967295"/>
          </p:nvPr>
        </p:nvSpPr>
        <p:spPr>
          <a:xfrm>
            <a:off x="6657975" y="3429000"/>
            <a:ext cx="5534025" cy="387350"/>
          </a:xfrm>
        </p:spPr>
        <p:txBody>
          <a:bodyPr>
            <a:normAutofit lnSpcReduction="10000"/>
          </a:bodyPr>
          <a:lstStyle/>
          <a:p>
            <a:r>
              <a:rPr lang="en-US" sz="2000" dirty="0"/>
              <a:t>July 2024</a:t>
            </a:r>
          </a:p>
        </p:txBody>
      </p:sp>
      <p:pic>
        <p:nvPicPr>
          <p:cNvPr id="5" name="Picture 4">
            <a:extLst>
              <a:ext uri="{FF2B5EF4-FFF2-40B4-BE49-F238E27FC236}">
                <a16:creationId xmlns:a16="http://schemas.microsoft.com/office/drawing/2014/main" id="{3D34A123-A4B1-BFE7-5238-1DBB326AD080}"/>
              </a:ext>
            </a:extLst>
          </p:cNvPr>
          <p:cNvPicPr>
            <a:picLocks noChangeAspect="1"/>
          </p:cNvPicPr>
          <p:nvPr/>
        </p:nvPicPr>
        <p:blipFill rotWithShape="1">
          <a:blip r:embed="rId3"/>
          <a:srcRect t="9823" b="17690"/>
          <a:stretch/>
        </p:blipFill>
        <p:spPr>
          <a:xfrm>
            <a:off x="0" y="12717"/>
            <a:ext cx="2682472" cy="1193180"/>
          </a:xfrm>
          <a:prstGeom prst="rect">
            <a:avLst/>
          </a:prstGeom>
        </p:spPr>
      </p:pic>
      <p:pic>
        <p:nvPicPr>
          <p:cNvPr id="7" name="Picture 6">
            <a:extLst>
              <a:ext uri="{FF2B5EF4-FFF2-40B4-BE49-F238E27FC236}">
                <a16:creationId xmlns:a16="http://schemas.microsoft.com/office/drawing/2014/main" id="{295E7390-E84F-F06A-ECD6-572161166197}"/>
              </a:ext>
            </a:extLst>
          </p:cNvPr>
          <p:cNvPicPr>
            <a:picLocks noChangeAspect="1"/>
          </p:cNvPicPr>
          <p:nvPr/>
        </p:nvPicPr>
        <p:blipFill>
          <a:blip r:embed="rId4"/>
          <a:stretch>
            <a:fillRect/>
          </a:stretch>
        </p:blipFill>
        <p:spPr>
          <a:xfrm>
            <a:off x="7777779" y="5680025"/>
            <a:ext cx="3408244" cy="274344"/>
          </a:xfrm>
          <a:prstGeom prst="rect">
            <a:avLst/>
          </a:prstGeom>
        </p:spPr>
      </p:pic>
      <p:pic>
        <p:nvPicPr>
          <p:cNvPr id="11" name="Picture 10">
            <a:extLst>
              <a:ext uri="{FF2B5EF4-FFF2-40B4-BE49-F238E27FC236}">
                <a16:creationId xmlns:a16="http://schemas.microsoft.com/office/drawing/2014/main" id="{85CA6D24-2D67-B5BA-F133-EA5A6117EFEA}"/>
              </a:ext>
            </a:extLst>
          </p:cNvPr>
          <p:cNvPicPr>
            <a:picLocks noChangeAspect="1"/>
          </p:cNvPicPr>
          <p:nvPr/>
        </p:nvPicPr>
        <p:blipFill>
          <a:blip r:embed="rId5"/>
          <a:stretch>
            <a:fillRect/>
          </a:stretch>
        </p:blipFill>
        <p:spPr>
          <a:xfrm>
            <a:off x="9302784" y="116143"/>
            <a:ext cx="2644369" cy="1089754"/>
          </a:xfrm>
          <a:prstGeom prst="rect">
            <a:avLst/>
          </a:prstGeom>
        </p:spPr>
      </p:pic>
    </p:spTree>
    <p:extLst>
      <p:ext uri="{BB962C8B-B14F-4D97-AF65-F5344CB8AC3E}">
        <p14:creationId xmlns:p14="http://schemas.microsoft.com/office/powerpoint/2010/main" val="18015264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9AB20-CDDE-8D05-6DD9-601A81449D1F}"/>
              </a:ext>
            </a:extLst>
          </p:cNvPr>
          <p:cNvSpPr>
            <a:spLocks noGrp="1"/>
          </p:cNvSpPr>
          <p:nvPr>
            <p:ph type="title"/>
          </p:nvPr>
        </p:nvSpPr>
        <p:spPr>
          <a:xfrm>
            <a:off x="1114425" y="997504"/>
            <a:ext cx="10058400" cy="1450757"/>
          </a:xfrm>
        </p:spPr>
        <p:txBody>
          <a:bodyPr>
            <a:normAutofit/>
          </a:bodyPr>
          <a:lstStyle/>
          <a:p>
            <a:r>
              <a:rPr lang="en-US" sz="4400"/>
              <a:t>Supporting</a:t>
            </a:r>
            <a:br>
              <a:rPr lang="en-US" sz="4400"/>
            </a:br>
            <a:r>
              <a:rPr lang="en-US" sz="4400"/>
              <a:t> Analytics</a:t>
            </a:r>
          </a:p>
        </p:txBody>
      </p:sp>
      <p:pic>
        <p:nvPicPr>
          <p:cNvPr id="4" name="Picture 3" descr="A screenshot of a computer&#10;&#10;Description automatically generated">
            <a:extLst>
              <a:ext uri="{FF2B5EF4-FFF2-40B4-BE49-F238E27FC236}">
                <a16:creationId xmlns:a16="http://schemas.microsoft.com/office/drawing/2014/main" id="{0E734D44-866D-1183-82C6-E1C35BEB67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17223" y="296863"/>
            <a:ext cx="7012153" cy="3316445"/>
          </a:xfrm>
          <a:prstGeom prst="rect">
            <a:avLst/>
          </a:prstGeom>
          <a:ln>
            <a:noFill/>
          </a:ln>
          <a:effectLst>
            <a:outerShdw blurRad="190500" algn="tl" rotWithShape="0">
              <a:srgbClr val="000000">
                <a:alpha val="70000"/>
              </a:srgbClr>
            </a:outerShdw>
          </a:effectLst>
        </p:spPr>
      </p:pic>
      <p:pic>
        <p:nvPicPr>
          <p:cNvPr id="7" name="Picture 6" descr="A screenshot of a computer&#10;&#10;Description automatically generated">
            <a:extLst>
              <a:ext uri="{FF2B5EF4-FFF2-40B4-BE49-F238E27FC236}">
                <a16:creationId xmlns:a16="http://schemas.microsoft.com/office/drawing/2014/main" id="{C640264C-B4F7-CE8B-C750-E36435E379A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5914" y="3105591"/>
            <a:ext cx="6508279" cy="304242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60376333"/>
      </p:ext>
    </p:extLst>
  </p:cSld>
  <p:clrMapOvr>
    <a:masterClrMapping/>
  </p:clrMapOvr>
  <p:transition spd="med">
    <p:pull/>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9451528-0368-45CE-A13E-EDB97BE9583E}"/>
              </a:ext>
            </a:extLst>
          </p:cNvPr>
          <p:cNvSpPr>
            <a:spLocks noGrp="1"/>
          </p:cNvSpPr>
          <p:nvPr>
            <p:ph type="title"/>
          </p:nvPr>
        </p:nvSpPr>
        <p:spPr>
          <a:xfrm>
            <a:off x="1097280" y="286604"/>
            <a:ext cx="10058400" cy="954368"/>
          </a:xfrm>
        </p:spPr>
        <p:txBody>
          <a:bodyPr vert="horz" lIns="91440" tIns="45720" rIns="91440" bIns="45720" rtlCol="0" anchor="b">
            <a:normAutofit/>
          </a:bodyPr>
          <a:lstStyle/>
          <a:p>
            <a:r>
              <a:rPr lang="en-US"/>
              <a:t>HOW Can We Do This?</a:t>
            </a:r>
          </a:p>
        </p:txBody>
      </p:sp>
      <p:sp>
        <p:nvSpPr>
          <p:cNvPr id="7" name="Content Placeholder 6">
            <a:extLst>
              <a:ext uri="{FF2B5EF4-FFF2-40B4-BE49-F238E27FC236}">
                <a16:creationId xmlns:a16="http://schemas.microsoft.com/office/drawing/2014/main" id="{59B328BF-1AD6-4365-B1FE-A5A396732871}"/>
              </a:ext>
            </a:extLst>
          </p:cNvPr>
          <p:cNvSpPr>
            <a:spLocks noGrp="1"/>
          </p:cNvSpPr>
          <p:nvPr>
            <p:ph sz="half" idx="1"/>
          </p:nvPr>
        </p:nvSpPr>
        <p:spPr>
          <a:xfrm>
            <a:off x="1277917" y="1382487"/>
            <a:ext cx="10511311" cy="4517569"/>
          </a:xfrm>
        </p:spPr>
        <p:txBody>
          <a:bodyPr vert="horz" lIns="0" tIns="45720" rIns="0" bIns="45720" rtlCol="0">
            <a:normAutofit fontScale="92500"/>
          </a:bodyPr>
          <a:lstStyle/>
          <a:p>
            <a:pPr>
              <a:lnSpc>
                <a:spcPct val="90000"/>
              </a:lnSpc>
            </a:pPr>
            <a:r>
              <a:rPr lang="en-US" sz="2400"/>
              <a:t>Dozens of curated data sources for in-depth cost evaluations and revenue projections including:</a:t>
            </a:r>
          </a:p>
          <a:p>
            <a:pPr lvl="2">
              <a:lnSpc>
                <a:spcPct val="90000"/>
              </a:lnSpc>
            </a:pPr>
            <a:r>
              <a:rPr lang="en-US" sz="2400" err="1"/>
              <a:t>CostQuest</a:t>
            </a:r>
            <a:r>
              <a:rPr lang="en-US" sz="2400"/>
              <a:t> Associates Broadband Serviceable Location Fabric dataset</a:t>
            </a:r>
          </a:p>
          <a:p>
            <a:pPr lvl="2">
              <a:lnSpc>
                <a:spcPct val="90000"/>
              </a:lnSpc>
            </a:pPr>
            <a:r>
              <a:rPr lang="en-US" sz="2400"/>
              <a:t>ESRI’s GIS data</a:t>
            </a:r>
          </a:p>
          <a:p>
            <a:pPr lvl="2">
              <a:lnSpc>
                <a:spcPct val="90000"/>
              </a:lnSpc>
            </a:pPr>
            <a:r>
              <a:rPr lang="en-US" sz="2400"/>
              <a:t>Population Density, Terrain, and network capacity.</a:t>
            </a:r>
          </a:p>
          <a:p>
            <a:pPr lvl="2">
              <a:lnSpc>
                <a:spcPct val="90000"/>
              </a:lnSpc>
            </a:pPr>
            <a:r>
              <a:rPr lang="en-US" sz="2400"/>
              <a:t>Costing for buried and aerial fiber installations</a:t>
            </a:r>
          </a:p>
          <a:p>
            <a:pPr>
              <a:lnSpc>
                <a:spcPct val="90000"/>
              </a:lnSpc>
            </a:pPr>
            <a:r>
              <a:rPr lang="en-US" sz="2400"/>
              <a:t>Advanced AI analytic engine to optimize data sources for actionable insights.</a:t>
            </a:r>
          </a:p>
          <a:p>
            <a:pPr>
              <a:lnSpc>
                <a:spcPct val="90000"/>
              </a:lnSpc>
            </a:pPr>
            <a:r>
              <a:rPr lang="en-US" sz="2400"/>
              <a:t>Intuitive interface for easy navigation.</a:t>
            </a:r>
          </a:p>
          <a:p>
            <a:pPr>
              <a:lnSpc>
                <a:spcPct val="90000"/>
              </a:lnSpc>
            </a:pPr>
            <a:r>
              <a:rPr lang="en-US" sz="2400"/>
              <a:t>Powerful visualizations to enable quick decisions.</a:t>
            </a:r>
          </a:p>
          <a:p>
            <a:pPr>
              <a:lnSpc>
                <a:spcPct val="90000"/>
              </a:lnSpc>
            </a:pPr>
            <a:r>
              <a:rPr lang="en-US" sz="2400"/>
              <a:t>Create multiple scenarios for comparison and ability to adapt as the landscape changes.</a:t>
            </a:r>
          </a:p>
          <a:p>
            <a:pPr>
              <a:lnSpc>
                <a:spcPct val="90000"/>
              </a:lnSpc>
            </a:pPr>
            <a:endParaRPr lang="en-US" sz="1400"/>
          </a:p>
        </p:txBody>
      </p:sp>
      <p:sp>
        <p:nvSpPr>
          <p:cNvPr id="15" name="Footer Placeholder 4">
            <a:extLst>
              <a:ext uri="{FF2B5EF4-FFF2-40B4-BE49-F238E27FC236}">
                <a16:creationId xmlns:a16="http://schemas.microsoft.com/office/drawing/2014/main" id="{4691AE17-CF5E-8540-0BBC-43B2B9506EFF}"/>
              </a:ext>
            </a:extLst>
          </p:cNvPr>
          <p:cNvSpPr>
            <a:spLocks noGrp="1"/>
          </p:cNvSpPr>
          <p:nvPr>
            <p:ph type="ftr" sz="quarter" idx="11"/>
          </p:nvPr>
        </p:nvSpPr>
        <p:spPr>
          <a:xfrm>
            <a:off x="1097279" y="6446838"/>
            <a:ext cx="4846321" cy="365125"/>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black"/>
                </a:solidFill>
                <a:effectLst/>
                <a:uLnTx/>
                <a:uFillTx/>
                <a:latin typeface="Avenir Next LT Pro"/>
                <a:ea typeface="+mn-ea"/>
                <a:cs typeface="+mn-cs"/>
              </a:rPr>
              <a:t>Collaborate. Integrate. Succeed. </a:t>
            </a:r>
          </a:p>
        </p:txBody>
      </p:sp>
    </p:spTree>
    <p:extLst>
      <p:ext uri="{BB962C8B-B14F-4D97-AF65-F5344CB8AC3E}">
        <p14:creationId xmlns:p14="http://schemas.microsoft.com/office/powerpoint/2010/main" val="545205856"/>
      </p:ext>
    </p:extLst>
  </p:cSld>
  <p:clrMapOvr>
    <a:masterClrMapping/>
  </p:clrMapOvr>
  <p:transition spd="med">
    <p:pull/>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577D6B2E-37A3-429E-A37C-F30ED64872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1723" y="-1"/>
            <a:ext cx="12225953" cy="6868071"/>
          </a:xfrm>
          <a:prstGeom prst="rect">
            <a:avLst/>
          </a:prstGeom>
          <a:gradFill>
            <a:gsLst>
              <a:gs pos="0">
                <a:srgbClr val="000000"/>
              </a:gs>
              <a:gs pos="100000">
                <a:schemeClr val="accent1">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41959" y="-3"/>
            <a:ext cx="11772269" cy="6868074"/>
          </a:xfrm>
          <a:prstGeom prst="rect">
            <a:avLst/>
          </a:prstGeom>
          <a:gradFill>
            <a:gsLst>
              <a:gs pos="21000">
                <a:schemeClr val="accent1">
                  <a:lumMod val="50000"/>
                  <a:alpha val="83000"/>
                </a:schemeClr>
              </a:gs>
              <a:gs pos="100000">
                <a:schemeClr val="accent1">
                  <a:alpha val="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5200" y="0"/>
            <a:ext cx="3623374" cy="6868072"/>
          </a:xfrm>
          <a:prstGeom prst="rect">
            <a:avLst/>
          </a:prstGeom>
          <a:gradFill>
            <a:gsLst>
              <a:gs pos="0">
                <a:schemeClr val="accent1">
                  <a:lumMod val="75000"/>
                  <a:alpha val="0"/>
                </a:schemeClr>
              </a:gs>
              <a:gs pos="99000">
                <a:srgbClr val="000000">
                  <a:alpha val="41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1064D5D5-227B-4F66-9AEA-46F570E793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5875" y="-3"/>
            <a:ext cx="12233581" cy="6868076"/>
          </a:xfrm>
          <a:prstGeom prst="rect">
            <a:avLst/>
          </a:prstGeom>
          <a:gradFill>
            <a:gsLst>
              <a:gs pos="3000">
                <a:schemeClr val="accent1">
                  <a:lumMod val="75000"/>
                  <a:alpha val="0"/>
                </a:schemeClr>
              </a:gs>
              <a:gs pos="100000">
                <a:srgbClr val="000000">
                  <a:alpha val="73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646B67A4-D328-4747-A82B-65E84FA463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484334" y="-861824"/>
            <a:ext cx="6861931" cy="8597859"/>
          </a:xfrm>
          <a:prstGeom prst="rect">
            <a:avLst/>
          </a:prstGeom>
          <a:gradFill>
            <a:gsLst>
              <a:gs pos="3000">
                <a:schemeClr val="accent1">
                  <a:lumMod val="75000"/>
                  <a:alpha val="0"/>
                </a:schemeClr>
              </a:gs>
              <a:gs pos="100000">
                <a:srgbClr val="000000">
                  <a:alpha val="27000"/>
                </a:srgb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993193">
            <a:off x="1186972" y="1089049"/>
            <a:ext cx="4967533" cy="4988390"/>
          </a:xfrm>
          <a:prstGeom prst="ellipse">
            <a:avLst/>
          </a:prstGeom>
          <a:gradFill>
            <a:gsLst>
              <a:gs pos="0">
                <a:schemeClr val="accent1">
                  <a:alpha val="26000"/>
                </a:schemeClr>
              </a:gs>
              <a:gs pos="85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B0AC953C-1A99-46A1-3A98-9A173B799ADD}"/>
              </a:ext>
            </a:extLst>
          </p:cNvPr>
          <p:cNvSpPr>
            <a:spLocks noGrp="1"/>
          </p:cNvSpPr>
          <p:nvPr>
            <p:ph type="title"/>
          </p:nvPr>
        </p:nvSpPr>
        <p:spPr>
          <a:xfrm>
            <a:off x="3407193" y="892062"/>
            <a:ext cx="6714699" cy="3178689"/>
          </a:xfrm>
        </p:spPr>
        <p:txBody>
          <a:bodyPr vert="horz" lIns="91440" tIns="45720" rIns="91440" bIns="45720" rtlCol="0" anchor="b">
            <a:normAutofit/>
          </a:bodyPr>
          <a:lstStyle/>
          <a:p>
            <a:r>
              <a:rPr lang="en-US" sz="4800" kern="1200" dirty="0">
                <a:solidFill>
                  <a:srgbClr val="FFFFFF"/>
                </a:solidFill>
                <a:latin typeface="+mj-lt"/>
                <a:ea typeface="+mj-ea"/>
                <a:cs typeface="+mj-cs"/>
              </a:rPr>
              <a:t>Grant Writing Service</a:t>
            </a:r>
          </a:p>
        </p:txBody>
      </p:sp>
      <p:sp>
        <p:nvSpPr>
          <p:cNvPr id="24" name="Rectangle 23">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 y="4490110"/>
            <a:ext cx="12217710" cy="2377962"/>
          </a:xfrm>
          <a:prstGeom prst="rect">
            <a:avLst/>
          </a:prstGeom>
          <a:gradFill>
            <a:gsLst>
              <a:gs pos="0">
                <a:schemeClr val="accent1">
                  <a:lumMod val="75000"/>
                  <a:alpha val="50000"/>
                </a:schemeClr>
              </a:gs>
              <a:gs pos="99000">
                <a:srgbClr val="000000">
                  <a:alpha val="34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8F89FFBD-4EF4-BAA0-4193-2D9B904B44F0}"/>
              </a:ext>
            </a:extLst>
          </p:cNvPr>
          <p:cNvSpPr>
            <a:spLocks noGrp="1"/>
          </p:cNvSpPr>
          <p:nvPr>
            <p:ph type="body" idx="1"/>
          </p:nvPr>
        </p:nvSpPr>
        <p:spPr>
          <a:xfrm>
            <a:off x="4285397" y="4960961"/>
            <a:ext cx="7055893" cy="1078054"/>
          </a:xfrm>
        </p:spPr>
        <p:txBody>
          <a:bodyPr vert="horz" lIns="91440" tIns="45720" rIns="91440" bIns="45720" rtlCol="0">
            <a:normAutofit/>
          </a:bodyPr>
          <a:lstStyle/>
          <a:p>
            <a:endParaRPr lang="en-US" sz="2400" kern="1200">
              <a:solidFill>
                <a:srgbClr val="FFFFFF"/>
              </a:solidFill>
              <a:latin typeface="+mn-lt"/>
              <a:ea typeface="+mn-ea"/>
              <a:cs typeface="+mn-cs"/>
            </a:endParaRPr>
          </a:p>
        </p:txBody>
      </p:sp>
    </p:spTree>
    <p:extLst>
      <p:ext uri="{BB962C8B-B14F-4D97-AF65-F5344CB8AC3E}">
        <p14:creationId xmlns:p14="http://schemas.microsoft.com/office/powerpoint/2010/main" val="24223737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D1A4588A-55D5-49B8-BE41-54ACDCFF2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4">
            <a:extLst>
              <a:ext uri="{FF2B5EF4-FFF2-40B4-BE49-F238E27FC236}">
                <a16:creationId xmlns:a16="http://schemas.microsoft.com/office/drawing/2014/main" id="{48E67F9B-A60A-A8FE-43EF-CC90A5AFFC78}"/>
              </a:ext>
            </a:extLst>
          </p:cNvPr>
          <p:cNvPicPr>
            <a:picLocks noGrp="1" noChangeAspect="1"/>
          </p:cNvPicPr>
          <p:nvPr>
            <p:ph idx="1"/>
          </p:nvPr>
        </p:nvPicPr>
        <p:blipFill rotWithShape="1">
          <a:blip r:embed="rId3"/>
          <a:srcRect l="28132" r="31600" b="-1"/>
          <a:stretch/>
        </p:blipFill>
        <p:spPr>
          <a:xfrm>
            <a:off x="20" y="10"/>
            <a:ext cx="12191980" cy="4465973"/>
          </a:xfrm>
          <a:prstGeom prst="rect">
            <a:avLst/>
          </a:prstGeom>
        </p:spPr>
      </p:pic>
      <p:sp>
        <p:nvSpPr>
          <p:cNvPr id="30" name="Rectangle: Rounded Corners 29">
            <a:extLst>
              <a:ext uri="{FF2B5EF4-FFF2-40B4-BE49-F238E27FC236}">
                <a16:creationId xmlns:a16="http://schemas.microsoft.com/office/drawing/2014/main" id="{F97E7EA2-EDCD-47E9-81BC-415C606D1B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119552"/>
            <a:ext cx="9382538" cy="68580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EF9942A-DA91-8665-3E45-F238C2A56062}"/>
              </a:ext>
            </a:extLst>
          </p:cNvPr>
          <p:cNvSpPr>
            <a:spLocks noGrp="1"/>
          </p:cNvSpPr>
          <p:nvPr>
            <p:ph type="title"/>
          </p:nvPr>
        </p:nvSpPr>
        <p:spPr>
          <a:xfrm>
            <a:off x="566928" y="4203278"/>
            <a:ext cx="8557193" cy="536063"/>
          </a:xfrm>
        </p:spPr>
        <p:txBody>
          <a:bodyPr vert="horz" lIns="91440" tIns="45720" rIns="91440" bIns="45720" rtlCol="0" anchor="ctr">
            <a:normAutofit/>
          </a:bodyPr>
          <a:lstStyle/>
          <a:p>
            <a:pPr defTabSz="914400"/>
            <a:r>
              <a:rPr lang="en-US" sz="2800" b="1">
                <a:solidFill>
                  <a:schemeClr val="bg1"/>
                </a:solidFill>
              </a:rPr>
              <a:t>Winncom Grant Writing Services</a:t>
            </a:r>
          </a:p>
        </p:txBody>
      </p:sp>
      <p:sp>
        <p:nvSpPr>
          <p:cNvPr id="7" name="TextBox 6">
            <a:extLst>
              <a:ext uri="{FF2B5EF4-FFF2-40B4-BE49-F238E27FC236}">
                <a16:creationId xmlns:a16="http://schemas.microsoft.com/office/drawing/2014/main" id="{A07861B1-01E3-DDAE-928E-9C40AAD149F4}"/>
              </a:ext>
            </a:extLst>
          </p:cNvPr>
          <p:cNvSpPr txBox="1"/>
          <p:nvPr/>
        </p:nvSpPr>
        <p:spPr>
          <a:xfrm>
            <a:off x="0" y="4998040"/>
            <a:ext cx="5306334" cy="1901676"/>
          </a:xfrm>
          <a:prstGeom prst="rect">
            <a:avLst/>
          </a:prstGeom>
        </p:spPr>
        <p:txBody>
          <a:bodyPr vert="horz" lIns="91440" tIns="45720" rIns="91440" bIns="45720" rtlCol="0">
            <a:no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ocument verification</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pplication writing</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Ensuring document complianc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Use-case analysis and technology alignmen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023C194B-00AD-19B2-7729-6566BADDB7BA}"/>
              </a:ext>
            </a:extLst>
          </p:cNvPr>
          <p:cNvSpPr txBox="1"/>
          <p:nvPr/>
        </p:nvSpPr>
        <p:spPr>
          <a:xfrm>
            <a:off x="5785735" y="4998040"/>
            <a:ext cx="5306334" cy="1901676"/>
          </a:xfrm>
          <a:prstGeom prst="rect">
            <a:avLst/>
          </a:prstGeom>
        </p:spPr>
        <p:txBody>
          <a:bodyPr vert="horz" lIns="91440" tIns="45720" rIns="91440" bIns="45720" rtlCol="0">
            <a:no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Pre-award educational suppor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Post-award compliance suppor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Invoice Reimbursement</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Compliance Documentation Reporting</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650265CB-2BDE-3F3E-A94E-5DE31C42FD7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CFFA4C-0D1C-425F-BB04-E50ADD4A39B0}"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90008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Content Placeholder 5">
            <a:extLst>
              <a:ext uri="{FF2B5EF4-FFF2-40B4-BE49-F238E27FC236}">
                <a16:creationId xmlns:a16="http://schemas.microsoft.com/office/drawing/2014/main" id="{BD17619C-4A93-DD16-6AF2-FFE305976870}"/>
              </a:ext>
            </a:extLst>
          </p:cNvPr>
          <p:cNvPicPr>
            <a:picLocks noGrp="1" noChangeAspect="1"/>
          </p:cNvPicPr>
          <p:nvPr>
            <p:ph idx="1"/>
          </p:nvPr>
        </p:nvPicPr>
        <p:blipFill>
          <a:blip r:embed="rId3"/>
          <a:stretch>
            <a:fillRect/>
          </a:stretch>
        </p:blipFill>
        <p:spPr>
          <a:xfrm>
            <a:off x="2331542" y="191681"/>
            <a:ext cx="7528150" cy="6474210"/>
          </a:xfrm>
          <a:prstGeom prst="rect">
            <a:avLst/>
          </a:prstGeom>
        </p:spPr>
      </p:pic>
      <p:sp>
        <p:nvSpPr>
          <p:cNvPr id="4" name="Slide Number Placeholder 3">
            <a:extLst>
              <a:ext uri="{FF2B5EF4-FFF2-40B4-BE49-F238E27FC236}">
                <a16:creationId xmlns:a16="http://schemas.microsoft.com/office/drawing/2014/main" id="{65AB6854-A838-0C85-4BB7-968D0E815638}"/>
              </a:ext>
            </a:extLst>
          </p:cNvPr>
          <p:cNvSpPr>
            <a:spLocks noGrp="1"/>
          </p:cNvSpPr>
          <p:nvPr>
            <p:ph type="sldNum" sz="quarter" idx="12"/>
          </p:nvPr>
        </p:nvSpPr>
        <p:spPr>
          <a:xfrm>
            <a:off x="11704320" y="6455664"/>
            <a:ext cx="448056"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23CFFA4C-0D1C-425F-BB04-E50ADD4A39B0}" type="slidenum">
              <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4</a:t>
            </a:fld>
            <a:endPar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06786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1199E1B1-A8C0-4FE8-A5A8-1CB41D69F8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 y="0"/>
            <a:ext cx="12191998" cy="1575955"/>
          </a:xfrm>
          <a:prstGeom prst="rect">
            <a:avLst/>
          </a:prstGeom>
          <a:gradFill>
            <a:gsLst>
              <a:gs pos="0">
                <a:srgbClr val="000000">
                  <a:alpha val="96000"/>
                </a:srgbClr>
              </a:gs>
              <a:gs pos="100000">
                <a:schemeClr val="accent1">
                  <a:lumMod val="7500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4A8DE83-DE75-4B41-9DB4-A7EC0B0DEC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8128856" cy="1575461"/>
          </a:xfrm>
          <a:prstGeom prst="rect">
            <a:avLst/>
          </a:prstGeom>
          <a:gradFill>
            <a:gsLst>
              <a:gs pos="0">
                <a:schemeClr val="accent1">
                  <a:alpha val="41000"/>
                </a:schemeClr>
              </a:gs>
              <a:gs pos="74000">
                <a:schemeClr val="accent1">
                  <a:lumMod val="60000"/>
                  <a:lumOff val="40000"/>
                  <a:alpha val="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A7009A0A-BEF5-4EAC-AF15-E4F9F002E2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 y="-1"/>
            <a:ext cx="12192002" cy="1574311"/>
          </a:xfrm>
          <a:prstGeom prst="rect">
            <a:avLst/>
          </a:prstGeom>
          <a:gradFill>
            <a:gsLst>
              <a:gs pos="0">
                <a:srgbClr val="000000">
                  <a:alpha val="63000"/>
                </a:srgbClr>
              </a:gs>
              <a:gs pos="78000">
                <a:schemeClr val="accent1">
                  <a:alpha val="1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0">
            <a:extLst>
              <a:ext uri="{FF2B5EF4-FFF2-40B4-BE49-F238E27FC236}">
                <a16:creationId xmlns:a16="http://schemas.microsoft.com/office/drawing/2014/main" id="{49468258-E0E8-3FDC-4AEE-310273CABAFF}"/>
              </a:ext>
            </a:extLst>
          </p:cNvPr>
          <p:cNvSpPr>
            <a:spLocks noGrp="1"/>
          </p:cNvSpPr>
          <p:nvPr>
            <p:ph type="title"/>
          </p:nvPr>
        </p:nvSpPr>
        <p:spPr>
          <a:xfrm>
            <a:off x="699713" y="248038"/>
            <a:ext cx="7063721" cy="1159200"/>
          </a:xfrm>
        </p:spPr>
        <p:txBody>
          <a:bodyPr vert="horz" lIns="91440" tIns="45720" rIns="91440" bIns="45720" rtlCol="0" anchor="ctr">
            <a:normAutofit/>
          </a:bodyPr>
          <a:lstStyle/>
          <a:p>
            <a:pPr defTabSz="914400"/>
            <a:r>
              <a:rPr lang="en-US" sz="4000" kern="1200" dirty="0">
                <a:solidFill>
                  <a:srgbClr val="FFFFFF"/>
                </a:solidFill>
                <a:latin typeface="+mj-lt"/>
                <a:ea typeface="+mj-ea"/>
                <a:cs typeface="+mj-cs"/>
              </a:rPr>
              <a:t>Application Overview</a:t>
            </a:r>
          </a:p>
        </p:txBody>
      </p:sp>
      <p:pic>
        <p:nvPicPr>
          <p:cNvPr id="6" name="Content Placeholder 5">
            <a:extLst>
              <a:ext uri="{FF2B5EF4-FFF2-40B4-BE49-F238E27FC236}">
                <a16:creationId xmlns:a16="http://schemas.microsoft.com/office/drawing/2014/main" id="{C84E798C-6BD2-C855-E6F7-60D1012655A8}"/>
              </a:ext>
            </a:extLst>
          </p:cNvPr>
          <p:cNvPicPr>
            <a:picLocks noGrp="1" noChangeAspect="1"/>
          </p:cNvPicPr>
          <p:nvPr>
            <p:ph idx="1"/>
          </p:nvPr>
        </p:nvPicPr>
        <p:blipFill>
          <a:blip r:embed="rId3"/>
          <a:stretch>
            <a:fillRect/>
          </a:stretch>
        </p:blipFill>
        <p:spPr>
          <a:xfrm>
            <a:off x="432225" y="2733951"/>
            <a:ext cx="11327549" cy="291684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4" name="Slide Number Placeholder 3">
            <a:extLst>
              <a:ext uri="{FF2B5EF4-FFF2-40B4-BE49-F238E27FC236}">
                <a16:creationId xmlns:a16="http://schemas.microsoft.com/office/drawing/2014/main" id="{2D7DD7F8-1D13-2E06-69A5-B5490D062E5B}"/>
              </a:ext>
            </a:extLst>
          </p:cNvPr>
          <p:cNvSpPr>
            <a:spLocks noGrp="1"/>
          </p:cNvSpPr>
          <p:nvPr>
            <p:ph type="sldNum" sz="quarter" idx="12"/>
          </p:nvPr>
        </p:nvSpPr>
        <p:spPr>
          <a:xfrm>
            <a:off x="11704319" y="6455664"/>
            <a:ext cx="448056" cy="365125"/>
          </a:xfrm>
        </p:spPr>
        <p:txBody>
          <a:bodyPr vert="horz" lIns="91440" tIns="45720" rIns="91440" bIns="45720" rtlCol="0" anchor="ctr">
            <a:normAutofit/>
          </a:bodyPr>
          <a:lstStyle/>
          <a:p>
            <a:pPr>
              <a:spcAft>
                <a:spcPts val="600"/>
              </a:spcAft>
            </a:pPr>
            <a:fld id="{23CFFA4C-0D1C-425F-BB04-E50ADD4A39B0}" type="slidenum">
              <a:rPr lang="en-US" sz="1100">
                <a:solidFill>
                  <a:schemeClr val="tx1">
                    <a:lumMod val="50000"/>
                    <a:lumOff val="50000"/>
                  </a:schemeClr>
                </a:solidFill>
              </a:rPr>
              <a:pPr>
                <a:spcAft>
                  <a:spcPts val="600"/>
                </a:spcAft>
              </a:pPr>
              <a:t>35</a:t>
            </a:fld>
            <a:endParaRPr lang="en-US" sz="1100">
              <a:solidFill>
                <a:schemeClr val="tx1">
                  <a:lumMod val="50000"/>
                  <a:lumOff val="50000"/>
                </a:schemeClr>
              </a:solidFill>
            </a:endParaRPr>
          </a:p>
        </p:txBody>
      </p:sp>
    </p:spTree>
    <p:extLst>
      <p:ext uri="{BB962C8B-B14F-4D97-AF65-F5344CB8AC3E}">
        <p14:creationId xmlns:p14="http://schemas.microsoft.com/office/powerpoint/2010/main" val="27882231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DC06439-3E55-209A-DBF7-545487F5839E}"/>
              </a:ext>
            </a:extLst>
          </p:cNvPr>
          <p:cNvSpPr>
            <a:spLocks noGrp="1"/>
          </p:cNvSpPr>
          <p:nvPr>
            <p:ph type="title"/>
          </p:nvPr>
        </p:nvSpPr>
        <p:spPr>
          <a:xfrm>
            <a:off x="418225" y="2191575"/>
            <a:ext cx="3201366" cy="1735244"/>
          </a:xfrm>
        </p:spPr>
        <p:txBody>
          <a:bodyPr anchor="b">
            <a:normAutofit/>
          </a:bodyPr>
          <a:lstStyle/>
          <a:p>
            <a:pPr algn="ctr"/>
            <a:r>
              <a:rPr lang="en-US" sz="4000" b="1" dirty="0">
                <a:solidFill>
                  <a:srgbClr val="FFFFFF"/>
                </a:solidFill>
              </a:rPr>
              <a:t>Timeline Estimates</a:t>
            </a:r>
          </a:p>
        </p:txBody>
      </p:sp>
      <p:sp>
        <p:nvSpPr>
          <p:cNvPr id="3" name="Content Placeholder 2">
            <a:extLst>
              <a:ext uri="{FF2B5EF4-FFF2-40B4-BE49-F238E27FC236}">
                <a16:creationId xmlns:a16="http://schemas.microsoft.com/office/drawing/2014/main" id="{8CAA8121-FD35-921C-95DA-66BFBA6C4C19}"/>
              </a:ext>
            </a:extLst>
          </p:cNvPr>
          <p:cNvSpPr>
            <a:spLocks noGrp="1"/>
          </p:cNvSpPr>
          <p:nvPr>
            <p:ph idx="1"/>
          </p:nvPr>
        </p:nvSpPr>
        <p:spPr>
          <a:xfrm>
            <a:off x="4581727" y="649480"/>
            <a:ext cx="3025303" cy="5546047"/>
          </a:xfrm>
        </p:spPr>
        <p:txBody>
          <a:bodyPr anchor="ctr">
            <a:normAutofit/>
          </a:bodyPr>
          <a:lstStyle/>
          <a:p>
            <a:pPr marL="0" indent="0">
              <a:buNone/>
            </a:pPr>
            <a:r>
              <a:rPr lang="en-US" sz="1700" b="1"/>
              <a:t>Overall Project Deadlines:</a:t>
            </a:r>
          </a:p>
          <a:p>
            <a:r>
              <a:rPr lang="en-US" sz="1700"/>
              <a:t>Standard minimal time: 6-8 weeks.</a:t>
            </a:r>
          </a:p>
          <a:p>
            <a:r>
              <a:rPr lang="en-US" sz="1700"/>
              <a:t>Expedited minimal time: 30-days</a:t>
            </a:r>
          </a:p>
          <a:p>
            <a:endParaRPr lang="en-US" sz="1700"/>
          </a:p>
          <a:p>
            <a:pPr marL="0" indent="0">
              <a:buNone/>
            </a:pPr>
            <a:r>
              <a:rPr lang="en-US" sz="1700" b="1"/>
              <a:t>Estimated Project Timelines:</a:t>
            </a:r>
          </a:p>
          <a:p>
            <a:r>
              <a:rPr lang="en-US" sz="1700"/>
              <a:t>Onboarding: 3-5 business days</a:t>
            </a:r>
          </a:p>
          <a:p>
            <a:r>
              <a:rPr lang="en-US" sz="1700"/>
              <a:t>Processing application materials: 2-6 weeks</a:t>
            </a:r>
          </a:p>
          <a:p>
            <a:r>
              <a:rPr lang="en-US" sz="1700"/>
              <a:t>Quality control: 1-2 weeks</a:t>
            </a:r>
          </a:p>
          <a:p>
            <a:r>
              <a:rPr lang="en-US" sz="1700"/>
              <a:t>Application submission: 1-3 days</a:t>
            </a:r>
          </a:p>
          <a:p>
            <a:r>
              <a:rPr lang="en-US" sz="1700"/>
              <a:t>RFI support: 2-4 weeks (Optional Service)</a:t>
            </a:r>
          </a:p>
          <a:p>
            <a:r>
              <a:rPr lang="en-US" sz="1700"/>
              <a:t>Post-award compliance services: From 2-3 weeks up to several years (Optional Service)</a:t>
            </a:r>
          </a:p>
          <a:p>
            <a:endParaRPr lang="en-US" sz="1700"/>
          </a:p>
          <a:p>
            <a:pPr marL="0" indent="0">
              <a:buNone/>
            </a:pPr>
            <a:endParaRPr lang="en-US" sz="1700"/>
          </a:p>
        </p:txBody>
      </p:sp>
      <p:pic>
        <p:nvPicPr>
          <p:cNvPr id="5" name="Picture 4">
            <a:extLst>
              <a:ext uri="{FF2B5EF4-FFF2-40B4-BE49-F238E27FC236}">
                <a16:creationId xmlns:a16="http://schemas.microsoft.com/office/drawing/2014/main" id="{F8C4572A-B934-F121-9208-A9F6D0114263}"/>
              </a:ext>
            </a:extLst>
          </p:cNvPr>
          <p:cNvPicPr>
            <a:picLocks noChangeAspect="1"/>
          </p:cNvPicPr>
          <p:nvPr/>
        </p:nvPicPr>
        <p:blipFill>
          <a:blip r:embed="rId3"/>
          <a:stretch>
            <a:fillRect/>
          </a:stretch>
        </p:blipFill>
        <p:spPr>
          <a:xfrm>
            <a:off x="8125812" y="473654"/>
            <a:ext cx="3583155" cy="5922571"/>
          </a:xfrm>
          <a:prstGeom prst="rect">
            <a:avLst/>
          </a:prstGeom>
        </p:spPr>
      </p:pic>
      <p:pic>
        <p:nvPicPr>
          <p:cNvPr id="7" name="Picture 6">
            <a:extLst>
              <a:ext uri="{FF2B5EF4-FFF2-40B4-BE49-F238E27FC236}">
                <a16:creationId xmlns:a16="http://schemas.microsoft.com/office/drawing/2014/main" id="{2F5BF4A1-1D3C-EDFB-1D63-FB0727472ED3}"/>
              </a:ext>
            </a:extLst>
          </p:cNvPr>
          <p:cNvPicPr>
            <a:picLocks noChangeAspect="1"/>
          </p:cNvPicPr>
          <p:nvPr/>
        </p:nvPicPr>
        <p:blipFill>
          <a:blip r:embed="rId4"/>
          <a:stretch>
            <a:fillRect/>
          </a:stretch>
        </p:blipFill>
        <p:spPr>
          <a:xfrm>
            <a:off x="417991" y="138897"/>
            <a:ext cx="3201600" cy="123270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4" name="Slide Number Placeholder 3">
            <a:extLst>
              <a:ext uri="{FF2B5EF4-FFF2-40B4-BE49-F238E27FC236}">
                <a16:creationId xmlns:a16="http://schemas.microsoft.com/office/drawing/2014/main" id="{D9CAA424-B4A7-6C05-DDF3-790895A6372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CFFA4C-0D1C-425F-BB04-E50ADD4A39B0}"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3183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5A59F003-E00A-43F9-91DC-CC54E3B874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rainbow colored smoke on a white background&#10;&#10;Description automatically generated">
            <a:extLst>
              <a:ext uri="{FF2B5EF4-FFF2-40B4-BE49-F238E27FC236}">
                <a16:creationId xmlns:a16="http://schemas.microsoft.com/office/drawing/2014/main" id="{20407A62-214B-E116-B248-0A7E51F7861E}"/>
              </a:ext>
            </a:extLst>
          </p:cNvPr>
          <p:cNvPicPr>
            <a:picLocks noChangeAspect="1"/>
          </p:cNvPicPr>
          <p:nvPr/>
        </p:nvPicPr>
        <p:blipFill rotWithShape="1">
          <a:blip r:embed="rId3"/>
          <a:srcRect t="15730"/>
          <a:stretch/>
        </p:blipFill>
        <p:spPr>
          <a:xfrm>
            <a:off x="20" y="10"/>
            <a:ext cx="12191981" cy="6857990"/>
          </a:xfrm>
          <a:prstGeom prst="rect">
            <a:avLst/>
          </a:prstGeom>
        </p:spPr>
      </p:pic>
      <p:sp>
        <p:nvSpPr>
          <p:cNvPr id="14" name="Rectangle 13">
            <a:extLst>
              <a:ext uri="{FF2B5EF4-FFF2-40B4-BE49-F238E27FC236}">
                <a16:creationId xmlns:a16="http://schemas.microsoft.com/office/drawing/2014/main" id="{D74A4382-E3AD-430A-9A1F-DFA3E0E77A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799865" y="-1524511"/>
            <a:ext cx="4592270" cy="12192001"/>
          </a:xfrm>
          <a:prstGeom prst="rect">
            <a:avLst/>
          </a:prstGeom>
          <a:gradFill>
            <a:gsLst>
              <a:gs pos="35000">
                <a:schemeClr val="tx1">
                  <a:alpha val="46000"/>
                </a:schemeClr>
              </a:gs>
              <a:gs pos="21000">
                <a:schemeClr val="tx1">
                  <a:alpha val="30000"/>
                </a:schemeClr>
              </a:gs>
              <a:gs pos="0">
                <a:schemeClr val="tx1">
                  <a:alpha val="0"/>
                </a:schemeClr>
              </a:gs>
              <a:gs pos="100000">
                <a:schemeClr val="tx1">
                  <a:alpha val="9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a:extLst>
              <a:ext uri="{FF2B5EF4-FFF2-40B4-BE49-F238E27FC236}">
                <a16:creationId xmlns:a16="http://schemas.microsoft.com/office/drawing/2014/main" id="{141CFC65-F37C-BA53-C63A-5483C045F9BE}"/>
              </a:ext>
            </a:extLst>
          </p:cNvPr>
          <p:cNvSpPr>
            <a:spLocks noGrp="1"/>
          </p:cNvSpPr>
          <p:nvPr>
            <p:ph type="title"/>
          </p:nvPr>
        </p:nvSpPr>
        <p:spPr>
          <a:xfrm>
            <a:off x="404553" y="3091928"/>
            <a:ext cx="9078562" cy="2387600"/>
          </a:xfrm>
        </p:spPr>
        <p:txBody>
          <a:bodyPr vert="horz" lIns="91440" tIns="45720" rIns="91440" bIns="45720" rtlCol="0" anchor="b">
            <a:normAutofit/>
          </a:bodyPr>
          <a:lstStyle/>
          <a:p>
            <a:pPr algn="ctr" defTabSz="914400"/>
            <a:r>
              <a:rPr lang="en-US" sz="6600" dirty="0">
                <a:solidFill>
                  <a:schemeClr val="bg1"/>
                </a:solidFill>
              </a:rPr>
              <a:t>Professional Engineering Services</a:t>
            </a:r>
          </a:p>
        </p:txBody>
      </p:sp>
      <p:sp>
        <p:nvSpPr>
          <p:cNvPr id="16" name="Rectangle: Rounded Corners 15">
            <a:extLst>
              <a:ext uri="{FF2B5EF4-FFF2-40B4-BE49-F238E27FC236}">
                <a16:creationId xmlns:a16="http://schemas.microsoft.com/office/drawing/2014/main" id="{79F40191-0F44-4FD1-82CC-ACB507C14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575039"/>
            <a:ext cx="9785897" cy="68580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CEBA551D-4A33-31A8-57C1-1008CC4A66A2}"/>
              </a:ext>
            </a:extLst>
          </p:cNvPr>
          <p:cNvSpPr>
            <a:spLocks noGrp="1"/>
          </p:cNvSpPr>
          <p:nvPr>
            <p:ph type="body" idx="1"/>
          </p:nvPr>
        </p:nvSpPr>
        <p:spPr>
          <a:xfrm>
            <a:off x="404553" y="5624945"/>
            <a:ext cx="9078562" cy="592975"/>
          </a:xfrm>
        </p:spPr>
        <p:txBody>
          <a:bodyPr vert="horz" lIns="91440" tIns="45720" rIns="91440" bIns="45720" rtlCol="0" anchor="ctr">
            <a:normAutofit/>
          </a:bodyPr>
          <a:lstStyle/>
          <a:p>
            <a:pPr defTabSz="914400">
              <a:spcBef>
                <a:spcPts val="1000"/>
              </a:spcBef>
            </a:pPr>
            <a:r>
              <a:rPr lang="en-US" sz="2400" dirty="0">
                <a:solidFill>
                  <a:schemeClr val="bg1"/>
                </a:solidFill>
              </a:rPr>
              <a:t>Onsite Support / PE Stamped Drawings</a:t>
            </a:r>
          </a:p>
        </p:txBody>
      </p:sp>
      <p:sp>
        <p:nvSpPr>
          <p:cNvPr id="4" name="Slide Number Placeholder 3">
            <a:extLst>
              <a:ext uri="{FF2B5EF4-FFF2-40B4-BE49-F238E27FC236}">
                <a16:creationId xmlns:a16="http://schemas.microsoft.com/office/drawing/2014/main" id="{ACC63ACD-00D0-E338-E526-64DFFB96598A}"/>
              </a:ext>
            </a:extLst>
          </p:cNvPr>
          <p:cNvSpPr>
            <a:spLocks noGrp="1"/>
          </p:cNvSpPr>
          <p:nvPr>
            <p:ph type="sldNum" sz="quarter" idx="12"/>
          </p:nvPr>
        </p:nvSpPr>
        <p:spPr>
          <a:xfrm>
            <a:off x="9041199" y="6356350"/>
            <a:ext cx="2743200" cy="365125"/>
          </a:xfrm>
        </p:spPr>
        <p:txBody>
          <a:bodyPr vert="horz" lIns="91440" tIns="45720" rIns="91440" bIns="45720" rtlCol="0" anchor="ctr">
            <a:normAutofit/>
          </a:bodyPr>
          <a:lstStyle/>
          <a:p>
            <a:pPr>
              <a:spcAft>
                <a:spcPts val="600"/>
              </a:spcAft>
              <a:defRPr/>
            </a:pPr>
            <a:fld id="{23CFFA4C-0D1C-425F-BB04-E50ADD4A39B0}" type="slidenum">
              <a:rPr lang="en-US" sz="1200">
                <a:solidFill>
                  <a:schemeClr val="bg1"/>
                </a:solidFill>
                <a:latin typeface="Calibri" panose="020F0502020204030204"/>
              </a:rPr>
              <a:pPr>
                <a:spcAft>
                  <a:spcPts val="600"/>
                </a:spcAft>
                <a:defRPr/>
              </a:pPr>
              <a:t>37</a:t>
            </a:fld>
            <a:endParaRPr lang="en-US" sz="1200">
              <a:solidFill>
                <a:schemeClr val="bg1"/>
              </a:solidFill>
              <a:latin typeface="Calibri" panose="020F0502020204030204"/>
            </a:endParaRPr>
          </a:p>
        </p:txBody>
      </p:sp>
    </p:spTree>
    <p:extLst>
      <p:ext uri="{BB962C8B-B14F-4D97-AF65-F5344CB8AC3E}">
        <p14:creationId xmlns:p14="http://schemas.microsoft.com/office/powerpoint/2010/main" val="6536800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F964AEB-6352-4455-1B24-558318F39BF7}"/>
              </a:ext>
            </a:extLst>
          </p:cNvPr>
          <p:cNvSpPr txBox="1"/>
          <p:nvPr/>
        </p:nvSpPr>
        <p:spPr>
          <a:xfrm>
            <a:off x="3139380" y="1939726"/>
            <a:ext cx="499872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Winncom Professional Engineering Service</a:t>
            </a:r>
          </a:p>
        </p:txBody>
      </p:sp>
      <p:pic>
        <p:nvPicPr>
          <p:cNvPr id="1028" name="Picture 4" descr="Protecting Your Home Against Lightning">
            <a:extLst>
              <a:ext uri="{FF2B5EF4-FFF2-40B4-BE49-F238E27FC236}">
                <a16:creationId xmlns:a16="http://schemas.microsoft.com/office/drawing/2014/main" id="{7F193133-75AA-1EEE-5721-C32200BCDB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5174"/>
            <a:ext cx="12174021" cy="314178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46DF13D-DA92-66A5-E10D-C7EDFE40D553}"/>
              </a:ext>
            </a:extLst>
          </p:cNvPr>
          <p:cNvSpPr txBox="1"/>
          <p:nvPr/>
        </p:nvSpPr>
        <p:spPr>
          <a:xfrm>
            <a:off x="1899139" y="275049"/>
            <a:ext cx="8393722"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rPr>
              <a:t>WINNCOM PROFESSIONAL ENGINEERING SERVICE</a:t>
            </a:r>
          </a:p>
        </p:txBody>
      </p:sp>
      <p:pic>
        <p:nvPicPr>
          <p:cNvPr id="11" name="Picture 10">
            <a:extLst>
              <a:ext uri="{FF2B5EF4-FFF2-40B4-BE49-F238E27FC236}">
                <a16:creationId xmlns:a16="http://schemas.microsoft.com/office/drawing/2014/main" id="{9D83C97F-0905-489C-A8D7-666362279EDB}"/>
              </a:ext>
            </a:extLst>
          </p:cNvPr>
          <p:cNvPicPr>
            <a:picLocks noChangeAspect="1"/>
          </p:cNvPicPr>
          <p:nvPr/>
        </p:nvPicPr>
        <p:blipFill>
          <a:blip r:embed="rId4"/>
          <a:stretch>
            <a:fillRect/>
          </a:stretch>
        </p:blipFill>
        <p:spPr>
          <a:xfrm>
            <a:off x="8614551" y="3141785"/>
            <a:ext cx="2827502" cy="3561918"/>
          </a:xfrm>
          <a:prstGeom prst="rect">
            <a:avLst/>
          </a:prstGeom>
        </p:spPr>
      </p:pic>
      <p:sp>
        <p:nvSpPr>
          <p:cNvPr id="12" name="Slide Number Placeholder 11">
            <a:extLst>
              <a:ext uri="{FF2B5EF4-FFF2-40B4-BE49-F238E27FC236}">
                <a16:creationId xmlns:a16="http://schemas.microsoft.com/office/drawing/2014/main" id="{8489BD2F-1954-10B7-3E5E-6E8217263FE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CFFA4C-0D1C-425F-BB04-E50ADD4A39B0}"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2CFD6626-4779-B84A-8D37-D2426C44CA59}"/>
              </a:ext>
            </a:extLst>
          </p:cNvPr>
          <p:cNvGrpSpPr/>
          <p:nvPr/>
        </p:nvGrpSpPr>
        <p:grpSpPr>
          <a:xfrm>
            <a:off x="616513" y="3067332"/>
            <a:ext cx="7339330" cy="3515620"/>
            <a:chOff x="1209561" y="1050074"/>
            <a:chExt cx="10131437" cy="5250394"/>
          </a:xfrm>
        </p:grpSpPr>
        <p:sp>
          <p:nvSpPr>
            <p:cNvPr id="10" name="TextBox 9">
              <a:extLst>
                <a:ext uri="{FF2B5EF4-FFF2-40B4-BE49-F238E27FC236}">
                  <a16:creationId xmlns:a16="http://schemas.microsoft.com/office/drawing/2014/main" id="{34B3C9E0-7A8D-37C6-8999-54B8803A748C}"/>
                </a:ext>
              </a:extLst>
            </p:cNvPr>
            <p:cNvSpPr txBox="1"/>
            <p:nvPr/>
          </p:nvSpPr>
          <p:spPr>
            <a:xfrm>
              <a:off x="5475493" y="3715085"/>
              <a:ext cx="1399313" cy="294050"/>
            </a:xfrm>
            <a:prstGeom prst="rect">
              <a:avLst/>
            </a:prstGeom>
            <a:noFill/>
          </p:spPr>
          <p:txBody>
            <a:bodyPr wrap="none" rtlCol="0">
              <a:prstTxWarp prst="textArchUp">
                <a:avLst/>
              </a:prstTxWarp>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Montserrat" panose="00000500000000000000" pitchFamily="50" charset="0"/>
                  <a:ea typeface="+mn-ea"/>
                  <a:cs typeface="Calibri" panose="020F0502020204030204" pitchFamily="34" charset="0"/>
                </a:rPr>
                <a:t>PORTFOLIO OF</a:t>
              </a:r>
              <a:endParaRPr kumimoji="0" lang="en-IN"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 name="Rectangle 12">
              <a:extLst>
                <a:ext uri="{FF2B5EF4-FFF2-40B4-BE49-F238E27FC236}">
                  <a16:creationId xmlns:a16="http://schemas.microsoft.com/office/drawing/2014/main" id="{ABF9C983-218A-224B-4FFF-1C8D5C9DC941}"/>
                </a:ext>
              </a:extLst>
            </p:cNvPr>
            <p:cNvSpPr/>
            <p:nvPr/>
          </p:nvSpPr>
          <p:spPr>
            <a:xfrm>
              <a:off x="5627881" y="4119433"/>
              <a:ext cx="1139143" cy="195578"/>
            </a:xfrm>
            <a:prstGeom prst="rect">
              <a:avLst/>
            </a:prstGeom>
            <a:noFill/>
          </p:spPr>
          <p:txBody>
            <a:bodyPr wrap="none" lIns="91440" tIns="45720" rIns="91440" bIns="45720">
              <a:prstTxWarp prst="textArchDown">
                <a:avLst>
                  <a:gd name="adj" fmla="val 20475080"/>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Montserrat" panose="00000500000000000000" pitchFamily="50" charset="0"/>
                  <a:ea typeface="+mn-ea"/>
                  <a:cs typeface="Calibri" panose="020F0502020204030204" pitchFamily="34" charset="0"/>
                </a:rPr>
                <a:t>SERVICES</a:t>
              </a:r>
            </a:p>
          </p:txBody>
        </p:sp>
        <p:sp>
          <p:nvSpPr>
            <p:cNvPr id="14" name="Rectangle 13">
              <a:extLst>
                <a:ext uri="{FF2B5EF4-FFF2-40B4-BE49-F238E27FC236}">
                  <a16:creationId xmlns:a16="http://schemas.microsoft.com/office/drawing/2014/main" id="{95ACC29C-7B9B-E91A-154D-EE67B748465A}"/>
                </a:ext>
              </a:extLst>
            </p:cNvPr>
            <p:cNvSpPr/>
            <p:nvPr/>
          </p:nvSpPr>
          <p:spPr>
            <a:xfrm>
              <a:off x="5502097" y="2920571"/>
              <a:ext cx="1275320" cy="951568"/>
            </a:xfrm>
            <a:prstGeom prst="rect">
              <a:avLst/>
            </a:prstGeom>
            <a:noFill/>
            <a:ln>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89AFAB05-4253-51A9-B8B6-648865C59E7C}"/>
                </a:ext>
              </a:extLst>
            </p:cNvPr>
            <p:cNvSpPr/>
            <p:nvPr/>
          </p:nvSpPr>
          <p:spPr>
            <a:xfrm>
              <a:off x="4528297" y="2569381"/>
              <a:ext cx="3314131" cy="3232661"/>
            </a:xfrm>
            <a:prstGeom prst="ellips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7">
              <a:extLst>
                <a:ext uri="{FF2B5EF4-FFF2-40B4-BE49-F238E27FC236}">
                  <a16:creationId xmlns:a16="http://schemas.microsoft.com/office/drawing/2014/main" id="{F1B076A3-FB9F-917C-C97C-99420144AB79}"/>
                </a:ext>
              </a:extLst>
            </p:cNvPr>
            <p:cNvSpPr>
              <a:spLocks noEditPoints="1"/>
            </p:cNvSpPr>
            <p:nvPr/>
          </p:nvSpPr>
          <p:spPr bwMode="auto">
            <a:xfrm>
              <a:off x="5126999" y="3139892"/>
              <a:ext cx="2080169" cy="2030184"/>
            </a:xfrm>
            <a:custGeom>
              <a:avLst/>
              <a:gdLst>
                <a:gd name="T0" fmla="*/ 720 w 1761"/>
                <a:gd name="T1" fmla="*/ 52 h 1762"/>
                <a:gd name="T2" fmla="*/ 500 w 1761"/>
                <a:gd name="T3" fmla="*/ 128 h 1762"/>
                <a:gd name="T4" fmla="*/ 312 w 1761"/>
                <a:gd name="T5" fmla="*/ 259 h 1762"/>
                <a:gd name="T6" fmla="*/ 165 w 1761"/>
                <a:gd name="T7" fmla="*/ 434 h 1762"/>
                <a:gd name="T8" fmla="*/ 71 w 1761"/>
                <a:gd name="T9" fmla="*/ 645 h 1762"/>
                <a:gd name="T10" fmla="*/ 37 w 1761"/>
                <a:gd name="T11" fmla="*/ 881 h 1762"/>
                <a:gd name="T12" fmla="*/ 71 w 1761"/>
                <a:gd name="T13" fmla="*/ 1118 h 1762"/>
                <a:gd name="T14" fmla="*/ 165 w 1761"/>
                <a:gd name="T15" fmla="*/ 1328 h 1762"/>
                <a:gd name="T16" fmla="*/ 312 w 1761"/>
                <a:gd name="T17" fmla="*/ 1504 h 1762"/>
                <a:gd name="T18" fmla="*/ 500 w 1761"/>
                <a:gd name="T19" fmla="*/ 1635 h 1762"/>
                <a:gd name="T20" fmla="*/ 720 w 1761"/>
                <a:gd name="T21" fmla="*/ 1709 h 1762"/>
                <a:gd name="T22" fmla="*/ 962 w 1761"/>
                <a:gd name="T23" fmla="*/ 1721 h 1762"/>
                <a:gd name="T24" fmla="*/ 1191 w 1761"/>
                <a:gd name="T25" fmla="*/ 1666 h 1762"/>
                <a:gd name="T26" fmla="*/ 1391 w 1761"/>
                <a:gd name="T27" fmla="*/ 1552 h 1762"/>
                <a:gd name="T28" fmla="*/ 1552 w 1761"/>
                <a:gd name="T29" fmla="*/ 1391 h 1762"/>
                <a:gd name="T30" fmla="*/ 1665 w 1761"/>
                <a:gd name="T31" fmla="*/ 1191 h 1762"/>
                <a:gd name="T32" fmla="*/ 1720 w 1761"/>
                <a:gd name="T33" fmla="*/ 962 h 1762"/>
                <a:gd name="T34" fmla="*/ 1709 w 1761"/>
                <a:gd name="T35" fmla="*/ 721 h 1762"/>
                <a:gd name="T36" fmla="*/ 1633 w 1761"/>
                <a:gd name="T37" fmla="*/ 501 h 1762"/>
                <a:gd name="T38" fmla="*/ 1502 w 1761"/>
                <a:gd name="T39" fmla="*/ 312 h 1762"/>
                <a:gd name="T40" fmla="*/ 1327 w 1761"/>
                <a:gd name="T41" fmla="*/ 166 h 1762"/>
                <a:gd name="T42" fmla="*/ 1116 w 1761"/>
                <a:gd name="T43" fmla="*/ 72 h 1762"/>
                <a:gd name="T44" fmla="*/ 881 w 1761"/>
                <a:gd name="T45" fmla="*/ 38 h 1762"/>
                <a:gd name="T46" fmla="*/ 1047 w 1761"/>
                <a:gd name="T47" fmla="*/ 17 h 1762"/>
                <a:gd name="T48" fmla="*/ 1277 w 1761"/>
                <a:gd name="T49" fmla="*/ 95 h 1762"/>
                <a:gd name="T50" fmla="*/ 1474 w 1761"/>
                <a:gd name="T51" fmla="*/ 231 h 1762"/>
                <a:gd name="T52" fmla="*/ 1627 w 1761"/>
                <a:gd name="T53" fmla="*/ 415 h 1762"/>
                <a:gd name="T54" fmla="*/ 1726 w 1761"/>
                <a:gd name="T55" fmla="*/ 635 h 1762"/>
                <a:gd name="T56" fmla="*/ 1761 w 1761"/>
                <a:gd name="T57" fmla="*/ 881 h 1762"/>
                <a:gd name="T58" fmla="*/ 1726 w 1761"/>
                <a:gd name="T59" fmla="*/ 1128 h 1762"/>
                <a:gd name="T60" fmla="*/ 1627 w 1761"/>
                <a:gd name="T61" fmla="*/ 1348 h 1762"/>
                <a:gd name="T62" fmla="*/ 1474 w 1761"/>
                <a:gd name="T63" fmla="*/ 1531 h 1762"/>
                <a:gd name="T64" fmla="*/ 1277 w 1761"/>
                <a:gd name="T65" fmla="*/ 1667 h 1762"/>
                <a:gd name="T66" fmla="*/ 1047 w 1761"/>
                <a:gd name="T67" fmla="*/ 1746 h 1762"/>
                <a:gd name="T68" fmla="*/ 796 w 1761"/>
                <a:gd name="T69" fmla="*/ 1758 h 1762"/>
                <a:gd name="T70" fmla="*/ 556 w 1761"/>
                <a:gd name="T71" fmla="*/ 1700 h 1762"/>
                <a:gd name="T72" fmla="*/ 348 w 1761"/>
                <a:gd name="T73" fmla="*/ 1582 h 1762"/>
                <a:gd name="T74" fmla="*/ 180 w 1761"/>
                <a:gd name="T75" fmla="*/ 1413 h 1762"/>
                <a:gd name="T76" fmla="*/ 62 w 1761"/>
                <a:gd name="T77" fmla="*/ 1205 h 1762"/>
                <a:gd name="T78" fmla="*/ 4 w 1761"/>
                <a:gd name="T79" fmla="*/ 966 h 1762"/>
                <a:gd name="T80" fmla="*/ 16 w 1761"/>
                <a:gd name="T81" fmla="*/ 714 h 1762"/>
                <a:gd name="T82" fmla="*/ 95 w 1761"/>
                <a:gd name="T83" fmla="*/ 484 h 1762"/>
                <a:gd name="T84" fmla="*/ 231 w 1761"/>
                <a:gd name="T85" fmla="*/ 288 h 1762"/>
                <a:gd name="T86" fmla="*/ 414 w 1761"/>
                <a:gd name="T87" fmla="*/ 134 h 1762"/>
                <a:gd name="T88" fmla="*/ 634 w 1761"/>
                <a:gd name="T89" fmla="*/ 35 h 1762"/>
                <a:gd name="T90" fmla="*/ 881 w 1761"/>
                <a:gd name="T91" fmla="*/ 0 h 1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1" h="1762">
                  <a:moveTo>
                    <a:pt x="881" y="38"/>
                  </a:moveTo>
                  <a:lnTo>
                    <a:pt x="800" y="41"/>
                  </a:lnTo>
                  <a:lnTo>
                    <a:pt x="720" y="52"/>
                  </a:lnTo>
                  <a:lnTo>
                    <a:pt x="644" y="72"/>
                  </a:lnTo>
                  <a:lnTo>
                    <a:pt x="571" y="96"/>
                  </a:lnTo>
                  <a:lnTo>
                    <a:pt x="500" y="128"/>
                  </a:lnTo>
                  <a:lnTo>
                    <a:pt x="433" y="166"/>
                  </a:lnTo>
                  <a:lnTo>
                    <a:pt x="371" y="209"/>
                  </a:lnTo>
                  <a:lnTo>
                    <a:pt x="312" y="259"/>
                  </a:lnTo>
                  <a:lnTo>
                    <a:pt x="258" y="312"/>
                  </a:lnTo>
                  <a:lnTo>
                    <a:pt x="210" y="371"/>
                  </a:lnTo>
                  <a:lnTo>
                    <a:pt x="165" y="434"/>
                  </a:lnTo>
                  <a:lnTo>
                    <a:pt x="129" y="501"/>
                  </a:lnTo>
                  <a:lnTo>
                    <a:pt x="96" y="570"/>
                  </a:lnTo>
                  <a:lnTo>
                    <a:pt x="71" y="645"/>
                  </a:lnTo>
                  <a:lnTo>
                    <a:pt x="53" y="721"/>
                  </a:lnTo>
                  <a:lnTo>
                    <a:pt x="41" y="799"/>
                  </a:lnTo>
                  <a:lnTo>
                    <a:pt x="37" y="881"/>
                  </a:lnTo>
                  <a:lnTo>
                    <a:pt x="41" y="962"/>
                  </a:lnTo>
                  <a:lnTo>
                    <a:pt x="53" y="1042"/>
                  </a:lnTo>
                  <a:lnTo>
                    <a:pt x="71" y="1118"/>
                  </a:lnTo>
                  <a:lnTo>
                    <a:pt x="96" y="1191"/>
                  </a:lnTo>
                  <a:lnTo>
                    <a:pt x="129" y="1262"/>
                  </a:lnTo>
                  <a:lnTo>
                    <a:pt x="165" y="1328"/>
                  </a:lnTo>
                  <a:lnTo>
                    <a:pt x="210" y="1391"/>
                  </a:lnTo>
                  <a:lnTo>
                    <a:pt x="258" y="1450"/>
                  </a:lnTo>
                  <a:lnTo>
                    <a:pt x="312" y="1504"/>
                  </a:lnTo>
                  <a:lnTo>
                    <a:pt x="371" y="1552"/>
                  </a:lnTo>
                  <a:lnTo>
                    <a:pt x="433" y="1597"/>
                  </a:lnTo>
                  <a:lnTo>
                    <a:pt x="500" y="1635"/>
                  </a:lnTo>
                  <a:lnTo>
                    <a:pt x="571" y="1666"/>
                  </a:lnTo>
                  <a:lnTo>
                    <a:pt x="644" y="1691"/>
                  </a:lnTo>
                  <a:lnTo>
                    <a:pt x="720" y="1709"/>
                  </a:lnTo>
                  <a:lnTo>
                    <a:pt x="800" y="1721"/>
                  </a:lnTo>
                  <a:lnTo>
                    <a:pt x="881" y="1725"/>
                  </a:lnTo>
                  <a:lnTo>
                    <a:pt x="962" y="1721"/>
                  </a:lnTo>
                  <a:lnTo>
                    <a:pt x="1041" y="1709"/>
                  </a:lnTo>
                  <a:lnTo>
                    <a:pt x="1116" y="1691"/>
                  </a:lnTo>
                  <a:lnTo>
                    <a:pt x="1191" y="1666"/>
                  </a:lnTo>
                  <a:lnTo>
                    <a:pt x="1260" y="1635"/>
                  </a:lnTo>
                  <a:lnTo>
                    <a:pt x="1327" y="1597"/>
                  </a:lnTo>
                  <a:lnTo>
                    <a:pt x="1391" y="1552"/>
                  </a:lnTo>
                  <a:lnTo>
                    <a:pt x="1449" y="1504"/>
                  </a:lnTo>
                  <a:lnTo>
                    <a:pt x="1502" y="1450"/>
                  </a:lnTo>
                  <a:lnTo>
                    <a:pt x="1552" y="1391"/>
                  </a:lnTo>
                  <a:lnTo>
                    <a:pt x="1595" y="1328"/>
                  </a:lnTo>
                  <a:lnTo>
                    <a:pt x="1633" y="1262"/>
                  </a:lnTo>
                  <a:lnTo>
                    <a:pt x="1665" y="1191"/>
                  </a:lnTo>
                  <a:lnTo>
                    <a:pt x="1691" y="1118"/>
                  </a:lnTo>
                  <a:lnTo>
                    <a:pt x="1709" y="1042"/>
                  </a:lnTo>
                  <a:lnTo>
                    <a:pt x="1720" y="962"/>
                  </a:lnTo>
                  <a:lnTo>
                    <a:pt x="1724" y="881"/>
                  </a:lnTo>
                  <a:lnTo>
                    <a:pt x="1720" y="799"/>
                  </a:lnTo>
                  <a:lnTo>
                    <a:pt x="1709" y="721"/>
                  </a:lnTo>
                  <a:lnTo>
                    <a:pt x="1691" y="645"/>
                  </a:lnTo>
                  <a:lnTo>
                    <a:pt x="1665" y="570"/>
                  </a:lnTo>
                  <a:lnTo>
                    <a:pt x="1633" y="501"/>
                  </a:lnTo>
                  <a:lnTo>
                    <a:pt x="1595" y="434"/>
                  </a:lnTo>
                  <a:lnTo>
                    <a:pt x="1552" y="371"/>
                  </a:lnTo>
                  <a:lnTo>
                    <a:pt x="1502" y="312"/>
                  </a:lnTo>
                  <a:lnTo>
                    <a:pt x="1449" y="259"/>
                  </a:lnTo>
                  <a:lnTo>
                    <a:pt x="1391" y="209"/>
                  </a:lnTo>
                  <a:lnTo>
                    <a:pt x="1327" y="166"/>
                  </a:lnTo>
                  <a:lnTo>
                    <a:pt x="1260" y="128"/>
                  </a:lnTo>
                  <a:lnTo>
                    <a:pt x="1191" y="96"/>
                  </a:lnTo>
                  <a:lnTo>
                    <a:pt x="1116" y="72"/>
                  </a:lnTo>
                  <a:lnTo>
                    <a:pt x="1041" y="52"/>
                  </a:lnTo>
                  <a:lnTo>
                    <a:pt x="962" y="41"/>
                  </a:lnTo>
                  <a:lnTo>
                    <a:pt x="881" y="38"/>
                  </a:lnTo>
                  <a:close/>
                  <a:moveTo>
                    <a:pt x="881" y="0"/>
                  </a:moveTo>
                  <a:lnTo>
                    <a:pt x="965" y="4"/>
                  </a:lnTo>
                  <a:lnTo>
                    <a:pt x="1047" y="17"/>
                  </a:lnTo>
                  <a:lnTo>
                    <a:pt x="1127" y="35"/>
                  </a:lnTo>
                  <a:lnTo>
                    <a:pt x="1204" y="61"/>
                  </a:lnTo>
                  <a:lnTo>
                    <a:pt x="1277" y="95"/>
                  </a:lnTo>
                  <a:lnTo>
                    <a:pt x="1348" y="134"/>
                  </a:lnTo>
                  <a:lnTo>
                    <a:pt x="1413" y="180"/>
                  </a:lnTo>
                  <a:lnTo>
                    <a:pt x="1474" y="231"/>
                  </a:lnTo>
                  <a:lnTo>
                    <a:pt x="1530" y="288"/>
                  </a:lnTo>
                  <a:lnTo>
                    <a:pt x="1581" y="348"/>
                  </a:lnTo>
                  <a:lnTo>
                    <a:pt x="1627" y="415"/>
                  </a:lnTo>
                  <a:lnTo>
                    <a:pt x="1666" y="484"/>
                  </a:lnTo>
                  <a:lnTo>
                    <a:pt x="1700" y="557"/>
                  </a:lnTo>
                  <a:lnTo>
                    <a:pt x="1726" y="635"/>
                  </a:lnTo>
                  <a:lnTo>
                    <a:pt x="1746" y="714"/>
                  </a:lnTo>
                  <a:lnTo>
                    <a:pt x="1758" y="797"/>
                  </a:lnTo>
                  <a:lnTo>
                    <a:pt x="1761" y="881"/>
                  </a:lnTo>
                  <a:lnTo>
                    <a:pt x="1758" y="966"/>
                  </a:lnTo>
                  <a:lnTo>
                    <a:pt x="1746" y="1048"/>
                  </a:lnTo>
                  <a:lnTo>
                    <a:pt x="1726" y="1128"/>
                  </a:lnTo>
                  <a:lnTo>
                    <a:pt x="1700" y="1205"/>
                  </a:lnTo>
                  <a:lnTo>
                    <a:pt x="1666" y="1279"/>
                  </a:lnTo>
                  <a:lnTo>
                    <a:pt x="1627" y="1348"/>
                  </a:lnTo>
                  <a:lnTo>
                    <a:pt x="1581" y="1413"/>
                  </a:lnTo>
                  <a:lnTo>
                    <a:pt x="1530" y="1475"/>
                  </a:lnTo>
                  <a:lnTo>
                    <a:pt x="1474" y="1531"/>
                  </a:lnTo>
                  <a:lnTo>
                    <a:pt x="1413" y="1582"/>
                  </a:lnTo>
                  <a:lnTo>
                    <a:pt x="1348" y="1628"/>
                  </a:lnTo>
                  <a:lnTo>
                    <a:pt x="1277" y="1667"/>
                  </a:lnTo>
                  <a:lnTo>
                    <a:pt x="1204" y="1700"/>
                  </a:lnTo>
                  <a:lnTo>
                    <a:pt x="1127" y="1728"/>
                  </a:lnTo>
                  <a:lnTo>
                    <a:pt x="1047" y="1746"/>
                  </a:lnTo>
                  <a:lnTo>
                    <a:pt x="965" y="1758"/>
                  </a:lnTo>
                  <a:lnTo>
                    <a:pt x="881" y="1762"/>
                  </a:lnTo>
                  <a:lnTo>
                    <a:pt x="796" y="1758"/>
                  </a:lnTo>
                  <a:lnTo>
                    <a:pt x="713" y="1746"/>
                  </a:lnTo>
                  <a:lnTo>
                    <a:pt x="634" y="1728"/>
                  </a:lnTo>
                  <a:lnTo>
                    <a:pt x="556" y="1700"/>
                  </a:lnTo>
                  <a:lnTo>
                    <a:pt x="483" y="1667"/>
                  </a:lnTo>
                  <a:lnTo>
                    <a:pt x="414" y="1628"/>
                  </a:lnTo>
                  <a:lnTo>
                    <a:pt x="348" y="1582"/>
                  </a:lnTo>
                  <a:lnTo>
                    <a:pt x="287" y="1531"/>
                  </a:lnTo>
                  <a:lnTo>
                    <a:pt x="231" y="1475"/>
                  </a:lnTo>
                  <a:lnTo>
                    <a:pt x="180" y="1413"/>
                  </a:lnTo>
                  <a:lnTo>
                    <a:pt x="134" y="1348"/>
                  </a:lnTo>
                  <a:lnTo>
                    <a:pt x="95" y="1279"/>
                  </a:lnTo>
                  <a:lnTo>
                    <a:pt x="62" y="1205"/>
                  </a:lnTo>
                  <a:lnTo>
                    <a:pt x="36" y="1128"/>
                  </a:lnTo>
                  <a:lnTo>
                    <a:pt x="16" y="1048"/>
                  </a:lnTo>
                  <a:lnTo>
                    <a:pt x="4" y="966"/>
                  </a:lnTo>
                  <a:lnTo>
                    <a:pt x="0" y="881"/>
                  </a:lnTo>
                  <a:lnTo>
                    <a:pt x="4" y="797"/>
                  </a:lnTo>
                  <a:lnTo>
                    <a:pt x="16" y="714"/>
                  </a:lnTo>
                  <a:lnTo>
                    <a:pt x="36" y="635"/>
                  </a:lnTo>
                  <a:lnTo>
                    <a:pt x="62" y="557"/>
                  </a:lnTo>
                  <a:lnTo>
                    <a:pt x="95" y="484"/>
                  </a:lnTo>
                  <a:lnTo>
                    <a:pt x="134" y="415"/>
                  </a:lnTo>
                  <a:lnTo>
                    <a:pt x="180" y="348"/>
                  </a:lnTo>
                  <a:lnTo>
                    <a:pt x="231" y="288"/>
                  </a:lnTo>
                  <a:lnTo>
                    <a:pt x="287" y="231"/>
                  </a:lnTo>
                  <a:lnTo>
                    <a:pt x="348" y="180"/>
                  </a:lnTo>
                  <a:lnTo>
                    <a:pt x="414" y="134"/>
                  </a:lnTo>
                  <a:lnTo>
                    <a:pt x="483" y="95"/>
                  </a:lnTo>
                  <a:lnTo>
                    <a:pt x="556" y="61"/>
                  </a:lnTo>
                  <a:lnTo>
                    <a:pt x="634" y="35"/>
                  </a:lnTo>
                  <a:lnTo>
                    <a:pt x="713" y="17"/>
                  </a:lnTo>
                  <a:lnTo>
                    <a:pt x="796" y="4"/>
                  </a:lnTo>
                  <a:lnTo>
                    <a:pt x="881" y="0"/>
                  </a:lnTo>
                  <a:close/>
                </a:path>
              </a:pathLst>
            </a:custGeom>
            <a:solidFill>
              <a:sysClr val="window" lastClr="FFFFFF"/>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grpSp>
          <p:nvGrpSpPr>
            <p:cNvPr id="17" name="Group 16">
              <a:extLst>
                <a:ext uri="{FF2B5EF4-FFF2-40B4-BE49-F238E27FC236}">
                  <a16:creationId xmlns:a16="http://schemas.microsoft.com/office/drawing/2014/main" id="{BC7CA212-3346-E538-9DB2-3173CBECB939}"/>
                </a:ext>
              </a:extLst>
            </p:cNvPr>
            <p:cNvGrpSpPr/>
            <p:nvPr/>
          </p:nvGrpSpPr>
          <p:grpSpPr>
            <a:xfrm>
              <a:off x="4447068" y="1050074"/>
              <a:ext cx="3405836" cy="1979286"/>
              <a:chOff x="4493292" y="1232450"/>
              <a:chExt cx="3405836" cy="1979286"/>
            </a:xfrm>
          </p:grpSpPr>
          <p:sp>
            <p:nvSpPr>
              <p:cNvPr id="60" name="TextBox 59">
                <a:extLst>
                  <a:ext uri="{FF2B5EF4-FFF2-40B4-BE49-F238E27FC236}">
                    <a16:creationId xmlns:a16="http://schemas.microsoft.com/office/drawing/2014/main" id="{9AE423BD-DD47-7ECE-F732-0535C806D65E}"/>
                  </a:ext>
                </a:extLst>
              </p:cNvPr>
              <p:cNvSpPr txBox="1"/>
              <p:nvPr/>
            </p:nvSpPr>
            <p:spPr>
              <a:xfrm>
                <a:off x="4493292" y="1232450"/>
                <a:ext cx="3405836" cy="600164"/>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Network Design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amp;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 Optimization</a:t>
                </a:r>
                <a:endParaRPr kumimoji="0" lang="en-IN"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endParaRPr>
              </a:p>
            </p:txBody>
          </p:sp>
          <p:grpSp>
            <p:nvGrpSpPr>
              <p:cNvPr id="61" name="Group 60">
                <a:extLst>
                  <a:ext uri="{FF2B5EF4-FFF2-40B4-BE49-F238E27FC236}">
                    <a16:creationId xmlns:a16="http://schemas.microsoft.com/office/drawing/2014/main" id="{831BC5AB-7200-A85E-09D0-458A868CD0E0}"/>
                  </a:ext>
                </a:extLst>
              </p:cNvPr>
              <p:cNvGrpSpPr/>
              <p:nvPr/>
            </p:nvGrpSpPr>
            <p:grpSpPr>
              <a:xfrm>
                <a:off x="5632758" y="2112533"/>
                <a:ext cx="1126906" cy="1099203"/>
                <a:chOff x="4100370" y="1920374"/>
                <a:chExt cx="1083597" cy="1083596"/>
              </a:xfrm>
            </p:grpSpPr>
            <p:sp>
              <p:nvSpPr>
                <p:cNvPr id="62" name="Freeform 14">
                  <a:extLst>
                    <a:ext uri="{FF2B5EF4-FFF2-40B4-BE49-F238E27FC236}">
                      <a16:creationId xmlns:a16="http://schemas.microsoft.com/office/drawing/2014/main" id="{104E3EFF-BAA0-5D6F-08F5-B28AA17A0E7E}"/>
                    </a:ext>
                  </a:extLst>
                </p:cNvPr>
                <p:cNvSpPr>
                  <a:spLocks/>
                </p:cNvSpPr>
                <p:nvPr/>
              </p:nvSpPr>
              <p:spPr bwMode="auto">
                <a:xfrm>
                  <a:off x="4100370" y="1920374"/>
                  <a:ext cx="1083597" cy="1083596"/>
                </a:xfrm>
                <a:custGeom>
                  <a:avLst/>
                  <a:gdLst>
                    <a:gd name="T0" fmla="*/ 478 w 954"/>
                    <a:gd name="T1" fmla="*/ 0 h 954"/>
                    <a:gd name="T2" fmla="*/ 537 w 954"/>
                    <a:gd name="T3" fmla="*/ 3 h 954"/>
                    <a:gd name="T4" fmla="*/ 596 w 954"/>
                    <a:gd name="T5" fmla="*/ 14 h 954"/>
                    <a:gd name="T6" fmla="*/ 651 w 954"/>
                    <a:gd name="T7" fmla="*/ 31 h 954"/>
                    <a:gd name="T8" fmla="*/ 702 w 954"/>
                    <a:gd name="T9" fmla="*/ 55 h 954"/>
                    <a:gd name="T10" fmla="*/ 750 w 954"/>
                    <a:gd name="T11" fmla="*/ 85 h 954"/>
                    <a:gd name="T12" fmla="*/ 795 w 954"/>
                    <a:gd name="T13" fmla="*/ 120 h 954"/>
                    <a:gd name="T14" fmla="*/ 834 w 954"/>
                    <a:gd name="T15" fmla="*/ 159 h 954"/>
                    <a:gd name="T16" fmla="*/ 869 w 954"/>
                    <a:gd name="T17" fmla="*/ 204 h 954"/>
                    <a:gd name="T18" fmla="*/ 899 w 954"/>
                    <a:gd name="T19" fmla="*/ 252 h 954"/>
                    <a:gd name="T20" fmla="*/ 923 w 954"/>
                    <a:gd name="T21" fmla="*/ 305 h 954"/>
                    <a:gd name="T22" fmla="*/ 940 w 954"/>
                    <a:gd name="T23" fmla="*/ 360 h 954"/>
                    <a:gd name="T24" fmla="*/ 952 w 954"/>
                    <a:gd name="T25" fmla="*/ 417 h 954"/>
                    <a:gd name="T26" fmla="*/ 954 w 954"/>
                    <a:gd name="T27" fmla="*/ 476 h 954"/>
                    <a:gd name="T28" fmla="*/ 952 w 954"/>
                    <a:gd name="T29" fmla="*/ 536 h 954"/>
                    <a:gd name="T30" fmla="*/ 940 w 954"/>
                    <a:gd name="T31" fmla="*/ 594 h 954"/>
                    <a:gd name="T32" fmla="*/ 923 w 954"/>
                    <a:gd name="T33" fmla="*/ 649 h 954"/>
                    <a:gd name="T34" fmla="*/ 899 w 954"/>
                    <a:gd name="T35" fmla="*/ 701 h 954"/>
                    <a:gd name="T36" fmla="*/ 869 w 954"/>
                    <a:gd name="T37" fmla="*/ 750 h 954"/>
                    <a:gd name="T38" fmla="*/ 834 w 954"/>
                    <a:gd name="T39" fmla="*/ 794 h 954"/>
                    <a:gd name="T40" fmla="*/ 795 w 954"/>
                    <a:gd name="T41" fmla="*/ 833 h 954"/>
                    <a:gd name="T42" fmla="*/ 750 w 954"/>
                    <a:gd name="T43" fmla="*/ 869 h 954"/>
                    <a:gd name="T44" fmla="*/ 702 w 954"/>
                    <a:gd name="T45" fmla="*/ 898 h 954"/>
                    <a:gd name="T46" fmla="*/ 651 w 954"/>
                    <a:gd name="T47" fmla="*/ 922 h 954"/>
                    <a:gd name="T48" fmla="*/ 596 w 954"/>
                    <a:gd name="T49" fmla="*/ 939 h 954"/>
                    <a:gd name="T50" fmla="*/ 537 w 954"/>
                    <a:gd name="T51" fmla="*/ 950 h 954"/>
                    <a:gd name="T52" fmla="*/ 478 w 954"/>
                    <a:gd name="T53" fmla="*/ 954 h 954"/>
                    <a:gd name="T54" fmla="*/ 418 w 954"/>
                    <a:gd name="T55" fmla="*/ 950 h 954"/>
                    <a:gd name="T56" fmla="*/ 360 w 954"/>
                    <a:gd name="T57" fmla="*/ 939 h 954"/>
                    <a:gd name="T58" fmla="*/ 305 w 954"/>
                    <a:gd name="T59" fmla="*/ 922 h 954"/>
                    <a:gd name="T60" fmla="*/ 253 w 954"/>
                    <a:gd name="T61" fmla="*/ 898 h 954"/>
                    <a:gd name="T62" fmla="*/ 204 w 954"/>
                    <a:gd name="T63" fmla="*/ 869 h 954"/>
                    <a:gd name="T64" fmla="*/ 161 w 954"/>
                    <a:gd name="T65" fmla="*/ 833 h 954"/>
                    <a:gd name="T66" fmla="*/ 121 w 954"/>
                    <a:gd name="T67" fmla="*/ 794 h 954"/>
                    <a:gd name="T68" fmla="*/ 85 w 954"/>
                    <a:gd name="T69" fmla="*/ 750 h 954"/>
                    <a:gd name="T70" fmla="*/ 57 w 954"/>
                    <a:gd name="T71" fmla="*/ 701 h 954"/>
                    <a:gd name="T72" fmla="*/ 33 w 954"/>
                    <a:gd name="T73" fmla="*/ 649 h 954"/>
                    <a:gd name="T74" fmla="*/ 15 w 954"/>
                    <a:gd name="T75" fmla="*/ 594 h 954"/>
                    <a:gd name="T76" fmla="*/ 4 w 954"/>
                    <a:gd name="T77" fmla="*/ 536 h 954"/>
                    <a:gd name="T78" fmla="*/ 0 w 954"/>
                    <a:gd name="T79" fmla="*/ 476 h 954"/>
                    <a:gd name="T80" fmla="*/ 4 w 954"/>
                    <a:gd name="T81" fmla="*/ 417 h 954"/>
                    <a:gd name="T82" fmla="*/ 15 w 954"/>
                    <a:gd name="T83" fmla="*/ 360 h 954"/>
                    <a:gd name="T84" fmla="*/ 33 w 954"/>
                    <a:gd name="T85" fmla="*/ 305 h 954"/>
                    <a:gd name="T86" fmla="*/ 57 w 954"/>
                    <a:gd name="T87" fmla="*/ 252 h 954"/>
                    <a:gd name="T88" fmla="*/ 85 w 954"/>
                    <a:gd name="T89" fmla="*/ 204 h 954"/>
                    <a:gd name="T90" fmla="*/ 121 w 954"/>
                    <a:gd name="T91" fmla="*/ 159 h 954"/>
                    <a:gd name="T92" fmla="*/ 161 w 954"/>
                    <a:gd name="T93" fmla="*/ 120 h 954"/>
                    <a:gd name="T94" fmla="*/ 204 w 954"/>
                    <a:gd name="T95" fmla="*/ 85 h 954"/>
                    <a:gd name="T96" fmla="*/ 253 w 954"/>
                    <a:gd name="T97" fmla="*/ 55 h 954"/>
                    <a:gd name="T98" fmla="*/ 305 w 954"/>
                    <a:gd name="T99" fmla="*/ 31 h 954"/>
                    <a:gd name="T100" fmla="*/ 360 w 954"/>
                    <a:gd name="T101" fmla="*/ 14 h 954"/>
                    <a:gd name="T102" fmla="*/ 418 w 954"/>
                    <a:gd name="T103" fmla="*/ 3 h 954"/>
                    <a:gd name="T104" fmla="*/ 478 w 954"/>
                    <a:gd name="T105" fmla="*/ 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4" h="954">
                      <a:moveTo>
                        <a:pt x="478" y="0"/>
                      </a:moveTo>
                      <a:lnTo>
                        <a:pt x="537" y="3"/>
                      </a:lnTo>
                      <a:lnTo>
                        <a:pt x="596" y="14"/>
                      </a:lnTo>
                      <a:lnTo>
                        <a:pt x="651" y="31"/>
                      </a:lnTo>
                      <a:lnTo>
                        <a:pt x="702" y="55"/>
                      </a:lnTo>
                      <a:lnTo>
                        <a:pt x="750" y="85"/>
                      </a:lnTo>
                      <a:lnTo>
                        <a:pt x="795" y="120"/>
                      </a:lnTo>
                      <a:lnTo>
                        <a:pt x="834" y="159"/>
                      </a:lnTo>
                      <a:lnTo>
                        <a:pt x="869" y="204"/>
                      </a:lnTo>
                      <a:lnTo>
                        <a:pt x="899" y="252"/>
                      </a:lnTo>
                      <a:lnTo>
                        <a:pt x="923" y="305"/>
                      </a:lnTo>
                      <a:lnTo>
                        <a:pt x="940" y="360"/>
                      </a:lnTo>
                      <a:lnTo>
                        <a:pt x="952" y="417"/>
                      </a:lnTo>
                      <a:lnTo>
                        <a:pt x="954" y="476"/>
                      </a:lnTo>
                      <a:lnTo>
                        <a:pt x="952" y="536"/>
                      </a:lnTo>
                      <a:lnTo>
                        <a:pt x="940" y="594"/>
                      </a:lnTo>
                      <a:lnTo>
                        <a:pt x="923" y="649"/>
                      </a:lnTo>
                      <a:lnTo>
                        <a:pt x="899" y="701"/>
                      </a:lnTo>
                      <a:lnTo>
                        <a:pt x="869" y="750"/>
                      </a:lnTo>
                      <a:lnTo>
                        <a:pt x="834" y="794"/>
                      </a:lnTo>
                      <a:lnTo>
                        <a:pt x="795" y="833"/>
                      </a:lnTo>
                      <a:lnTo>
                        <a:pt x="750" y="869"/>
                      </a:lnTo>
                      <a:lnTo>
                        <a:pt x="702" y="898"/>
                      </a:lnTo>
                      <a:lnTo>
                        <a:pt x="651" y="922"/>
                      </a:lnTo>
                      <a:lnTo>
                        <a:pt x="596" y="939"/>
                      </a:lnTo>
                      <a:lnTo>
                        <a:pt x="537" y="950"/>
                      </a:lnTo>
                      <a:lnTo>
                        <a:pt x="478" y="954"/>
                      </a:lnTo>
                      <a:lnTo>
                        <a:pt x="418" y="950"/>
                      </a:lnTo>
                      <a:lnTo>
                        <a:pt x="360" y="939"/>
                      </a:lnTo>
                      <a:lnTo>
                        <a:pt x="305" y="922"/>
                      </a:lnTo>
                      <a:lnTo>
                        <a:pt x="253" y="898"/>
                      </a:lnTo>
                      <a:lnTo>
                        <a:pt x="204" y="869"/>
                      </a:lnTo>
                      <a:lnTo>
                        <a:pt x="161" y="833"/>
                      </a:lnTo>
                      <a:lnTo>
                        <a:pt x="121" y="794"/>
                      </a:lnTo>
                      <a:lnTo>
                        <a:pt x="85" y="750"/>
                      </a:lnTo>
                      <a:lnTo>
                        <a:pt x="57" y="701"/>
                      </a:lnTo>
                      <a:lnTo>
                        <a:pt x="33" y="649"/>
                      </a:lnTo>
                      <a:lnTo>
                        <a:pt x="15" y="594"/>
                      </a:lnTo>
                      <a:lnTo>
                        <a:pt x="4" y="536"/>
                      </a:lnTo>
                      <a:lnTo>
                        <a:pt x="0" y="476"/>
                      </a:lnTo>
                      <a:lnTo>
                        <a:pt x="4" y="417"/>
                      </a:lnTo>
                      <a:lnTo>
                        <a:pt x="15" y="360"/>
                      </a:lnTo>
                      <a:lnTo>
                        <a:pt x="33" y="305"/>
                      </a:lnTo>
                      <a:lnTo>
                        <a:pt x="57" y="252"/>
                      </a:lnTo>
                      <a:lnTo>
                        <a:pt x="85" y="204"/>
                      </a:lnTo>
                      <a:lnTo>
                        <a:pt x="121" y="159"/>
                      </a:lnTo>
                      <a:lnTo>
                        <a:pt x="161" y="120"/>
                      </a:lnTo>
                      <a:lnTo>
                        <a:pt x="204" y="85"/>
                      </a:lnTo>
                      <a:lnTo>
                        <a:pt x="253" y="55"/>
                      </a:lnTo>
                      <a:lnTo>
                        <a:pt x="305" y="31"/>
                      </a:lnTo>
                      <a:lnTo>
                        <a:pt x="360" y="14"/>
                      </a:lnTo>
                      <a:lnTo>
                        <a:pt x="418" y="3"/>
                      </a:lnTo>
                      <a:lnTo>
                        <a:pt x="478" y="0"/>
                      </a:lnTo>
                      <a:close/>
                    </a:path>
                  </a:pathLst>
                </a:custGeom>
                <a:solidFill>
                  <a:schemeClr val="tx2">
                    <a:lumMod val="75000"/>
                  </a:schemeClr>
                </a:solid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grpSp>
              <p:nvGrpSpPr>
                <p:cNvPr id="63" name="Group 62">
                  <a:extLst>
                    <a:ext uri="{FF2B5EF4-FFF2-40B4-BE49-F238E27FC236}">
                      <a16:creationId xmlns:a16="http://schemas.microsoft.com/office/drawing/2014/main" id="{1270EC10-C0DE-5316-A197-91509C1853E4}"/>
                    </a:ext>
                  </a:extLst>
                </p:cNvPr>
                <p:cNvGrpSpPr/>
                <p:nvPr/>
              </p:nvGrpSpPr>
              <p:grpSpPr>
                <a:xfrm>
                  <a:off x="4397306" y="2120940"/>
                  <a:ext cx="524579" cy="524260"/>
                  <a:chOff x="10374633" y="1122363"/>
                  <a:chExt cx="5206968" cy="5203825"/>
                </a:xfrm>
                <a:solidFill>
                  <a:schemeClr val="bg1"/>
                </a:solidFill>
              </p:grpSpPr>
              <p:sp>
                <p:nvSpPr>
                  <p:cNvPr id="1024" name="Freeform 30">
                    <a:extLst>
                      <a:ext uri="{FF2B5EF4-FFF2-40B4-BE49-F238E27FC236}">
                        <a16:creationId xmlns:a16="http://schemas.microsoft.com/office/drawing/2014/main" id="{C8EB2ECB-3296-63F4-CB09-F9314CCD796F}"/>
                      </a:ext>
                    </a:extLst>
                  </p:cNvPr>
                  <p:cNvSpPr>
                    <a:spLocks noEditPoints="1"/>
                  </p:cNvSpPr>
                  <p:nvPr/>
                </p:nvSpPr>
                <p:spPr bwMode="auto">
                  <a:xfrm>
                    <a:off x="13074944" y="1122363"/>
                    <a:ext cx="2506657" cy="5203825"/>
                  </a:xfrm>
                  <a:custGeom>
                    <a:avLst/>
                    <a:gdLst>
                      <a:gd name="T0" fmla="*/ 409 w 3157"/>
                      <a:gd name="T1" fmla="*/ 2551 h 6556"/>
                      <a:gd name="T2" fmla="*/ 1252 w 3157"/>
                      <a:gd name="T3" fmla="*/ 2799 h 6556"/>
                      <a:gd name="T4" fmla="*/ 624 w 3157"/>
                      <a:gd name="T5" fmla="*/ 2783 h 6556"/>
                      <a:gd name="T6" fmla="*/ 243 w 3157"/>
                      <a:gd name="T7" fmla="*/ 3295 h 6556"/>
                      <a:gd name="T8" fmla="*/ 823 w 3157"/>
                      <a:gd name="T9" fmla="*/ 4808 h 6556"/>
                      <a:gd name="T10" fmla="*/ 554 w 3157"/>
                      <a:gd name="T11" fmla="*/ 5017 h 6556"/>
                      <a:gd name="T12" fmla="*/ 480 w 3157"/>
                      <a:gd name="T13" fmla="*/ 6269 h 6556"/>
                      <a:gd name="T14" fmla="*/ 1117 w 3157"/>
                      <a:gd name="T15" fmla="*/ 5992 h 6556"/>
                      <a:gd name="T16" fmla="*/ 933 w 3157"/>
                      <a:gd name="T17" fmla="*/ 5619 h 6556"/>
                      <a:gd name="T18" fmla="*/ 756 w 3157"/>
                      <a:gd name="T19" fmla="*/ 5276 h 6556"/>
                      <a:gd name="T20" fmla="*/ 1063 w 3157"/>
                      <a:gd name="T21" fmla="*/ 5135 h 6556"/>
                      <a:gd name="T22" fmla="*/ 1334 w 3157"/>
                      <a:gd name="T23" fmla="*/ 5211 h 6556"/>
                      <a:gd name="T24" fmla="*/ 1549 w 3157"/>
                      <a:gd name="T25" fmla="*/ 6044 h 6556"/>
                      <a:gd name="T26" fmla="*/ 1984 w 3157"/>
                      <a:gd name="T27" fmla="*/ 5524 h 6556"/>
                      <a:gd name="T28" fmla="*/ 1813 w 3157"/>
                      <a:gd name="T29" fmla="*/ 5043 h 6556"/>
                      <a:gd name="T30" fmla="*/ 2166 w 3157"/>
                      <a:gd name="T31" fmla="*/ 5205 h 6556"/>
                      <a:gd name="T32" fmla="*/ 2591 w 3157"/>
                      <a:gd name="T33" fmla="*/ 4543 h 6556"/>
                      <a:gd name="T34" fmla="*/ 2136 w 3157"/>
                      <a:gd name="T35" fmla="*/ 4074 h 6556"/>
                      <a:gd name="T36" fmla="*/ 1230 w 3157"/>
                      <a:gd name="T37" fmla="*/ 4642 h 6556"/>
                      <a:gd name="T38" fmla="*/ 664 w 3157"/>
                      <a:gd name="T39" fmla="*/ 3616 h 6556"/>
                      <a:gd name="T40" fmla="*/ 666 w 3157"/>
                      <a:gd name="T41" fmla="*/ 3259 h 6556"/>
                      <a:gd name="T42" fmla="*/ 1164 w 3157"/>
                      <a:gd name="T43" fmla="*/ 3163 h 6556"/>
                      <a:gd name="T44" fmla="*/ 1408 w 3157"/>
                      <a:gd name="T45" fmla="*/ 3239 h 6556"/>
                      <a:gd name="T46" fmla="*/ 881 w 3157"/>
                      <a:gd name="T47" fmla="*/ 3909 h 6556"/>
                      <a:gd name="T48" fmla="*/ 1639 w 3157"/>
                      <a:gd name="T49" fmla="*/ 4282 h 6556"/>
                      <a:gd name="T50" fmla="*/ 1573 w 3157"/>
                      <a:gd name="T51" fmla="*/ 3492 h 6556"/>
                      <a:gd name="T52" fmla="*/ 2136 w 3157"/>
                      <a:gd name="T53" fmla="*/ 3831 h 6556"/>
                      <a:gd name="T54" fmla="*/ 2908 w 3157"/>
                      <a:gd name="T55" fmla="*/ 3785 h 6556"/>
                      <a:gd name="T56" fmla="*/ 2599 w 3157"/>
                      <a:gd name="T57" fmla="*/ 3201 h 6556"/>
                      <a:gd name="T58" fmla="*/ 2154 w 3157"/>
                      <a:gd name="T59" fmla="*/ 3433 h 6556"/>
                      <a:gd name="T60" fmla="*/ 2142 w 3157"/>
                      <a:gd name="T61" fmla="*/ 2779 h 6556"/>
                      <a:gd name="T62" fmla="*/ 2461 w 3157"/>
                      <a:gd name="T63" fmla="*/ 2707 h 6556"/>
                      <a:gd name="T64" fmla="*/ 2834 w 3157"/>
                      <a:gd name="T65" fmla="*/ 2480 h 6556"/>
                      <a:gd name="T66" fmla="*/ 2331 w 3157"/>
                      <a:gd name="T67" fmla="*/ 2091 h 6556"/>
                      <a:gd name="T68" fmla="*/ 1839 w 3157"/>
                      <a:gd name="T69" fmla="*/ 2709 h 6556"/>
                      <a:gd name="T70" fmla="*/ 1635 w 3157"/>
                      <a:gd name="T71" fmla="*/ 2575 h 6556"/>
                      <a:gd name="T72" fmla="*/ 1121 w 3157"/>
                      <a:gd name="T73" fmla="*/ 2215 h 6556"/>
                      <a:gd name="T74" fmla="*/ 1077 w 3157"/>
                      <a:gd name="T75" fmla="*/ 1959 h 6556"/>
                      <a:gd name="T76" fmla="*/ 2339 w 3157"/>
                      <a:gd name="T77" fmla="*/ 1848 h 6556"/>
                      <a:gd name="T78" fmla="*/ 2190 w 3157"/>
                      <a:gd name="T79" fmla="*/ 1465 h 6556"/>
                      <a:gd name="T80" fmla="*/ 1849 w 3157"/>
                      <a:gd name="T81" fmla="*/ 1547 h 6556"/>
                      <a:gd name="T82" fmla="*/ 1944 w 3157"/>
                      <a:gd name="T83" fmla="*/ 985 h 6556"/>
                      <a:gd name="T84" fmla="*/ 1316 w 3157"/>
                      <a:gd name="T85" fmla="*/ 1401 h 6556"/>
                      <a:gd name="T86" fmla="*/ 468 w 3157"/>
                      <a:gd name="T87" fmla="*/ 1637 h 6556"/>
                      <a:gd name="T88" fmla="*/ 803 w 3157"/>
                      <a:gd name="T89" fmla="*/ 1351 h 6556"/>
                      <a:gd name="T90" fmla="*/ 758 w 3157"/>
                      <a:gd name="T91" fmla="*/ 981 h 6556"/>
                      <a:gd name="T92" fmla="*/ 1374 w 3157"/>
                      <a:gd name="T93" fmla="*/ 915 h 6556"/>
                      <a:gd name="T94" fmla="*/ 969 w 3157"/>
                      <a:gd name="T95" fmla="*/ 405 h 6556"/>
                      <a:gd name="T96" fmla="*/ 504 w 3157"/>
                      <a:gd name="T97" fmla="*/ 791 h 6556"/>
                      <a:gd name="T98" fmla="*/ 584 w 3157"/>
                      <a:gd name="T99" fmla="*/ 259 h 6556"/>
                      <a:gd name="T100" fmla="*/ 1352 w 3157"/>
                      <a:gd name="T101" fmla="*/ 233 h 6556"/>
                      <a:gd name="T102" fmla="*/ 2232 w 3157"/>
                      <a:gd name="T103" fmla="*/ 1142 h 6556"/>
                      <a:gd name="T104" fmla="*/ 2904 w 3157"/>
                      <a:gd name="T105" fmla="*/ 2167 h 6556"/>
                      <a:gd name="T106" fmla="*/ 3151 w 3157"/>
                      <a:gd name="T107" fmla="*/ 3614 h 6556"/>
                      <a:gd name="T108" fmla="*/ 2856 w 3157"/>
                      <a:gd name="T109" fmla="*/ 4967 h 6556"/>
                      <a:gd name="T110" fmla="*/ 2028 w 3157"/>
                      <a:gd name="T111" fmla="*/ 6090 h 6556"/>
                      <a:gd name="T112" fmla="*/ 919 w 3157"/>
                      <a:gd name="T113" fmla="*/ 6514 h 6556"/>
                      <a:gd name="T114" fmla="*/ 0 w 3157"/>
                      <a:gd name="T115" fmla="*/ 5065 h 6556"/>
                      <a:gd name="T116" fmla="*/ 187 w 3157"/>
                      <a:gd name="T117" fmla="*/ 2799 h 6556"/>
                      <a:gd name="T118" fmla="*/ 223 w 3157"/>
                      <a:gd name="T119" fmla="*/ 78 h 6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57" h="6556">
                        <a:moveTo>
                          <a:pt x="488" y="239"/>
                        </a:moveTo>
                        <a:lnTo>
                          <a:pt x="438" y="243"/>
                        </a:lnTo>
                        <a:lnTo>
                          <a:pt x="393" y="257"/>
                        </a:lnTo>
                        <a:lnTo>
                          <a:pt x="351" y="281"/>
                        </a:lnTo>
                        <a:lnTo>
                          <a:pt x="315" y="309"/>
                        </a:lnTo>
                        <a:lnTo>
                          <a:pt x="285" y="345"/>
                        </a:lnTo>
                        <a:lnTo>
                          <a:pt x="263" y="387"/>
                        </a:lnTo>
                        <a:lnTo>
                          <a:pt x="247" y="431"/>
                        </a:lnTo>
                        <a:lnTo>
                          <a:pt x="243" y="480"/>
                        </a:lnTo>
                        <a:lnTo>
                          <a:pt x="243" y="2195"/>
                        </a:lnTo>
                        <a:lnTo>
                          <a:pt x="247" y="2262"/>
                        </a:lnTo>
                        <a:lnTo>
                          <a:pt x="263" y="2328"/>
                        </a:lnTo>
                        <a:lnTo>
                          <a:pt x="287" y="2392"/>
                        </a:lnTo>
                        <a:lnTo>
                          <a:pt x="319" y="2450"/>
                        </a:lnTo>
                        <a:lnTo>
                          <a:pt x="361" y="2504"/>
                        </a:lnTo>
                        <a:lnTo>
                          <a:pt x="409" y="2551"/>
                        </a:lnTo>
                        <a:lnTo>
                          <a:pt x="462" y="2593"/>
                        </a:lnTo>
                        <a:lnTo>
                          <a:pt x="512" y="2571"/>
                        </a:lnTo>
                        <a:lnTo>
                          <a:pt x="566" y="2551"/>
                        </a:lnTo>
                        <a:lnTo>
                          <a:pt x="628" y="2536"/>
                        </a:lnTo>
                        <a:lnTo>
                          <a:pt x="692" y="2526"/>
                        </a:lnTo>
                        <a:lnTo>
                          <a:pt x="760" y="2520"/>
                        </a:lnTo>
                        <a:lnTo>
                          <a:pt x="831" y="2524"/>
                        </a:lnTo>
                        <a:lnTo>
                          <a:pt x="905" y="2534"/>
                        </a:lnTo>
                        <a:lnTo>
                          <a:pt x="981" y="2555"/>
                        </a:lnTo>
                        <a:lnTo>
                          <a:pt x="1059" y="2587"/>
                        </a:lnTo>
                        <a:lnTo>
                          <a:pt x="1135" y="2629"/>
                        </a:lnTo>
                        <a:lnTo>
                          <a:pt x="1212" y="2687"/>
                        </a:lnTo>
                        <a:lnTo>
                          <a:pt x="1232" y="2711"/>
                        </a:lnTo>
                        <a:lnTo>
                          <a:pt x="1248" y="2739"/>
                        </a:lnTo>
                        <a:lnTo>
                          <a:pt x="1254" y="2769"/>
                        </a:lnTo>
                        <a:lnTo>
                          <a:pt x="1252" y="2799"/>
                        </a:lnTo>
                        <a:lnTo>
                          <a:pt x="1242" y="2829"/>
                        </a:lnTo>
                        <a:lnTo>
                          <a:pt x="1224" y="2854"/>
                        </a:lnTo>
                        <a:lnTo>
                          <a:pt x="1198" y="2878"/>
                        </a:lnTo>
                        <a:lnTo>
                          <a:pt x="1166" y="2892"/>
                        </a:lnTo>
                        <a:lnTo>
                          <a:pt x="1133" y="2896"/>
                        </a:lnTo>
                        <a:lnTo>
                          <a:pt x="1105" y="2894"/>
                        </a:lnTo>
                        <a:lnTo>
                          <a:pt x="1079" y="2884"/>
                        </a:lnTo>
                        <a:lnTo>
                          <a:pt x="1055" y="2868"/>
                        </a:lnTo>
                        <a:lnTo>
                          <a:pt x="991" y="2823"/>
                        </a:lnTo>
                        <a:lnTo>
                          <a:pt x="929" y="2791"/>
                        </a:lnTo>
                        <a:lnTo>
                          <a:pt x="869" y="2771"/>
                        </a:lnTo>
                        <a:lnTo>
                          <a:pt x="813" y="2759"/>
                        </a:lnTo>
                        <a:lnTo>
                          <a:pt x="760" y="2757"/>
                        </a:lnTo>
                        <a:lnTo>
                          <a:pt x="710" y="2763"/>
                        </a:lnTo>
                        <a:lnTo>
                          <a:pt x="664" y="2771"/>
                        </a:lnTo>
                        <a:lnTo>
                          <a:pt x="624" y="2783"/>
                        </a:lnTo>
                        <a:lnTo>
                          <a:pt x="592" y="2797"/>
                        </a:lnTo>
                        <a:lnTo>
                          <a:pt x="564" y="2811"/>
                        </a:lnTo>
                        <a:lnTo>
                          <a:pt x="546" y="2821"/>
                        </a:lnTo>
                        <a:lnTo>
                          <a:pt x="534" y="2829"/>
                        </a:lnTo>
                        <a:lnTo>
                          <a:pt x="532" y="2829"/>
                        </a:lnTo>
                        <a:lnTo>
                          <a:pt x="530" y="2831"/>
                        </a:lnTo>
                        <a:lnTo>
                          <a:pt x="526" y="2833"/>
                        </a:lnTo>
                        <a:lnTo>
                          <a:pt x="522" y="2836"/>
                        </a:lnTo>
                        <a:lnTo>
                          <a:pt x="460" y="2874"/>
                        </a:lnTo>
                        <a:lnTo>
                          <a:pt x="407" y="2918"/>
                        </a:lnTo>
                        <a:lnTo>
                          <a:pt x="359" y="2970"/>
                        </a:lnTo>
                        <a:lnTo>
                          <a:pt x="319" y="3028"/>
                        </a:lnTo>
                        <a:lnTo>
                          <a:pt x="285" y="3090"/>
                        </a:lnTo>
                        <a:lnTo>
                          <a:pt x="263" y="3155"/>
                        </a:lnTo>
                        <a:lnTo>
                          <a:pt x="247" y="3223"/>
                        </a:lnTo>
                        <a:lnTo>
                          <a:pt x="243" y="3295"/>
                        </a:lnTo>
                        <a:lnTo>
                          <a:pt x="243" y="4351"/>
                        </a:lnTo>
                        <a:lnTo>
                          <a:pt x="249" y="4427"/>
                        </a:lnTo>
                        <a:lnTo>
                          <a:pt x="267" y="4503"/>
                        </a:lnTo>
                        <a:lnTo>
                          <a:pt x="295" y="4575"/>
                        </a:lnTo>
                        <a:lnTo>
                          <a:pt x="333" y="4640"/>
                        </a:lnTo>
                        <a:lnTo>
                          <a:pt x="345" y="4652"/>
                        </a:lnTo>
                        <a:lnTo>
                          <a:pt x="365" y="4668"/>
                        </a:lnTo>
                        <a:lnTo>
                          <a:pt x="393" y="4690"/>
                        </a:lnTo>
                        <a:lnTo>
                          <a:pt x="428" y="4712"/>
                        </a:lnTo>
                        <a:lnTo>
                          <a:pt x="470" y="4734"/>
                        </a:lnTo>
                        <a:lnTo>
                          <a:pt x="520" y="4758"/>
                        </a:lnTo>
                        <a:lnTo>
                          <a:pt x="578" y="4778"/>
                        </a:lnTo>
                        <a:lnTo>
                          <a:pt x="644" y="4794"/>
                        </a:lnTo>
                        <a:lnTo>
                          <a:pt x="716" y="4804"/>
                        </a:lnTo>
                        <a:lnTo>
                          <a:pt x="795" y="4808"/>
                        </a:lnTo>
                        <a:lnTo>
                          <a:pt x="823" y="4808"/>
                        </a:lnTo>
                        <a:lnTo>
                          <a:pt x="827" y="4808"/>
                        </a:lnTo>
                        <a:lnTo>
                          <a:pt x="863" y="4814"/>
                        </a:lnTo>
                        <a:lnTo>
                          <a:pt x="897" y="4830"/>
                        </a:lnTo>
                        <a:lnTo>
                          <a:pt x="923" y="4854"/>
                        </a:lnTo>
                        <a:lnTo>
                          <a:pt x="941" y="4886"/>
                        </a:lnTo>
                        <a:lnTo>
                          <a:pt x="947" y="4924"/>
                        </a:lnTo>
                        <a:lnTo>
                          <a:pt x="945" y="4955"/>
                        </a:lnTo>
                        <a:lnTo>
                          <a:pt x="933" y="4983"/>
                        </a:lnTo>
                        <a:lnTo>
                          <a:pt x="915" y="5009"/>
                        </a:lnTo>
                        <a:lnTo>
                          <a:pt x="891" y="5027"/>
                        </a:lnTo>
                        <a:lnTo>
                          <a:pt x="863" y="5041"/>
                        </a:lnTo>
                        <a:lnTo>
                          <a:pt x="829" y="5045"/>
                        </a:lnTo>
                        <a:lnTo>
                          <a:pt x="795" y="5047"/>
                        </a:lnTo>
                        <a:lnTo>
                          <a:pt x="710" y="5043"/>
                        </a:lnTo>
                        <a:lnTo>
                          <a:pt x="628" y="5033"/>
                        </a:lnTo>
                        <a:lnTo>
                          <a:pt x="554" y="5017"/>
                        </a:lnTo>
                        <a:lnTo>
                          <a:pt x="486" y="4997"/>
                        </a:lnTo>
                        <a:lnTo>
                          <a:pt x="425" y="4975"/>
                        </a:lnTo>
                        <a:lnTo>
                          <a:pt x="369" y="4949"/>
                        </a:lnTo>
                        <a:lnTo>
                          <a:pt x="319" y="4924"/>
                        </a:lnTo>
                        <a:lnTo>
                          <a:pt x="275" y="4898"/>
                        </a:lnTo>
                        <a:lnTo>
                          <a:pt x="257" y="4951"/>
                        </a:lnTo>
                        <a:lnTo>
                          <a:pt x="247" y="5007"/>
                        </a:lnTo>
                        <a:lnTo>
                          <a:pt x="243" y="5065"/>
                        </a:lnTo>
                        <a:lnTo>
                          <a:pt x="243" y="5884"/>
                        </a:lnTo>
                        <a:lnTo>
                          <a:pt x="249" y="5956"/>
                        </a:lnTo>
                        <a:lnTo>
                          <a:pt x="265" y="6022"/>
                        </a:lnTo>
                        <a:lnTo>
                          <a:pt x="293" y="6084"/>
                        </a:lnTo>
                        <a:lnTo>
                          <a:pt x="329" y="6141"/>
                        </a:lnTo>
                        <a:lnTo>
                          <a:pt x="373" y="6191"/>
                        </a:lnTo>
                        <a:lnTo>
                          <a:pt x="423" y="6235"/>
                        </a:lnTo>
                        <a:lnTo>
                          <a:pt x="480" y="6269"/>
                        </a:lnTo>
                        <a:lnTo>
                          <a:pt x="544" y="6295"/>
                        </a:lnTo>
                        <a:lnTo>
                          <a:pt x="612" y="6313"/>
                        </a:lnTo>
                        <a:lnTo>
                          <a:pt x="684" y="6319"/>
                        </a:lnTo>
                        <a:lnTo>
                          <a:pt x="754" y="6313"/>
                        </a:lnTo>
                        <a:lnTo>
                          <a:pt x="821" y="6297"/>
                        </a:lnTo>
                        <a:lnTo>
                          <a:pt x="883" y="6271"/>
                        </a:lnTo>
                        <a:lnTo>
                          <a:pt x="941" y="6235"/>
                        </a:lnTo>
                        <a:lnTo>
                          <a:pt x="993" y="6193"/>
                        </a:lnTo>
                        <a:lnTo>
                          <a:pt x="1039" y="6141"/>
                        </a:lnTo>
                        <a:lnTo>
                          <a:pt x="1075" y="6084"/>
                        </a:lnTo>
                        <a:lnTo>
                          <a:pt x="1103" y="6020"/>
                        </a:lnTo>
                        <a:lnTo>
                          <a:pt x="1103" y="6018"/>
                        </a:lnTo>
                        <a:lnTo>
                          <a:pt x="1105" y="6014"/>
                        </a:lnTo>
                        <a:lnTo>
                          <a:pt x="1107" y="6012"/>
                        </a:lnTo>
                        <a:lnTo>
                          <a:pt x="1111" y="6002"/>
                        </a:lnTo>
                        <a:lnTo>
                          <a:pt x="1117" y="5992"/>
                        </a:lnTo>
                        <a:lnTo>
                          <a:pt x="1121" y="5984"/>
                        </a:lnTo>
                        <a:lnTo>
                          <a:pt x="1127" y="5976"/>
                        </a:lnTo>
                        <a:lnTo>
                          <a:pt x="1135" y="5962"/>
                        </a:lnTo>
                        <a:lnTo>
                          <a:pt x="1145" y="5944"/>
                        </a:lnTo>
                        <a:lnTo>
                          <a:pt x="1155" y="5920"/>
                        </a:lnTo>
                        <a:lnTo>
                          <a:pt x="1162" y="5892"/>
                        </a:lnTo>
                        <a:lnTo>
                          <a:pt x="1170" y="5860"/>
                        </a:lnTo>
                        <a:lnTo>
                          <a:pt x="1172" y="5825"/>
                        </a:lnTo>
                        <a:lnTo>
                          <a:pt x="1170" y="5783"/>
                        </a:lnTo>
                        <a:lnTo>
                          <a:pt x="1162" y="5739"/>
                        </a:lnTo>
                        <a:lnTo>
                          <a:pt x="1149" y="5691"/>
                        </a:lnTo>
                        <a:lnTo>
                          <a:pt x="1125" y="5639"/>
                        </a:lnTo>
                        <a:lnTo>
                          <a:pt x="1093" y="5585"/>
                        </a:lnTo>
                        <a:lnTo>
                          <a:pt x="1041" y="5603"/>
                        </a:lnTo>
                        <a:lnTo>
                          <a:pt x="987" y="5615"/>
                        </a:lnTo>
                        <a:lnTo>
                          <a:pt x="933" y="5619"/>
                        </a:lnTo>
                        <a:lnTo>
                          <a:pt x="871" y="5615"/>
                        </a:lnTo>
                        <a:lnTo>
                          <a:pt x="811" y="5601"/>
                        </a:lnTo>
                        <a:lnTo>
                          <a:pt x="754" y="5577"/>
                        </a:lnTo>
                        <a:lnTo>
                          <a:pt x="700" y="5545"/>
                        </a:lnTo>
                        <a:lnTo>
                          <a:pt x="652" y="5506"/>
                        </a:lnTo>
                        <a:lnTo>
                          <a:pt x="608" y="5456"/>
                        </a:lnTo>
                        <a:lnTo>
                          <a:pt x="594" y="5428"/>
                        </a:lnTo>
                        <a:lnTo>
                          <a:pt x="586" y="5398"/>
                        </a:lnTo>
                        <a:lnTo>
                          <a:pt x="586" y="5368"/>
                        </a:lnTo>
                        <a:lnTo>
                          <a:pt x="596" y="5338"/>
                        </a:lnTo>
                        <a:lnTo>
                          <a:pt x="612" y="5312"/>
                        </a:lnTo>
                        <a:lnTo>
                          <a:pt x="636" y="5290"/>
                        </a:lnTo>
                        <a:lnTo>
                          <a:pt x="664" y="5274"/>
                        </a:lnTo>
                        <a:lnTo>
                          <a:pt x="696" y="5268"/>
                        </a:lnTo>
                        <a:lnTo>
                          <a:pt x="726" y="5268"/>
                        </a:lnTo>
                        <a:lnTo>
                          <a:pt x="756" y="5276"/>
                        </a:lnTo>
                        <a:lnTo>
                          <a:pt x="784" y="5292"/>
                        </a:lnTo>
                        <a:lnTo>
                          <a:pt x="805" y="5316"/>
                        </a:lnTo>
                        <a:lnTo>
                          <a:pt x="829" y="5342"/>
                        </a:lnTo>
                        <a:lnTo>
                          <a:pt x="859" y="5362"/>
                        </a:lnTo>
                        <a:lnTo>
                          <a:pt x="891" y="5376"/>
                        </a:lnTo>
                        <a:lnTo>
                          <a:pt x="925" y="5380"/>
                        </a:lnTo>
                        <a:lnTo>
                          <a:pt x="961" y="5378"/>
                        </a:lnTo>
                        <a:lnTo>
                          <a:pt x="995" y="5368"/>
                        </a:lnTo>
                        <a:lnTo>
                          <a:pt x="1027" y="5352"/>
                        </a:lnTo>
                        <a:lnTo>
                          <a:pt x="1053" y="5326"/>
                        </a:lnTo>
                        <a:lnTo>
                          <a:pt x="1073" y="5298"/>
                        </a:lnTo>
                        <a:lnTo>
                          <a:pt x="1087" y="5266"/>
                        </a:lnTo>
                        <a:lnTo>
                          <a:pt x="1093" y="5232"/>
                        </a:lnTo>
                        <a:lnTo>
                          <a:pt x="1091" y="5199"/>
                        </a:lnTo>
                        <a:lnTo>
                          <a:pt x="1081" y="5165"/>
                        </a:lnTo>
                        <a:lnTo>
                          <a:pt x="1063" y="5135"/>
                        </a:lnTo>
                        <a:lnTo>
                          <a:pt x="1047" y="5105"/>
                        </a:lnTo>
                        <a:lnTo>
                          <a:pt x="1039" y="5075"/>
                        </a:lnTo>
                        <a:lnTo>
                          <a:pt x="1041" y="5045"/>
                        </a:lnTo>
                        <a:lnTo>
                          <a:pt x="1049" y="5015"/>
                        </a:lnTo>
                        <a:lnTo>
                          <a:pt x="1067" y="4989"/>
                        </a:lnTo>
                        <a:lnTo>
                          <a:pt x="1089" y="4967"/>
                        </a:lnTo>
                        <a:lnTo>
                          <a:pt x="1119" y="4951"/>
                        </a:lnTo>
                        <a:lnTo>
                          <a:pt x="1149" y="4945"/>
                        </a:lnTo>
                        <a:lnTo>
                          <a:pt x="1180" y="4945"/>
                        </a:lnTo>
                        <a:lnTo>
                          <a:pt x="1210" y="4955"/>
                        </a:lnTo>
                        <a:lnTo>
                          <a:pt x="1236" y="4971"/>
                        </a:lnTo>
                        <a:lnTo>
                          <a:pt x="1258" y="4993"/>
                        </a:lnTo>
                        <a:lnTo>
                          <a:pt x="1290" y="5045"/>
                        </a:lnTo>
                        <a:lnTo>
                          <a:pt x="1314" y="5099"/>
                        </a:lnTo>
                        <a:lnTo>
                          <a:pt x="1328" y="5155"/>
                        </a:lnTo>
                        <a:lnTo>
                          <a:pt x="1334" y="5211"/>
                        </a:lnTo>
                        <a:lnTo>
                          <a:pt x="1332" y="5268"/>
                        </a:lnTo>
                        <a:lnTo>
                          <a:pt x="1322" y="5324"/>
                        </a:lnTo>
                        <a:lnTo>
                          <a:pt x="1304" y="5378"/>
                        </a:lnTo>
                        <a:lnTo>
                          <a:pt x="1276" y="5428"/>
                        </a:lnTo>
                        <a:lnTo>
                          <a:pt x="1326" y="5504"/>
                        </a:lnTo>
                        <a:lnTo>
                          <a:pt x="1364" y="5577"/>
                        </a:lnTo>
                        <a:lnTo>
                          <a:pt x="1390" y="5649"/>
                        </a:lnTo>
                        <a:lnTo>
                          <a:pt x="1406" y="5717"/>
                        </a:lnTo>
                        <a:lnTo>
                          <a:pt x="1414" y="5785"/>
                        </a:lnTo>
                        <a:lnTo>
                          <a:pt x="1414" y="5846"/>
                        </a:lnTo>
                        <a:lnTo>
                          <a:pt x="1408" y="5906"/>
                        </a:lnTo>
                        <a:lnTo>
                          <a:pt x="1396" y="5960"/>
                        </a:lnTo>
                        <a:lnTo>
                          <a:pt x="1380" y="6010"/>
                        </a:lnTo>
                        <a:lnTo>
                          <a:pt x="1434" y="6028"/>
                        </a:lnTo>
                        <a:lnTo>
                          <a:pt x="1492" y="6040"/>
                        </a:lnTo>
                        <a:lnTo>
                          <a:pt x="1549" y="6044"/>
                        </a:lnTo>
                        <a:lnTo>
                          <a:pt x="1621" y="6038"/>
                        </a:lnTo>
                        <a:lnTo>
                          <a:pt x="1689" y="6022"/>
                        </a:lnTo>
                        <a:lnTo>
                          <a:pt x="1751" y="5996"/>
                        </a:lnTo>
                        <a:lnTo>
                          <a:pt x="1809" y="5960"/>
                        </a:lnTo>
                        <a:lnTo>
                          <a:pt x="1861" y="5918"/>
                        </a:lnTo>
                        <a:lnTo>
                          <a:pt x="1904" y="5866"/>
                        </a:lnTo>
                        <a:lnTo>
                          <a:pt x="1940" y="5811"/>
                        </a:lnTo>
                        <a:lnTo>
                          <a:pt x="1966" y="5749"/>
                        </a:lnTo>
                        <a:lnTo>
                          <a:pt x="1984" y="5681"/>
                        </a:lnTo>
                        <a:lnTo>
                          <a:pt x="1990" y="5611"/>
                        </a:lnTo>
                        <a:lnTo>
                          <a:pt x="1984" y="5549"/>
                        </a:lnTo>
                        <a:lnTo>
                          <a:pt x="1984" y="5543"/>
                        </a:lnTo>
                        <a:lnTo>
                          <a:pt x="1984" y="5539"/>
                        </a:lnTo>
                        <a:lnTo>
                          <a:pt x="1986" y="5533"/>
                        </a:lnTo>
                        <a:lnTo>
                          <a:pt x="1984" y="5529"/>
                        </a:lnTo>
                        <a:lnTo>
                          <a:pt x="1984" y="5524"/>
                        </a:lnTo>
                        <a:lnTo>
                          <a:pt x="1984" y="5520"/>
                        </a:lnTo>
                        <a:lnTo>
                          <a:pt x="1986" y="5464"/>
                        </a:lnTo>
                        <a:lnTo>
                          <a:pt x="1980" y="5410"/>
                        </a:lnTo>
                        <a:lnTo>
                          <a:pt x="1968" y="5362"/>
                        </a:lnTo>
                        <a:lnTo>
                          <a:pt x="1954" y="5318"/>
                        </a:lnTo>
                        <a:lnTo>
                          <a:pt x="1934" y="5278"/>
                        </a:lnTo>
                        <a:lnTo>
                          <a:pt x="1914" y="5242"/>
                        </a:lnTo>
                        <a:lnTo>
                          <a:pt x="1894" y="5213"/>
                        </a:lnTo>
                        <a:lnTo>
                          <a:pt x="1877" y="5189"/>
                        </a:lnTo>
                        <a:lnTo>
                          <a:pt x="1863" y="5171"/>
                        </a:lnTo>
                        <a:lnTo>
                          <a:pt x="1853" y="5161"/>
                        </a:lnTo>
                        <a:lnTo>
                          <a:pt x="1849" y="5157"/>
                        </a:lnTo>
                        <a:lnTo>
                          <a:pt x="1829" y="5131"/>
                        </a:lnTo>
                        <a:lnTo>
                          <a:pt x="1815" y="5103"/>
                        </a:lnTo>
                        <a:lnTo>
                          <a:pt x="1811" y="5073"/>
                        </a:lnTo>
                        <a:lnTo>
                          <a:pt x="1813" y="5043"/>
                        </a:lnTo>
                        <a:lnTo>
                          <a:pt x="1825" y="5013"/>
                        </a:lnTo>
                        <a:lnTo>
                          <a:pt x="1845" y="4987"/>
                        </a:lnTo>
                        <a:lnTo>
                          <a:pt x="1869" y="4967"/>
                        </a:lnTo>
                        <a:lnTo>
                          <a:pt x="1898" y="4955"/>
                        </a:lnTo>
                        <a:lnTo>
                          <a:pt x="1928" y="4949"/>
                        </a:lnTo>
                        <a:lnTo>
                          <a:pt x="1960" y="4953"/>
                        </a:lnTo>
                        <a:lnTo>
                          <a:pt x="1988" y="4963"/>
                        </a:lnTo>
                        <a:lnTo>
                          <a:pt x="2016" y="4983"/>
                        </a:lnTo>
                        <a:lnTo>
                          <a:pt x="2020" y="4989"/>
                        </a:lnTo>
                        <a:lnTo>
                          <a:pt x="2032" y="5001"/>
                        </a:lnTo>
                        <a:lnTo>
                          <a:pt x="2050" y="5019"/>
                        </a:lnTo>
                        <a:lnTo>
                          <a:pt x="2070" y="5045"/>
                        </a:lnTo>
                        <a:lnTo>
                          <a:pt x="2094" y="5077"/>
                        </a:lnTo>
                        <a:lnTo>
                          <a:pt x="2118" y="5113"/>
                        </a:lnTo>
                        <a:lnTo>
                          <a:pt x="2142" y="5157"/>
                        </a:lnTo>
                        <a:lnTo>
                          <a:pt x="2166" y="5205"/>
                        </a:lnTo>
                        <a:lnTo>
                          <a:pt x="2188" y="5256"/>
                        </a:lnTo>
                        <a:lnTo>
                          <a:pt x="2206" y="5314"/>
                        </a:lnTo>
                        <a:lnTo>
                          <a:pt x="2218" y="5376"/>
                        </a:lnTo>
                        <a:lnTo>
                          <a:pt x="2289" y="5342"/>
                        </a:lnTo>
                        <a:lnTo>
                          <a:pt x="2357" y="5302"/>
                        </a:lnTo>
                        <a:lnTo>
                          <a:pt x="2417" y="5254"/>
                        </a:lnTo>
                        <a:lnTo>
                          <a:pt x="2471" y="5201"/>
                        </a:lnTo>
                        <a:lnTo>
                          <a:pt x="2519" y="5141"/>
                        </a:lnTo>
                        <a:lnTo>
                          <a:pt x="2559" y="5075"/>
                        </a:lnTo>
                        <a:lnTo>
                          <a:pt x="2591" y="5005"/>
                        </a:lnTo>
                        <a:lnTo>
                          <a:pt x="2615" y="4931"/>
                        </a:lnTo>
                        <a:lnTo>
                          <a:pt x="2628" y="4856"/>
                        </a:lnTo>
                        <a:lnTo>
                          <a:pt x="2634" y="4776"/>
                        </a:lnTo>
                        <a:lnTo>
                          <a:pt x="2628" y="4694"/>
                        </a:lnTo>
                        <a:lnTo>
                          <a:pt x="2615" y="4617"/>
                        </a:lnTo>
                        <a:lnTo>
                          <a:pt x="2591" y="4543"/>
                        </a:lnTo>
                        <a:lnTo>
                          <a:pt x="2557" y="4471"/>
                        </a:lnTo>
                        <a:lnTo>
                          <a:pt x="2515" y="4403"/>
                        </a:lnTo>
                        <a:lnTo>
                          <a:pt x="2513" y="4401"/>
                        </a:lnTo>
                        <a:lnTo>
                          <a:pt x="2513" y="4399"/>
                        </a:lnTo>
                        <a:lnTo>
                          <a:pt x="2507" y="4389"/>
                        </a:lnTo>
                        <a:lnTo>
                          <a:pt x="2501" y="4379"/>
                        </a:lnTo>
                        <a:lnTo>
                          <a:pt x="2497" y="4369"/>
                        </a:lnTo>
                        <a:lnTo>
                          <a:pt x="2473" y="4312"/>
                        </a:lnTo>
                        <a:lnTo>
                          <a:pt x="2443" y="4262"/>
                        </a:lnTo>
                        <a:lnTo>
                          <a:pt x="2409" y="4218"/>
                        </a:lnTo>
                        <a:lnTo>
                          <a:pt x="2367" y="4182"/>
                        </a:lnTo>
                        <a:lnTo>
                          <a:pt x="2323" y="4150"/>
                        </a:lnTo>
                        <a:lnTo>
                          <a:pt x="2277" y="4124"/>
                        </a:lnTo>
                        <a:lnTo>
                          <a:pt x="2230" y="4104"/>
                        </a:lnTo>
                        <a:lnTo>
                          <a:pt x="2182" y="4088"/>
                        </a:lnTo>
                        <a:lnTo>
                          <a:pt x="2136" y="4074"/>
                        </a:lnTo>
                        <a:lnTo>
                          <a:pt x="2090" y="4066"/>
                        </a:lnTo>
                        <a:lnTo>
                          <a:pt x="2046" y="4058"/>
                        </a:lnTo>
                        <a:lnTo>
                          <a:pt x="2006" y="4054"/>
                        </a:lnTo>
                        <a:lnTo>
                          <a:pt x="1990" y="4136"/>
                        </a:lnTo>
                        <a:lnTo>
                          <a:pt x="1966" y="4216"/>
                        </a:lnTo>
                        <a:lnTo>
                          <a:pt x="1930" y="4290"/>
                        </a:lnTo>
                        <a:lnTo>
                          <a:pt x="1888" y="4357"/>
                        </a:lnTo>
                        <a:lnTo>
                          <a:pt x="1839" y="4421"/>
                        </a:lnTo>
                        <a:lnTo>
                          <a:pt x="1781" y="4477"/>
                        </a:lnTo>
                        <a:lnTo>
                          <a:pt x="1717" y="4527"/>
                        </a:lnTo>
                        <a:lnTo>
                          <a:pt x="1647" y="4569"/>
                        </a:lnTo>
                        <a:lnTo>
                          <a:pt x="1571" y="4603"/>
                        </a:lnTo>
                        <a:lnTo>
                          <a:pt x="1494" y="4629"/>
                        </a:lnTo>
                        <a:lnTo>
                          <a:pt x="1410" y="4644"/>
                        </a:lnTo>
                        <a:lnTo>
                          <a:pt x="1324" y="4648"/>
                        </a:lnTo>
                        <a:lnTo>
                          <a:pt x="1230" y="4642"/>
                        </a:lnTo>
                        <a:lnTo>
                          <a:pt x="1141" y="4625"/>
                        </a:lnTo>
                        <a:lnTo>
                          <a:pt x="1055" y="4595"/>
                        </a:lnTo>
                        <a:lnTo>
                          <a:pt x="977" y="4557"/>
                        </a:lnTo>
                        <a:lnTo>
                          <a:pt x="903" y="4507"/>
                        </a:lnTo>
                        <a:lnTo>
                          <a:pt x="837" y="4451"/>
                        </a:lnTo>
                        <a:lnTo>
                          <a:pt x="778" y="4385"/>
                        </a:lnTo>
                        <a:lnTo>
                          <a:pt x="730" y="4314"/>
                        </a:lnTo>
                        <a:lnTo>
                          <a:pt x="690" y="4236"/>
                        </a:lnTo>
                        <a:lnTo>
                          <a:pt x="660" y="4152"/>
                        </a:lnTo>
                        <a:lnTo>
                          <a:pt x="642" y="4064"/>
                        </a:lnTo>
                        <a:lnTo>
                          <a:pt x="634" y="3973"/>
                        </a:lnTo>
                        <a:lnTo>
                          <a:pt x="640" y="3887"/>
                        </a:lnTo>
                        <a:lnTo>
                          <a:pt x="658" y="3803"/>
                        </a:lnTo>
                        <a:lnTo>
                          <a:pt x="684" y="3722"/>
                        </a:lnTo>
                        <a:lnTo>
                          <a:pt x="722" y="3646"/>
                        </a:lnTo>
                        <a:lnTo>
                          <a:pt x="664" y="3616"/>
                        </a:lnTo>
                        <a:lnTo>
                          <a:pt x="610" y="3580"/>
                        </a:lnTo>
                        <a:lnTo>
                          <a:pt x="562" y="3538"/>
                        </a:lnTo>
                        <a:lnTo>
                          <a:pt x="518" y="3488"/>
                        </a:lnTo>
                        <a:lnTo>
                          <a:pt x="482" y="3433"/>
                        </a:lnTo>
                        <a:lnTo>
                          <a:pt x="454" y="3371"/>
                        </a:lnTo>
                        <a:lnTo>
                          <a:pt x="446" y="3339"/>
                        </a:lnTo>
                        <a:lnTo>
                          <a:pt x="448" y="3309"/>
                        </a:lnTo>
                        <a:lnTo>
                          <a:pt x="456" y="3279"/>
                        </a:lnTo>
                        <a:lnTo>
                          <a:pt x="474" y="3253"/>
                        </a:lnTo>
                        <a:lnTo>
                          <a:pt x="496" y="3233"/>
                        </a:lnTo>
                        <a:lnTo>
                          <a:pt x="524" y="3217"/>
                        </a:lnTo>
                        <a:lnTo>
                          <a:pt x="556" y="3211"/>
                        </a:lnTo>
                        <a:lnTo>
                          <a:pt x="588" y="3211"/>
                        </a:lnTo>
                        <a:lnTo>
                          <a:pt x="618" y="3221"/>
                        </a:lnTo>
                        <a:lnTo>
                          <a:pt x="644" y="3237"/>
                        </a:lnTo>
                        <a:lnTo>
                          <a:pt x="666" y="3259"/>
                        </a:lnTo>
                        <a:lnTo>
                          <a:pt x="682" y="3287"/>
                        </a:lnTo>
                        <a:lnTo>
                          <a:pt x="704" y="3333"/>
                        </a:lnTo>
                        <a:lnTo>
                          <a:pt x="734" y="3371"/>
                        </a:lnTo>
                        <a:lnTo>
                          <a:pt x="770" y="3403"/>
                        </a:lnTo>
                        <a:lnTo>
                          <a:pt x="811" y="3425"/>
                        </a:lnTo>
                        <a:lnTo>
                          <a:pt x="857" y="3440"/>
                        </a:lnTo>
                        <a:lnTo>
                          <a:pt x="905" y="3448"/>
                        </a:lnTo>
                        <a:lnTo>
                          <a:pt x="955" y="3444"/>
                        </a:lnTo>
                        <a:lnTo>
                          <a:pt x="1005" y="3433"/>
                        </a:lnTo>
                        <a:lnTo>
                          <a:pt x="1049" y="3411"/>
                        </a:lnTo>
                        <a:lnTo>
                          <a:pt x="1089" y="3381"/>
                        </a:lnTo>
                        <a:lnTo>
                          <a:pt x="1121" y="3345"/>
                        </a:lnTo>
                        <a:lnTo>
                          <a:pt x="1145" y="3303"/>
                        </a:lnTo>
                        <a:lnTo>
                          <a:pt x="1160" y="3259"/>
                        </a:lnTo>
                        <a:lnTo>
                          <a:pt x="1166" y="3211"/>
                        </a:lnTo>
                        <a:lnTo>
                          <a:pt x="1164" y="3163"/>
                        </a:lnTo>
                        <a:lnTo>
                          <a:pt x="1151" y="3116"/>
                        </a:lnTo>
                        <a:lnTo>
                          <a:pt x="1145" y="3084"/>
                        </a:lnTo>
                        <a:lnTo>
                          <a:pt x="1147" y="3054"/>
                        </a:lnTo>
                        <a:lnTo>
                          <a:pt x="1155" y="3024"/>
                        </a:lnTo>
                        <a:lnTo>
                          <a:pt x="1170" y="2998"/>
                        </a:lnTo>
                        <a:lnTo>
                          <a:pt x="1194" y="2976"/>
                        </a:lnTo>
                        <a:lnTo>
                          <a:pt x="1222" y="2962"/>
                        </a:lnTo>
                        <a:lnTo>
                          <a:pt x="1254" y="2954"/>
                        </a:lnTo>
                        <a:lnTo>
                          <a:pt x="1286" y="2956"/>
                        </a:lnTo>
                        <a:lnTo>
                          <a:pt x="1316" y="2966"/>
                        </a:lnTo>
                        <a:lnTo>
                          <a:pt x="1342" y="2982"/>
                        </a:lnTo>
                        <a:lnTo>
                          <a:pt x="1364" y="3004"/>
                        </a:lnTo>
                        <a:lnTo>
                          <a:pt x="1378" y="3032"/>
                        </a:lnTo>
                        <a:lnTo>
                          <a:pt x="1400" y="3102"/>
                        </a:lnTo>
                        <a:lnTo>
                          <a:pt x="1410" y="3169"/>
                        </a:lnTo>
                        <a:lnTo>
                          <a:pt x="1408" y="3239"/>
                        </a:lnTo>
                        <a:lnTo>
                          <a:pt x="1398" y="3307"/>
                        </a:lnTo>
                        <a:lnTo>
                          <a:pt x="1378" y="3371"/>
                        </a:lnTo>
                        <a:lnTo>
                          <a:pt x="1350" y="3433"/>
                        </a:lnTo>
                        <a:lnTo>
                          <a:pt x="1312" y="3490"/>
                        </a:lnTo>
                        <a:lnTo>
                          <a:pt x="1268" y="3542"/>
                        </a:lnTo>
                        <a:lnTo>
                          <a:pt x="1214" y="3588"/>
                        </a:lnTo>
                        <a:lnTo>
                          <a:pt x="1155" y="3626"/>
                        </a:lnTo>
                        <a:lnTo>
                          <a:pt x="1089" y="3656"/>
                        </a:lnTo>
                        <a:lnTo>
                          <a:pt x="1039" y="3670"/>
                        </a:lnTo>
                        <a:lnTo>
                          <a:pt x="989" y="3680"/>
                        </a:lnTo>
                        <a:lnTo>
                          <a:pt x="987" y="3684"/>
                        </a:lnTo>
                        <a:lnTo>
                          <a:pt x="985" y="3686"/>
                        </a:lnTo>
                        <a:lnTo>
                          <a:pt x="947" y="3735"/>
                        </a:lnTo>
                        <a:lnTo>
                          <a:pt x="917" y="3791"/>
                        </a:lnTo>
                        <a:lnTo>
                          <a:pt x="895" y="3849"/>
                        </a:lnTo>
                        <a:lnTo>
                          <a:pt x="881" y="3909"/>
                        </a:lnTo>
                        <a:lnTo>
                          <a:pt x="877" y="3973"/>
                        </a:lnTo>
                        <a:lnTo>
                          <a:pt x="883" y="4042"/>
                        </a:lnTo>
                        <a:lnTo>
                          <a:pt x="901" y="4110"/>
                        </a:lnTo>
                        <a:lnTo>
                          <a:pt x="927" y="4174"/>
                        </a:lnTo>
                        <a:lnTo>
                          <a:pt x="963" y="4230"/>
                        </a:lnTo>
                        <a:lnTo>
                          <a:pt x="1009" y="4282"/>
                        </a:lnTo>
                        <a:lnTo>
                          <a:pt x="1061" y="4326"/>
                        </a:lnTo>
                        <a:lnTo>
                          <a:pt x="1119" y="4361"/>
                        </a:lnTo>
                        <a:lnTo>
                          <a:pt x="1182" y="4387"/>
                        </a:lnTo>
                        <a:lnTo>
                          <a:pt x="1250" y="4405"/>
                        </a:lnTo>
                        <a:lnTo>
                          <a:pt x="1324" y="4411"/>
                        </a:lnTo>
                        <a:lnTo>
                          <a:pt x="1396" y="4405"/>
                        </a:lnTo>
                        <a:lnTo>
                          <a:pt x="1464" y="4387"/>
                        </a:lnTo>
                        <a:lnTo>
                          <a:pt x="1527" y="4361"/>
                        </a:lnTo>
                        <a:lnTo>
                          <a:pt x="1587" y="4326"/>
                        </a:lnTo>
                        <a:lnTo>
                          <a:pt x="1639" y="4282"/>
                        </a:lnTo>
                        <a:lnTo>
                          <a:pt x="1683" y="4230"/>
                        </a:lnTo>
                        <a:lnTo>
                          <a:pt x="1719" y="4174"/>
                        </a:lnTo>
                        <a:lnTo>
                          <a:pt x="1747" y="4110"/>
                        </a:lnTo>
                        <a:lnTo>
                          <a:pt x="1763" y="4042"/>
                        </a:lnTo>
                        <a:lnTo>
                          <a:pt x="1769" y="3973"/>
                        </a:lnTo>
                        <a:lnTo>
                          <a:pt x="1765" y="3907"/>
                        </a:lnTo>
                        <a:lnTo>
                          <a:pt x="1751" y="3845"/>
                        </a:lnTo>
                        <a:lnTo>
                          <a:pt x="1727" y="3785"/>
                        </a:lnTo>
                        <a:lnTo>
                          <a:pt x="1695" y="3730"/>
                        </a:lnTo>
                        <a:lnTo>
                          <a:pt x="1655" y="3678"/>
                        </a:lnTo>
                        <a:lnTo>
                          <a:pt x="1607" y="3634"/>
                        </a:lnTo>
                        <a:lnTo>
                          <a:pt x="1585" y="3610"/>
                        </a:lnTo>
                        <a:lnTo>
                          <a:pt x="1569" y="3582"/>
                        </a:lnTo>
                        <a:lnTo>
                          <a:pt x="1563" y="3552"/>
                        </a:lnTo>
                        <a:lnTo>
                          <a:pt x="1563" y="3522"/>
                        </a:lnTo>
                        <a:lnTo>
                          <a:pt x="1573" y="3492"/>
                        </a:lnTo>
                        <a:lnTo>
                          <a:pt x="1589" y="3466"/>
                        </a:lnTo>
                        <a:lnTo>
                          <a:pt x="1613" y="3444"/>
                        </a:lnTo>
                        <a:lnTo>
                          <a:pt x="1641" y="3429"/>
                        </a:lnTo>
                        <a:lnTo>
                          <a:pt x="1671" y="3423"/>
                        </a:lnTo>
                        <a:lnTo>
                          <a:pt x="1703" y="3423"/>
                        </a:lnTo>
                        <a:lnTo>
                          <a:pt x="1733" y="3433"/>
                        </a:lnTo>
                        <a:lnTo>
                          <a:pt x="1761" y="3448"/>
                        </a:lnTo>
                        <a:lnTo>
                          <a:pt x="1817" y="3500"/>
                        </a:lnTo>
                        <a:lnTo>
                          <a:pt x="1867" y="3554"/>
                        </a:lnTo>
                        <a:lnTo>
                          <a:pt x="1908" y="3614"/>
                        </a:lnTo>
                        <a:lnTo>
                          <a:pt x="1944" y="3678"/>
                        </a:lnTo>
                        <a:lnTo>
                          <a:pt x="1972" y="3745"/>
                        </a:lnTo>
                        <a:lnTo>
                          <a:pt x="1992" y="3815"/>
                        </a:lnTo>
                        <a:lnTo>
                          <a:pt x="2036" y="3817"/>
                        </a:lnTo>
                        <a:lnTo>
                          <a:pt x="2084" y="3823"/>
                        </a:lnTo>
                        <a:lnTo>
                          <a:pt x="2136" y="3831"/>
                        </a:lnTo>
                        <a:lnTo>
                          <a:pt x="2190" y="3843"/>
                        </a:lnTo>
                        <a:lnTo>
                          <a:pt x="2248" y="3857"/>
                        </a:lnTo>
                        <a:lnTo>
                          <a:pt x="2305" y="3877"/>
                        </a:lnTo>
                        <a:lnTo>
                          <a:pt x="2363" y="3899"/>
                        </a:lnTo>
                        <a:lnTo>
                          <a:pt x="2421" y="3929"/>
                        </a:lnTo>
                        <a:lnTo>
                          <a:pt x="2477" y="3963"/>
                        </a:lnTo>
                        <a:lnTo>
                          <a:pt x="2531" y="4003"/>
                        </a:lnTo>
                        <a:lnTo>
                          <a:pt x="2581" y="4050"/>
                        </a:lnTo>
                        <a:lnTo>
                          <a:pt x="2626" y="4104"/>
                        </a:lnTo>
                        <a:lnTo>
                          <a:pt x="2668" y="4166"/>
                        </a:lnTo>
                        <a:lnTo>
                          <a:pt x="2730" y="4118"/>
                        </a:lnTo>
                        <a:lnTo>
                          <a:pt x="2784" y="4062"/>
                        </a:lnTo>
                        <a:lnTo>
                          <a:pt x="2828" y="4001"/>
                        </a:lnTo>
                        <a:lnTo>
                          <a:pt x="2866" y="3933"/>
                        </a:lnTo>
                        <a:lnTo>
                          <a:pt x="2892" y="3861"/>
                        </a:lnTo>
                        <a:lnTo>
                          <a:pt x="2908" y="3785"/>
                        </a:lnTo>
                        <a:lnTo>
                          <a:pt x="2914" y="3706"/>
                        </a:lnTo>
                        <a:lnTo>
                          <a:pt x="2908" y="3630"/>
                        </a:lnTo>
                        <a:lnTo>
                          <a:pt x="2894" y="3554"/>
                        </a:lnTo>
                        <a:lnTo>
                          <a:pt x="2868" y="3482"/>
                        </a:lnTo>
                        <a:lnTo>
                          <a:pt x="2832" y="3415"/>
                        </a:lnTo>
                        <a:lnTo>
                          <a:pt x="2786" y="3353"/>
                        </a:lnTo>
                        <a:lnTo>
                          <a:pt x="2784" y="3351"/>
                        </a:lnTo>
                        <a:lnTo>
                          <a:pt x="2782" y="3347"/>
                        </a:lnTo>
                        <a:lnTo>
                          <a:pt x="2780" y="3343"/>
                        </a:lnTo>
                        <a:lnTo>
                          <a:pt x="2776" y="3339"/>
                        </a:lnTo>
                        <a:lnTo>
                          <a:pt x="2748" y="3299"/>
                        </a:lnTo>
                        <a:lnTo>
                          <a:pt x="2718" y="3267"/>
                        </a:lnTo>
                        <a:lnTo>
                          <a:pt x="2686" y="3241"/>
                        </a:lnTo>
                        <a:lnTo>
                          <a:pt x="2656" y="3223"/>
                        </a:lnTo>
                        <a:lnTo>
                          <a:pt x="2626" y="3209"/>
                        </a:lnTo>
                        <a:lnTo>
                          <a:pt x="2599" y="3201"/>
                        </a:lnTo>
                        <a:lnTo>
                          <a:pt x="2581" y="3263"/>
                        </a:lnTo>
                        <a:lnTo>
                          <a:pt x="2555" y="3325"/>
                        </a:lnTo>
                        <a:lnTo>
                          <a:pt x="2523" y="3381"/>
                        </a:lnTo>
                        <a:lnTo>
                          <a:pt x="2485" y="3434"/>
                        </a:lnTo>
                        <a:lnTo>
                          <a:pt x="2441" y="3484"/>
                        </a:lnTo>
                        <a:lnTo>
                          <a:pt x="2389" y="3526"/>
                        </a:lnTo>
                        <a:lnTo>
                          <a:pt x="2333" y="3564"/>
                        </a:lnTo>
                        <a:lnTo>
                          <a:pt x="2303" y="3578"/>
                        </a:lnTo>
                        <a:lnTo>
                          <a:pt x="2271" y="3582"/>
                        </a:lnTo>
                        <a:lnTo>
                          <a:pt x="2242" y="3578"/>
                        </a:lnTo>
                        <a:lnTo>
                          <a:pt x="2212" y="3566"/>
                        </a:lnTo>
                        <a:lnTo>
                          <a:pt x="2188" y="3548"/>
                        </a:lnTo>
                        <a:lnTo>
                          <a:pt x="2168" y="3522"/>
                        </a:lnTo>
                        <a:lnTo>
                          <a:pt x="2154" y="3494"/>
                        </a:lnTo>
                        <a:lnTo>
                          <a:pt x="2150" y="3462"/>
                        </a:lnTo>
                        <a:lnTo>
                          <a:pt x="2154" y="3433"/>
                        </a:lnTo>
                        <a:lnTo>
                          <a:pt x="2166" y="3405"/>
                        </a:lnTo>
                        <a:lnTo>
                          <a:pt x="2184" y="3379"/>
                        </a:lnTo>
                        <a:lnTo>
                          <a:pt x="2210" y="3359"/>
                        </a:lnTo>
                        <a:lnTo>
                          <a:pt x="2255" y="3327"/>
                        </a:lnTo>
                        <a:lnTo>
                          <a:pt x="2295" y="3285"/>
                        </a:lnTo>
                        <a:lnTo>
                          <a:pt x="2327" y="3239"/>
                        </a:lnTo>
                        <a:lnTo>
                          <a:pt x="2351" y="3189"/>
                        </a:lnTo>
                        <a:lnTo>
                          <a:pt x="2365" y="3134"/>
                        </a:lnTo>
                        <a:lnTo>
                          <a:pt x="2369" y="3078"/>
                        </a:lnTo>
                        <a:lnTo>
                          <a:pt x="2363" y="3020"/>
                        </a:lnTo>
                        <a:lnTo>
                          <a:pt x="2345" y="2966"/>
                        </a:lnTo>
                        <a:lnTo>
                          <a:pt x="2321" y="2914"/>
                        </a:lnTo>
                        <a:lnTo>
                          <a:pt x="2285" y="2870"/>
                        </a:lnTo>
                        <a:lnTo>
                          <a:pt x="2246" y="2833"/>
                        </a:lnTo>
                        <a:lnTo>
                          <a:pt x="2196" y="2801"/>
                        </a:lnTo>
                        <a:lnTo>
                          <a:pt x="2142" y="2779"/>
                        </a:lnTo>
                        <a:lnTo>
                          <a:pt x="2114" y="2765"/>
                        </a:lnTo>
                        <a:lnTo>
                          <a:pt x="2090" y="2745"/>
                        </a:lnTo>
                        <a:lnTo>
                          <a:pt x="2072" y="2719"/>
                        </a:lnTo>
                        <a:lnTo>
                          <a:pt x="2060" y="2691"/>
                        </a:lnTo>
                        <a:lnTo>
                          <a:pt x="2058" y="2659"/>
                        </a:lnTo>
                        <a:lnTo>
                          <a:pt x="2064" y="2629"/>
                        </a:lnTo>
                        <a:lnTo>
                          <a:pt x="2078" y="2599"/>
                        </a:lnTo>
                        <a:lnTo>
                          <a:pt x="2098" y="2577"/>
                        </a:lnTo>
                        <a:lnTo>
                          <a:pt x="2124" y="2559"/>
                        </a:lnTo>
                        <a:lnTo>
                          <a:pt x="2154" y="2549"/>
                        </a:lnTo>
                        <a:lnTo>
                          <a:pt x="2184" y="2545"/>
                        </a:lnTo>
                        <a:lnTo>
                          <a:pt x="2216" y="2551"/>
                        </a:lnTo>
                        <a:lnTo>
                          <a:pt x="2285" y="2579"/>
                        </a:lnTo>
                        <a:lnTo>
                          <a:pt x="2351" y="2613"/>
                        </a:lnTo>
                        <a:lnTo>
                          <a:pt x="2409" y="2657"/>
                        </a:lnTo>
                        <a:lnTo>
                          <a:pt x="2461" y="2707"/>
                        </a:lnTo>
                        <a:lnTo>
                          <a:pt x="2507" y="2763"/>
                        </a:lnTo>
                        <a:lnTo>
                          <a:pt x="2545" y="2823"/>
                        </a:lnTo>
                        <a:lnTo>
                          <a:pt x="2575" y="2888"/>
                        </a:lnTo>
                        <a:lnTo>
                          <a:pt x="2595" y="2958"/>
                        </a:lnTo>
                        <a:lnTo>
                          <a:pt x="2642" y="2966"/>
                        </a:lnTo>
                        <a:lnTo>
                          <a:pt x="2692" y="2980"/>
                        </a:lnTo>
                        <a:lnTo>
                          <a:pt x="2746" y="3002"/>
                        </a:lnTo>
                        <a:lnTo>
                          <a:pt x="2802" y="3032"/>
                        </a:lnTo>
                        <a:lnTo>
                          <a:pt x="2858" y="3070"/>
                        </a:lnTo>
                        <a:lnTo>
                          <a:pt x="2888" y="2984"/>
                        </a:lnTo>
                        <a:lnTo>
                          <a:pt x="2908" y="2894"/>
                        </a:lnTo>
                        <a:lnTo>
                          <a:pt x="2914" y="2803"/>
                        </a:lnTo>
                        <a:lnTo>
                          <a:pt x="2908" y="2717"/>
                        </a:lnTo>
                        <a:lnTo>
                          <a:pt x="2894" y="2635"/>
                        </a:lnTo>
                        <a:lnTo>
                          <a:pt x="2868" y="2555"/>
                        </a:lnTo>
                        <a:lnTo>
                          <a:pt x="2834" y="2480"/>
                        </a:lnTo>
                        <a:lnTo>
                          <a:pt x="2790" y="2408"/>
                        </a:lnTo>
                        <a:lnTo>
                          <a:pt x="2738" y="2342"/>
                        </a:lnTo>
                        <a:lnTo>
                          <a:pt x="2678" y="2282"/>
                        </a:lnTo>
                        <a:lnTo>
                          <a:pt x="2613" y="2231"/>
                        </a:lnTo>
                        <a:lnTo>
                          <a:pt x="2539" y="2187"/>
                        </a:lnTo>
                        <a:lnTo>
                          <a:pt x="2535" y="2183"/>
                        </a:lnTo>
                        <a:lnTo>
                          <a:pt x="2531" y="2181"/>
                        </a:lnTo>
                        <a:lnTo>
                          <a:pt x="2527" y="2179"/>
                        </a:lnTo>
                        <a:lnTo>
                          <a:pt x="2523" y="2177"/>
                        </a:lnTo>
                        <a:lnTo>
                          <a:pt x="2517" y="2171"/>
                        </a:lnTo>
                        <a:lnTo>
                          <a:pt x="2501" y="2163"/>
                        </a:lnTo>
                        <a:lnTo>
                          <a:pt x="2481" y="2149"/>
                        </a:lnTo>
                        <a:lnTo>
                          <a:pt x="2453" y="2135"/>
                        </a:lnTo>
                        <a:lnTo>
                          <a:pt x="2417" y="2121"/>
                        </a:lnTo>
                        <a:lnTo>
                          <a:pt x="2377" y="2105"/>
                        </a:lnTo>
                        <a:lnTo>
                          <a:pt x="2331" y="2091"/>
                        </a:lnTo>
                        <a:lnTo>
                          <a:pt x="2281" y="2079"/>
                        </a:lnTo>
                        <a:lnTo>
                          <a:pt x="2226" y="2073"/>
                        </a:lnTo>
                        <a:lnTo>
                          <a:pt x="2166" y="2069"/>
                        </a:lnTo>
                        <a:lnTo>
                          <a:pt x="2100" y="2073"/>
                        </a:lnTo>
                        <a:lnTo>
                          <a:pt x="2032" y="2083"/>
                        </a:lnTo>
                        <a:lnTo>
                          <a:pt x="1962" y="2103"/>
                        </a:lnTo>
                        <a:lnTo>
                          <a:pt x="1888" y="2131"/>
                        </a:lnTo>
                        <a:lnTo>
                          <a:pt x="1811" y="2171"/>
                        </a:lnTo>
                        <a:lnTo>
                          <a:pt x="1845" y="2233"/>
                        </a:lnTo>
                        <a:lnTo>
                          <a:pt x="1871" y="2298"/>
                        </a:lnTo>
                        <a:lnTo>
                          <a:pt x="1887" y="2366"/>
                        </a:lnTo>
                        <a:lnTo>
                          <a:pt x="1896" y="2436"/>
                        </a:lnTo>
                        <a:lnTo>
                          <a:pt x="1894" y="2506"/>
                        </a:lnTo>
                        <a:lnTo>
                          <a:pt x="1885" y="2575"/>
                        </a:lnTo>
                        <a:lnTo>
                          <a:pt x="1867" y="2643"/>
                        </a:lnTo>
                        <a:lnTo>
                          <a:pt x="1839" y="2709"/>
                        </a:lnTo>
                        <a:lnTo>
                          <a:pt x="1803" y="2771"/>
                        </a:lnTo>
                        <a:lnTo>
                          <a:pt x="1757" y="2831"/>
                        </a:lnTo>
                        <a:lnTo>
                          <a:pt x="1731" y="2852"/>
                        </a:lnTo>
                        <a:lnTo>
                          <a:pt x="1699" y="2866"/>
                        </a:lnTo>
                        <a:lnTo>
                          <a:pt x="1665" y="2870"/>
                        </a:lnTo>
                        <a:lnTo>
                          <a:pt x="1637" y="2868"/>
                        </a:lnTo>
                        <a:lnTo>
                          <a:pt x="1611" y="2858"/>
                        </a:lnTo>
                        <a:lnTo>
                          <a:pt x="1585" y="2840"/>
                        </a:lnTo>
                        <a:lnTo>
                          <a:pt x="1565" y="2817"/>
                        </a:lnTo>
                        <a:lnTo>
                          <a:pt x="1551" y="2789"/>
                        </a:lnTo>
                        <a:lnTo>
                          <a:pt x="1545" y="2759"/>
                        </a:lnTo>
                        <a:lnTo>
                          <a:pt x="1547" y="2729"/>
                        </a:lnTo>
                        <a:lnTo>
                          <a:pt x="1557" y="2699"/>
                        </a:lnTo>
                        <a:lnTo>
                          <a:pt x="1575" y="2673"/>
                        </a:lnTo>
                        <a:lnTo>
                          <a:pt x="1609" y="2627"/>
                        </a:lnTo>
                        <a:lnTo>
                          <a:pt x="1635" y="2575"/>
                        </a:lnTo>
                        <a:lnTo>
                          <a:pt x="1649" y="2522"/>
                        </a:lnTo>
                        <a:lnTo>
                          <a:pt x="1655" y="2468"/>
                        </a:lnTo>
                        <a:lnTo>
                          <a:pt x="1651" y="2414"/>
                        </a:lnTo>
                        <a:lnTo>
                          <a:pt x="1639" y="2360"/>
                        </a:lnTo>
                        <a:lnTo>
                          <a:pt x="1617" y="2310"/>
                        </a:lnTo>
                        <a:lnTo>
                          <a:pt x="1585" y="2262"/>
                        </a:lnTo>
                        <a:lnTo>
                          <a:pt x="1543" y="2221"/>
                        </a:lnTo>
                        <a:lnTo>
                          <a:pt x="1504" y="2191"/>
                        </a:lnTo>
                        <a:lnTo>
                          <a:pt x="1458" y="2167"/>
                        </a:lnTo>
                        <a:lnTo>
                          <a:pt x="1410" y="2151"/>
                        </a:lnTo>
                        <a:lnTo>
                          <a:pt x="1360" y="2143"/>
                        </a:lnTo>
                        <a:lnTo>
                          <a:pt x="1308" y="2143"/>
                        </a:lnTo>
                        <a:lnTo>
                          <a:pt x="1256" y="2149"/>
                        </a:lnTo>
                        <a:lnTo>
                          <a:pt x="1208" y="2165"/>
                        </a:lnTo>
                        <a:lnTo>
                          <a:pt x="1162" y="2187"/>
                        </a:lnTo>
                        <a:lnTo>
                          <a:pt x="1121" y="2215"/>
                        </a:lnTo>
                        <a:lnTo>
                          <a:pt x="1085" y="2250"/>
                        </a:lnTo>
                        <a:lnTo>
                          <a:pt x="1059" y="2272"/>
                        </a:lnTo>
                        <a:lnTo>
                          <a:pt x="1031" y="2284"/>
                        </a:lnTo>
                        <a:lnTo>
                          <a:pt x="1001" y="2290"/>
                        </a:lnTo>
                        <a:lnTo>
                          <a:pt x="969" y="2288"/>
                        </a:lnTo>
                        <a:lnTo>
                          <a:pt x="939" y="2278"/>
                        </a:lnTo>
                        <a:lnTo>
                          <a:pt x="913" y="2262"/>
                        </a:lnTo>
                        <a:lnTo>
                          <a:pt x="891" y="2238"/>
                        </a:lnTo>
                        <a:lnTo>
                          <a:pt x="877" y="2211"/>
                        </a:lnTo>
                        <a:lnTo>
                          <a:pt x="871" y="2181"/>
                        </a:lnTo>
                        <a:lnTo>
                          <a:pt x="873" y="2149"/>
                        </a:lnTo>
                        <a:lnTo>
                          <a:pt x="883" y="2121"/>
                        </a:lnTo>
                        <a:lnTo>
                          <a:pt x="901" y="2093"/>
                        </a:lnTo>
                        <a:lnTo>
                          <a:pt x="955" y="2041"/>
                        </a:lnTo>
                        <a:lnTo>
                          <a:pt x="1013" y="1997"/>
                        </a:lnTo>
                        <a:lnTo>
                          <a:pt x="1077" y="1959"/>
                        </a:lnTo>
                        <a:lnTo>
                          <a:pt x="1145" y="1932"/>
                        </a:lnTo>
                        <a:lnTo>
                          <a:pt x="1216" y="1914"/>
                        </a:lnTo>
                        <a:lnTo>
                          <a:pt x="1292" y="1904"/>
                        </a:lnTo>
                        <a:lnTo>
                          <a:pt x="1366" y="1904"/>
                        </a:lnTo>
                        <a:lnTo>
                          <a:pt x="1438" y="1914"/>
                        </a:lnTo>
                        <a:lnTo>
                          <a:pt x="1508" y="1932"/>
                        </a:lnTo>
                        <a:lnTo>
                          <a:pt x="1575" y="1959"/>
                        </a:lnTo>
                        <a:lnTo>
                          <a:pt x="1637" y="1995"/>
                        </a:lnTo>
                        <a:lnTo>
                          <a:pt x="1733" y="1939"/>
                        </a:lnTo>
                        <a:lnTo>
                          <a:pt x="1829" y="1898"/>
                        </a:lnTo>
                        <a:lnTo>
                          <a:pt x="1920" y="1866"/>
                        </a:lnTo>
                        <a:lnTo>
                          <a:pt x="2010" y="1846"/>
                        </a:lnTo>
                        <a:lnTo>
                          <a:pt x="2098" y="1834"/>
                        </a:lnTo>
                        <a:lnTo>
                          <a:pt x="2184" y="1832"/>
                        </a:lnTo>
                        <a:lnTo>
                          <a:pt x="2263" y="1836"/>
                        </a:lnTo>
                        <a:lnTo>
                          <a:pt x="2339" y="1848"/>
                        </a:lnTo>
                        <a:lnTo>
                          <a:pt x="2411" y="1864"/>
                        </a:lnTo>
                        <a:lnTo>
                          <a:pt x="2477" y="1886"/>
                        </a:lnTo>
                        <a:lnTo>
                          <a:pt x="2537" y="1910"/>
                        </a:lnTo>
                        <a:lnTo>
                          <a:pt x="2549" y="1856"/>
                        </a:lnTo>
                        <a:lnTo>
                          <a:pt x="2551" y="1802"/>
                        </a:lnTo>
                        <a:lnTo>
                          <a:pt x="2547" y="1736"/>
                        </a:lnTo>
                        <a:lnTo>
                          <a:pt x="2531" y="1672"/>
                        </a:lnTo>
                        <a:lnTo>
                          <a:pt x="2507" y="1613"/>
                        </a:lnTo>
                        <a:lnTo>
                          <a:pt x="2473" y="1559"/>
                        </a:lnTo>
                        <a:lnTo>
                          <a:pt x="2433" y="1509"/>
                        </a:lnTo>
                        <a:lnTo>
                          <a:pt x="2387" y="1467"/>
                        </a:lnTo>
                        <a:lnTo>
                          <a:pt x="2333" y="1431"/>
                        </a:lnTo>
                        <a:lnTo>
                          <a:pt x="2275" y="1401"/>
                        </a:lnTo>
                        <a:lnTo>
                          <a:pt x="2214" y="1383"/>
                        </a:lnTo>
                        <a:lnTo>
                          <a:pt x="2202" y="1423"/>
                        </a:lnTo>
                        <a:lnTo>
                          <a:pt x="2190" y="1465"/>
                        </a:lnTo>
                        <a:lnTo>
                          <a:pt x="2172" y="1509"/>
                        </a:lnTo>
                        <a:lnTo>
                          <a:pt x="2152" y="1553"/>
                        </a:lnTo>
                        <a:lnTo>
                          <a:pt x="2126" y="1595"/>
                        </a:lnTo>
                        <a:lnTo>
                          <a:pt x="2096" y="1635"/>
                        </a:lnTo>
                        <a:lnTo>
                          <a:pt x="2062" y="1670"/>
                        </a:lnTo>
                        <a:lnTo>
                          <a:pt x="2022" y="1700"/>
                        </a:lnTo>
                        <a:lnTo>
                          <a:pt x="1990" y="1714"/>
                        </a:lnTo>
                        <a:lnTo>
                          <a:pt x="1956" y="1720"/>
                        </a:lnTo>
                        <a:lnTo>
                          <a:pt x="1926" y="1716"/>
                        </a:lnTo>
                        <a:lnTo>
                          <a:pt x="1898" y="1704"/>
                        </a:lnTo>
                        <a:lnTo>
                          <a:pt x="1875" y="1688"/>
                        </a:lnTo>
                        <a:lnTo>
                          <a:pt x="1855" y="1664"/>
                        </a:lnTo>
                        <a:lnTo>
                          <a:pt x="1841" y="1637"/>
                        </a:lnTo>
                        <a:lnTo>
                          <a:pt x="1835" y="1605"/>
                        </a:lnTo>
                        <a:lnTo>
                          <a:pt x="1837" y="1575"/>
                        </a:lnTo>
                        <a:lnTo>
                          <a:pt x="1849" y="1547"/>
                        </a:lnTo>
                        <a:lnTo>
                          <a:pt x="1865" y="1521"/>
                        </a:lnTo>
                        <a:lnTo>
                          <a:pt x="1890" y="1499"/>
                        </a:lnTo>
                        <a:lnTo>
                          <a:pt x="1912" y="1479"/>
                        </a:lnTo>
                        <a:lnTo>
                          <a:pt x="1932" y="1449"/>
                        </a:lnTo>
                        <a:lnTo>
                          <a:pt x="1950" y="1413"/>
                        </a:lnTo>
                        <a:lnTo>
                          <a:pt x="1964" y="1375"/>
                        </a:lnTo>
                        <a:lnTo>
                          <a:pt x="1974" y="1334"/>
                        </a:lnTo>
                        <a:lnTo>
                          <a:pt x="1982" y="1296"/>
                        </a:lnTo>
                        <a:lnTo>
                          <a:pt x="1988" y="1260"/>
                        </a:lnTo>
                        <a:lnTo>
                          <a:pt x="1986" y="1252"/>
                        </a:lnTo>
                        <a:lnTo>
                          <a:pt x="1986" y="1244"/>
                        </a:lnTo>
                        <a:lnTo>
                          <a:pt x="1986" y="1234"/>
                        </a:lnTo>
                        <a:lnTo>
                          <a:pt x="1990" y="1174"/>
                        </a:lnTo>
                        <a:lnTo>
                          <a:pt x="1984" y="1108"/>
                        </a:lnTo>
                        <a:lnTo>
                          <a:pt x="1968" y="1044"/>
                        </a:lnTo>
                        <a:lnTo>
                          <a:pt x="1944" y="985"/>
                        </a:lnTo>
                        <a:lnTo>
                          <a:pt x="1910" y="929"/>
                        </a:lnTo>
                        <a:lnTo>
                          <a:pt x="1871" y="879"/>
                        </a:lnTo>
                        <a:lnTo>
                          <a:pt x="1823" y="837"/>
                        </a:lnTo>
                        <a:lnTo>
                          <a:pt x="1769" y="801"/>
                        </a:lnTo>
                        <a:lnTo>
                          <a:pt x="1711" y="773"/>
                        </a:lnTo>
                        <a:lnTo>
                          <a:pt x="1647" y="753"/>
                        </a:lnTo>
                        <a:lnTo>
                          <a:pt x="1641" y="811"/>
                        </a:lnTo>
                        <a:lnTo>
                          <a:pt x="1631" y="875"/>
                        </a:lnTo>
                        <a:lnTo>
                          <a:pt x="1617" y="945"/>
                        </a:lnTo>
                        <a:lnTo>
                          <a:pt x="1595" y="1017"/>
                        </a:lnTo>
                        <a:lnTo>
                          <a:pt x="1569" y="1088"/>
                        </a:lnTo>
                        <a:lnTo>
                          <a:pt x="1533" y="1162"/>
                        </a:lnTo>
                        <a:lnTo>
                          <a:pt x="1492" y="1232"/>
                        </a:lnTo>
                        <a:lnTo>
                          <a:pt x="1438" y="1298"/>
                        </a:lnTo>
                        <a:lnTo>
                          <a:pt x="1380" y="1353"/>
                        </a:lnTo>
                        <a:lnTo>
                          <a:pt x="1316" y="1401"/>
                        </a:lnTo>
                        <a:lnTo>
                          <a:pt x="1246" y="1441"/>
                        </a:lnTo>
                        <a:lnTo>
                          <a:pt x="1172" y="1473"/>
                        </a:lnTo>
                        <a:lnTo>
                          <a:pt x="1091" y="1495"/>
                        </a:lnTo>
                        <a:lnTo>
                          <a:pt x="1005" y="1509"/>
                        </a:lnTo>
                        <a:lnTo>
                          <a:pt x="973" y="1563"/>
                        </a:lnTo>
                        <a:lnTo>
                          <a:pt x="933" y="1609"/>
                        </a:lnTo>
                        <a:lnTo>
                          <a:pt x="887" y="1646"/>
                        </a:lnTo>
                        <a:lnTo>
                          <a:pt x="837" y="1678"/>
                        </a:lnTo>
                        <a:lnTo>
                          <a:pt x="782" y="1700"/>
                        </a:lnTo>
                        <a:lnTo>
                          <a:pt x="724" y="1714"/>
                        </a:lnTo>
                        <a:lnTo>
                          <a:pt x="662" y="1720"/>
                        </a:lnTo>
                        <a:lnTo>
                          <a:pt x="600" y="1714"/>
                        </a:lnTo>
                        <a:lnTo>
                          <a:pt x="536" y="1698"/>
                        </a:lnTo>
                        <a:lnTo>
                          <a:pt x="508" y="1684"/>
                        </a:lnTo>
                        <a:lnTo>
                          <a:pt x="484" y="1662"/>
                        </a:lnTo>
                        <a:lnTo>
                          <a:pt x="468" y="1637"/>
                        </a:lnTo>
                        <a:lnTo>
                          <a:pt x="458" y="1609"/>
                        </a:lnTo>
                        <a:lnTo>
                          <a:pt x="456" y="1579"/>
                        </a:lnTo>
                        <a:lnTo>
                          <a:pt x="462" y="1547"/>
                        </a:lnTo>
                        <a:lnTo>
                          <a:pt x="476" y="1519"/>
                        </a:lnTo>
                        <a:lnTo>
                          <a:pt x="498" y="1495"/>
                        </a:lnTo>
                        <a:lnTo>
                          <a:pt x="524" y="1479"/>
                        </a:lnTo>
                        <a:lnTo>
                          <a:pt x="554" y="1469"/>
                        </a:lnTo>
                        <a:lnTo>
                          <a:pt x="584" y="1467"/>
                        </a:lnTo>
                        <a:lnTo>
                          <a:pt x="618" y="1473"/>
                        </a:lnTo>
                        <a:lnTo>
                          <a:pt x="654" y="1481"/>
                        </a:lnTo>
                        <a:lnTo>
                          <a:pt x="690" y="1479"/>
                        </a:lnTo>
                        <a:lnTo>
                          <a:pt x="724" y="1467"/>
                        </a:lnTo>
                        <a:lnTo>
                          <a:pt x="754" y="1447"/>
                        </a:lnTo>
                        <a:lnTo>
                          <a:pt x="780" y="1421"/>
                        </a:lnTo>
                        <a:lnTo>
                          <a:pt x="795" y="1387"/>
                        </a:lnTo>
                        <a:lnTo>
                          <a:pt x="803" y="1351"/>
                        </a:lnTo>
                        <a:lnTo>
                          <a:pt x="801" y="1316"/>
                        </a:lnTo>
                        <a:lnTo>
                          <a:pt x="790" y="1284"/>
                        </a:lnTo>
                        <a:lnTo>
                          <a:pt x="770" y="1254"/>
                        </a:lnTo>
                        <a:lnTo>
                          <a:pt x="742" y="1230"/>
                        </a:lnTo>
                        <a:lnTo>
                          <a:pt x="710" y="1212"/>
                        </a:lnTo>
                        <a:lnTo>
                          <a:pt x="680" y="1198"/>
                        </a:lnTo>
                        <a:lnTo>
                          <a:pt x="656" y="1178"/>
                        </a:lnTo>
                        <a:lnTo>
                          <a:pt x="640" y="1152"/>
                        </a:lnTo>
                        <a:lnTo>
                          <a:pt x="630" y="1122"/>
                        </a:lnTo>
                        <a:lnTo>
                          <a:pt x="628" y="1092"/>
                        </a:lnTo>
                        <a:lnTo>
                          <a:pt x="634" y="1060"/>
                        </a:lnTo>
                        <a:lnTo>
                          <a:pt x="650" y="1033"/>
                        </a:lnTo>
                        <a:lnTo>
                          <a:pt x="670" y="1009"/>
                        </a:lnTo>
                        <a:lnTo>
                          <a:pt x="696" y="993"/>
                        </a:lnTo>
                        <a:lnTo>
                          <a:pt x="726" y="983"/>
                        </a:lnTo>
                        <a:lnTo>
                          <a:pt x="758" y="981"/>
                        </a:lnTo>
                        <a:lnTo>
                          <a:pt x="790" y="987"/>
                        </a:lnTo>
                        <a:lnTo>
                          <a:pt x="843" y="1011"/>
                        </a:lnTo>
                        <a:lnTo>
                          <a:pt x="891" y="1041"/>
                        </a:lnTo>
                        <a:lnTo>
                          <a:pt x="933" y="1076"/>
                        </a:lnTo>
                        <a:lnTo>
                          <a:pt x="969" y="1118"/>
                        </a:lnTo>
                        <a:lnTo>
                          <a:pt x="999" y="1164"/>
                        </a:lnTo>
                        <a:lnTo>
                          <a:pt x="1021" y="1212"/>
                        </a:lnTo>
                        <a:lnTo>
                          <a:pt x="1037" y="1266"/>
                        </a:lnTo>
                        <a:lnTo>
                          <a:pt x="1101" y="1246"/>
                        </a:lnTo>
                        <a:lnTo>
                          <a:pt x="1158" y="1218"/>
                        </a:lnTo>
                        <a:lnTo>
                          <a:pt x="1210" y="1184"/>
                        </a:lnTo>
                        <a:lnTo>
                          <a:pt x="1256" y="1140"/>
                        </a:lnTo>
                        <a:lnTo>
                          <a:pt x="1296" y="1088"/>
                        </a:lnTo>
                        <a:lnTo>
                          <a:pt x="1328" y="1033"/>
                        </a:lnTo>
                        <a:lnTo>
                          <a:pt x="1354" y="973"/>
                        </a:lnTo>
                        <a:lnTo>
                          <a:pt x="1374" y="915"/>
                        </a:lnTo>
                        <a:lnTo>
                          <a:pt x="1388" y="857"/>
                        </a:lnTo>
                        <a:lnTo>
                          <a:pt x="1398" y="801"/>
                        </a:lnTo>
                        <a:lnTo>
                          <a:pt x="1404" y="751"/>
                        </a:lnTo>
                        <a:lnTo>
                          <a:pt x="1408" y="708"/>
                        </a:lnTo>
                        <a:lnTo>
                          <a:pt x="1408" y="672"/>
                        </a:lnTo>
                        <a:lnTo>
                          <a:pt x="1408" y="646"/>
                        </a:lnTo>
                        <a:lnTo>
                          <a:pt x="1384" y="592"/>
                        </a:lnTo>
                        <a:lnTo>
                          <a:pt x="1354" y="544"/>
                        </a:lnTo>
                        <a:lnTo>
                          <a:pt x="1316" y="500"/>
                        </a:lnTo>
                        <a:lnTo>
                          <a:pt x="1272" y="464"/>
                        </a:lnTo>
                        <a:lnTo>
                          <a:pt x="1222" y="435"/>
                        </a:lnTo>
                        <a:lnTo>
                          <a:pt x="1168" y="413"/>
                        </a:lnTo>
                        <a:lnTo>
                          <a:pt x="1113" y="399"/>
                        </a:lnTo>
                        <a:lnTo>
                          <a:pt x="1053" y="395"/>
                        </a:lnTo>
                        <a:lnTo>
                          <a:pt x="1011" y="397"/>
                        </a:lnTo>
                        <a:lnTo>
                          <a:pt x="969" y="405"/>
                        </a:lnTo>
                        <a:lnTo>
                          <a:pt x="929" y="419"/>
                        </a:lnTo>
                        <a:lnTo>
                          <a:pt x="917" y="458"/>
                        </a:lnTo>
                        <a:lnTo>
                          <a:pt x="903" y="504"/>
                        </a:lnTo>
                        <a:lnTo>
                          <a:pt x="885" y="554"/>
                        </a:lnTo>
                        <a:lnTo>
                          <a:pt x="863" y="606"/>
                        </a:lnTo>
                        <a:lnTo>
                          <a:pt x="835" y="658"/>
                        </a:lnTo>
                        <a:lnTo>
                          <a:pt x="803" y="710"/>
                        </a:lnTo>
                        <a:lnTo>
                          <a:pt x="766" y="757"/>
                        </a:lnTo>
                        <a:lnTo>
                          <a:pt x="722" y="799"/>
                        </a:lnTo>
                        <a:lnTo>
                          <a:pt x="672" y="833"/>
                        </a:lnTo>
                        <a:lnTo>
                          <a:pt x="640" y="847"/>
                        </a:lnTo>
                        <a:lnTo>
                          <a:pt x="610" y="851"/>
                        </a:lnTo>
                        <a:lnTo>
                          <a:pt x="578" y="847"/>
                        </a:lnTo>
                        <a:lnTo>
                          <a:pt x="550" y="835"/>
                        </a:lnTo>
                        <a:lnTo>
                          <a:pt x="524" y="817"/>
                        </a:lnTo>
                        <a:lnTo>
                          <a:pt x="504" y="791"/>
                        </a:lnTo>
                        <a:lnTo>
                          <a:pt x="492" y="763"/>
                        </a:lnTo>
                        <a:lnTo>
                          <a:pt x="488" y="732"/>
                        </a:lnTo>
                        <a:lnTo>
                          <a:pt x="492" y="702"/>
                        </a:lnTo>
                        <a:lnTo>
                          <a:pt x="502" y="674"/>
                        </a:lnTo>
                        <a:lnTo>
                          <a:pt x="522" y="650"/>
                        </a:lnTo>
                        <a:lnTo>
                          <a:pt x="548" y="630"/>
                        </a:lnTo>
                        <a:lnTo>
                          <a:pt x="578" y="606"/>
                        </a:lnTo>
                        <a:lnTo>
                          <a:pt x="606" y="572"/>
                        </a:lnTo>
                        <a:lnTo>
                          <a:pt x="630" y="534"/>
                        </a:lnTo>
                        <a:lnTo>
                          <a:pt x="650" y="490"/>
                        </a:lnTo>
                        <a:lnTo>
                          <a:pt x="668" y="444"/>
                        </a:lnTo>
                        <a:lnTo>
                          <a:pt x="684" y="399"/>
                        </a:lnTo>
                        <a:lnTo>
                          <a:pt x="694" y="355"/>
                        </a:lnTo>
                        <a:lnTo>
                          <a:pt x="664" y="315"/>
                        </a:lnTo>
                        <a:lnTo>
                          <a:pt x="628" y="283"/>
                        </a:lnTo>
                        <a:lnTo>
                          <a:pt x="584" y="259"/>
                        </a:lnTo>
                        <a:lnTo>
                          <a:pt x="538" y="245"/>
                        </a:lnTo>
                        <a:lnTo>
                          <a:pt x="488" y="239"/>
                        </a:lnTo>
                        <a:close/>
                        <a:moveTo>
                          <a:pt x="488" y="0"/>
                        </a:moveTo>
                        <a:lnTo>
                          <a:pt x="562" y="6"/>
                        </a:lnTo>
                        <a:lnTo>
                          <a:pt x="634" y="22"/>
                        </a:lnTo>
                        <a:lnTo>
                          <a:pt x="702" y="50"/>
                        </a:lnTo>
                        <a:lnTo>
                          <a:pt x="766" y="86"/>
                        </a:lnTo>
                        <a:lnTo>
                          <a:pt x="821" y="130"/>
                        </a:lnTo>
                        <a:lnTo>
                          <a:pt x="871" y="183"/>
                        </a:lnTo>
                        <a:lnTo>
                          <a:pt x="931" y="167"/>
                        </a:lnTo>
                        <a:lnTo>
                          <a:pt x="991" y="159"/>
                        </a:lnTo>
                        <a:lnTo>
                          <a:pt x="1053" y="155"/>
                        </a:lnTo>
                        <a:lnTo>
                          <a:pt x="1133" y="161"/>
                        </a:lnTo>
                        <a:lnTo>
                          <a:pt x="1208" y="175"/>
                        </a:lnTo>
                        <a:lnTo>
                          <a:pt x="1282" y="199"/>
                        </a:lnTo>
                        <a:lnTo>
                          <a:pt x="1352" y="233"/>
                        </a:lnTo>
                        <a:lnTo>
                          <a:pt x="1418" y="273"/>
                        </a:lnTo>
                        <a:lnTo>
                          <a:pt x="1476" y="323"/>
                        </a:lnTo>
                        <a:lnTo>
                          <a:pt x="1529" y="377"/>
                        </a:lnTo>
                        <a:lnTo>
                          <a:pt x="1575" y="439"/>
                        </a:lnTo>
                        <a:lnTo>
                          <a:pt x="1613" y="506"/>
                        </a:lnTo>
                        <a:lnTo>
                          <a:pt x="1703" y="520"/>
                        </a:lnTo>
                        <a:lnTo>
                          <a:pt x="1789" y="546"/>
                        </a:lnTo>
                        <a:lnTo>
                          <a:pt x="1869" y="582"/>
                        </a:lnTo>
                        <a:lnTo>
                          <a:pt x="1942" y="626"/>
                        </a:lnTo>
                        <a:lnTo>
                          <a:pt x="2010" y="680"/>
                        </a:lnTo>
                        <a:lnTo>
                          <a:pt x="2072" y="742"/>
                        </a:lnTo>
                        <a:lnTo>
                          <a:pt x="2124" y="811"/>
                        </a:lnTo>
                        <a:lnTo>
                          <a:pt x="2166" y="885"/>
                        </a:lnTo>
                        <a:lnTo>
                          <a:pt x="2200" y="967"/>
                        </a:lnTo>
                        <a:lnTo>
                          <a:pt x="2222" y="1052"/>
                        </a:lnTo>
                        <a:lnTo>
                          <a:pt x="2232" y="1142"/>
                        </a:lnTo>
                        <a:lnTo>
                          <a:pt x="2317" y="1162"/>
                        </a:lnTo>
                        <a:lnTo>
                          <a:pt x="2397" y="1192"/>
                        </a:lnTo>
                        <a:lnTo>
                          <a:pt x="2473" y="1234"/>
                        </a:lnTo>
                        <a:lnTo>
                          <a:pt x="2543" y="1282"/>
                        </a:lnTo>
                        <a:lnTo>
                          <a:pt x="2605" y="1338"/>
                        </a:lnTo>
                        <a:lnTo>
                          <a:pt x="2658" y="1401"/>
                        </a:lnTo>
                        <a:lnTo>
                          <a:pt x="2706" y="1473"/>
                        </a:lnTo>
                        <a:lnTo>
                          <a:pt x="2744" y="1549"/>
                        </a:lnTo>
                        <a:lnTo>
                          <a:pt x="2770" y="1629"/>
                        </a:lnTo>
                        <a:lnTo>
                          <a:pt x="2788" y="1714"/>
                        </a:lnTo>
                        <a:lnTo>
                          <a:pt x="2794" y="1802"/>
                        </a:lnTo>
                        <a:lnTo>
                          <a:pt x="2790" y="1882"/>
                        </a:lnTo>
                        <a:lnTo>
                          <a:pt x="2776" y="1959"/>
                        </a:lnTo>
                        <a:lnTo>
                          <a:pt x="2752" y="2035"/>
                        </a:lnTo>
                        <a:lnTo>
                          <a:pt x="2832" y="2097"/>
                        </a:lnTo>
                        <a:lnTo>
                          <a:pt x="2904" y="2167"/>
                        </a:lnTo>
                        <a:lnTo>
                          <a:pt x="2970" y="2242"/>
                        </a:lnTo>
                        <a:lnTo>
                          <a:pt x="3023" y="2326"/>
                        </a:lnTo>
                        <a:lnTo>
                          <a:pt x="3071" y="2412"/>
                        </a:lnTo>
                        <a:lnTo>
                          <a:pt x="3107" y="2506"/>
                        </a:lnTo>
                        <a:lnTo>
                          <a:pt x="3135" y="2601"/>
                        </a:lnTo>
                        <a:lnTo>
                          <a:pt x="3151" y="2701"/>
                        </a:lnTo>
                        <a:lnTo>
                          <a:pt x="3157" y="2803"/>
                        </a:lnTo>
                        <a:lnTo>
                          <a:pt x="3151" y="2902"/>
                        </a:lnTo>
                        <a:lnTo>
                          <a:pt x="3135" y="2998"/>
                        </a:lnTo>
                        <a:lnTo>
                          <a:pt x="3109" y="3094"/>
                        </a:lnTo>
                        <a:lnTo>
                          <a:pt x="3073" y="3185"/>
                        </a:lnTo>
                        <a:lnTo>
                          <a:pt x="3027" y="3273"/>
                        </a:lnTo>
                        <a:lnTo>
                          <a:pt x="3073" y="3353"/>
                        </a:lnTo>
                        <a:lnTo>
                          <a:pt x="3109" y="3436"/>
                        </a:lnTo>
                        <a:lnTo>
                          <a:pt x="3135" y="3524"/>
                        </a:lnTo>
                        <a:lnTo>
                          <a:pt x="3151" y="3614"/>
                        </a:lnTo>
                        <a:lnTo>
                          <a:pt x="3157" y="3708"/>
                        </a:lnTo>
                        <a:lnTo>
                          <a:pt x="3151" y="3797"/>
                        </a:lnTo>
                        <a:lnTo>
                          <a:pt x="3135" y="3887"/>
                        </a:lnTo>
                        <a:lnTo>
                          <a:pt x="3111" y="3971"/>
                        </a:lnTo>
                        <a:lnTo>
                          <a:pt x="3077" y="4052"/>
                        </a:lnTo>
                        <a:lnTo>
                          <a:pt x="3033" y="4130"/>
                        </a:lnTo>
                        <a:lnTo>
                          <a:pt x="2981" y="4202"/>
                        </a:lnTo>
                        <a:lnTo>
                          <a:pt x="2924" y="4268"/>
                        </a:lnTo>
                        <a:lnTo>
                          <a:pt x="2856" y="4328"/>
                        </a:lnTo>
                        <a:lnTo>
                          <a:pt x="2782" y="4379"/>
                        </a:lnTo>
                        <a:lnTo>
                          <a:pt x="2824" y="4473"/>
                        </a:lnTo>
                        <a:lnTo>
                          <a:pt x="2854" y="4571"/>
                        </a:lnTo>
                        <a:lnTo>
                          <a:pt x="2872" y="4672"/>
                        </a:lnTo>
                        <a:lnTo>
                          <a:pt x="2878" y="4774"/>
                        </a:lnTo>
                        <a:lnTo>
                          <a:pt x="2872" y="4874"/>
                        </a:lnTo>
                        <a:lnTo>
                          <a:pt x="2856" y="4967"/>
                        </a:lnTo>
                        <a:lnTo>
                          <a:pt x="2830" y="5059"/>
                        </a:lnTo>
                        <a:lnTo>
                          <a:pt x="2794" y="5147"/>
                        </a:lnTo>
                        <a:lnTo>
                          <a:pt x="2750" y="5230"/>
                        </a:lnTo>
                        <a:lnTo>
                          <a:pt x="2696" y="5308"/>
                        </a:lnTo>
                        <a:lnTo>
                          <a:pt x="2636" y="5378"/>
                        </a:lnTo>
                        <a:lnTo>
                          <a:pt x="2569" y="5444"/>
                        </a:lnTo>
                        <a:lnTo>
                          <a:pt x="2493" y="5502"/>
                        </a:lnTo>
                        <a:lnTo>
                          <a:pt x="2411" y="5551"/>
                        </a:lnTo>
                        <a:lnTo>
                          <a:pt x="2325" y="5591"/>
                        </a:lnTo>
                        <a:lnTo>
                          <a:pt x="2232" y="5623"/>
                        </a:lnTo>
                        <a:lnTo>
                          <a:pt x="2224" y="5713"/>
                        </a:lnTo>
                        <a:lnTo>
                          <a:pt x="2206" y="5799"/>
                        </a:lnTo>
                        <a:lnTo>
                          <a:pt x="2176" y="5880"/>
                        </a:lnTo>
                        <a:lnTo>
                          <a:pt x="2136" y="5956"/>
                        </a:lnTo>
                        <a:lnTo>
                          <a:pt x="2086" y="6026"/>
                        </a:lnTo>
                        <a:lnTo>
                          <a:pt x="2028" y="6090"/>
                        </a:lnTo>
                        <a:lnTo>
                          <a:pt x="1962" y="6145"/>
                        </a:lnTo>
                        <a:lnTo>
                          <a:pt x="1890" y="6193"/>
                        </a:lnTo>
                        <a:lnTo>
                          <a:pt x="1813" y="6231"/>
                        </a:lnTo>
                        <a:lnTo>
                          <a:pt x="1729" y="6259"/>
                        </a:lnTo>
                        <a:lnTo>
                          <a:pt x="1641" y="6277"/>
                        </a:lnTo>
                        <a:lnTo>
                          <a:pt x="1549" y="6283"/>
                        </a:lnTo>
                        <a:lnTo>
                          <a:pt x="1478" y="6279"/>
                        </a:lnTo>
                        <a:lnTo>
                          <a:pt x="1408" y="6267"/>
                        </a:lnTo>
                        <a:lnTo>
                          <a:pt x="1338" y="6249"/>
                        </a:lnTo>
                        <a:lnTo>
                          <a:pt x="1272" y="6225"/>
                        </a:lnTo>
                        <a:lnTo>
                          <a:pt x="1228" y="6289"/>
                        </a:lnTo>
                        <a:lnTo>
                          <a:pt x="1178" y="6349"/>
                        </a:lnTo>
                        <a:lnTo>
                          <a:pt x="1121" y="6401"/>
                        </a:lnTo>
                        <a:lnTo>
                          <a:pt x="1059" y="6446"/>
                        </a:lnTo>
                        <a:lnTo>
                          <a:pt x="991" y="6484"/>
                        </a:lnTo>
                        <a:lnTo>
                          <a:pt x="919" y="6514"/>
                        </a:lnTo>
                        <a:lnTo>
                          <a:pt x="843" y="6538"/>
                        </a:lnTo>
                        <a:lnTo>
                          <a:pt x="766" y="6552"/>
                        </a:lnTo>
                        <a:lnTo>
                          <a:pt x="684" y="6556"/>
                        </a:lnTo>
                        <a:lnTo>
                          <a:pt x="590" y="6550"/>
                        </a:lnTo>
                        <a:lnTo>
                          <a:pt x="502" y="6532"/>
                        </a:lnTo>
                        <a:lnTo>
                          <a:pt x="419" y="6502"/>
                        </a:lnTo>
                        <a:lnTo>
                          <a:pt x="339" y="6464"/>
                        </a:lnTo>
                        <a:lnTo>
                          <a:pt x="267" y="6417"/>
                        </a:lnTo>
                        <a:lnTo>
                          <a:pt x="201" y="6359"/>
                        </a:lnTo>
                        <a:lnTo>
                          <a:pt x="143" y="6295"/>
                        </a:lnTo>
                        <a:lnTo>
                          <a:pt x="93" y="6223"/>
                        </a:lnTo>
                        <a:lnTo>
                          <a:pt x="54" y="6145"/>
                        </a:lnTo>
                        <a:lnTo>
                          <a:pt x="26" y="6064"/>
                        </a:lnTo>
                        <a:lnTo>
                          <a:pt x="8" y="5976"/>
                        </a:lnTo>
                        <a:lnTo>
                          <a:pt x="0" y="5884"/>
                        </a:lnTo>
                        <a:lnTo>
                          <a:pt x="0" y="5065"/>
                        </a:lnTo>
                        <a:lnTo>
                          <a:pt x="4" y="4991"/>
                        </a:lnTo>
                        <a:lnTo>
                          <a:pt x="16" y="4918"/>
                        </a:lnTo>
                        <a:lnTo>
                          <a:pt x="36" y="4848"/>
                        </a:lnTo>
                        <a:lnTo>
                          <a:pt x="62" y="4778"/>
                        </a:lnTo>
                        <a:lnTo>
                          <a:pt x="95" y="4712"/>
                        </a:lnTo>
                        <a:lnTo>
                          <a:pt x="54" y="4627"/>
                        </a:lnTo>
                        <a:lnTo>
                          <a:pt x="24" y="4539"/>
                        </a:lnTo>
                        <a:lnTo>
                          <a:pt x="6" y="4445"/>
                        </a:lnTo>
                        <a:lnTo>
                          <a:pt x="0" y="4349"/>
                        </a:lnTo>
                        <a:lnTo>
                          <a:pt x="0" y="3295"/>
                        </a:lnTo>
                        <a:lnTo>
                          <a:pt x="6" y="3203"/>
                        </a:lnTo>
                        <a:lnTo>
                          <a:pt x="24" y="3114"/>
                        </a:lnTo>
                        <a:lnTo>
                          <a:pt x="50" y="3028"/>
                        </a:lnTo>
                        <a:lnTo>
                          <a:pt x="87" y="2946"/>
                        </a:lnTo>
                        <a:lnTo>
                          <a:pt x="133" y="2870"/>
                        </a:lnTo>
                        <a:lnTo>
                          <a:pt x="187" y="2799"/>
                        </a:lnTo>
                        <a:lnTo>
                          <a:pt x="251" y="2735"/>
                        </a:lnTo>
                        <a:lnTo>
                          <a:pt x="189" y="2673"/>
                        </a:lnTo>
                        <a:lnTo>
                          <a:pt x="133" y="2605"/>
                        </a:lnTo>
                        <a:lnTo>
                          <a:pt x="87" y="2532"/>
                        </a:lnTo>
                        <a:lnTo>
                          <a:pt x="50" y="2452"/>
                        </a:lnTo>
                        <a:lnTo>
                          <a:pt x="24" y="2370"/>
                        </a:lnTo>
                        <a:lnTo>
                          <a:pt x="6" y="2282"/>
                        </a:lnTo>
                        <a:lnTo>
                          <a:pt x="0" y="2195"/>
                        </a:lnTo>
                        <a:lnTo>
                          <a:pt x="0" y="480"/>
                        </a:lnTo>
                        <a:lnTo>
                          <a:pt x="6" y="409"/>
                        </a:lnTo>
                        <a:lnTo>
                          <a:pt x="22" y="341"/>
                        </a:lnTo>
                        <a:lnTo>
                          <a:pt x="46" y="277"/>
                        </a:lnTo>
                        <a:lnTo>
                          <a:pt x="79" y="219"/>
                        </a:lnTo>
                        <a:lnTo>
                          <a:pt x="121" y="165"/>
                        </a:lnTo>
                        <a:lnTo>
                          <a:pt x="169" y="118"/>
                        </a:lnTo>
                        <a:lnTo>
                          <a:pt x="223" y="78"/>
                        </a:lnTo>
                        <a:lnTo>
                          <a:pt x="283" y="46"/>
                        </a:lnTo>
                        <a:lnTo>
                          <a:pt x="349" y="20"/>
                        </a:lnTo>
                        <a:lnTo>
                          <a:pt x="417" y="6"/>
                        </a:lnTo>
                        <a:lnTo>
                          <a:pt x="4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025" name="Freeform 31">
                    <a:extLst>
                      <a:ext uri="{FF2B5EF4-FFF2-40B4-BE49-F238E27FC236}">
                        <a16:creationId xmlns:a16="http://schemas.microsoft.com/office/drawing/2014/main" id="{D9F486D4-5ADD-8833-4CFF-E398D79DC8ED}"/>
                      </a:ext>
                    </a:extLst>
                  </p:cNvPr>
                  <p:cNvSpPr>
                    <a:spLocks noEditPoints="1"/>
                  </p:cNvSpPr>
                  <p:nvPr/>
                </p:nvSpPr>
                <p:spPr bwMode="auto">
                  <a:xfrm>
                    <a:off x="10374633" y="1122363"/>
                    <a:ext cx="2505076" cy="5203825"/>
                  </a:xfrm>
                  <a:custGeom>
                    <a:avLst/>
                    <a:gdLst>
                      <a:gd name="T0" fmla="*/ 2665 w 3155"/>
                      <a:gd name="T1" fmla="*/ 702 h 6556"/>
                      <a:gd name="T2" fmla="*/ 2252 w 3155"/>
                      <a:gd name="T3" fmla="*/ 504 h 6556"/>
                      <a:gd name="T4" fmla="*/ 1753 w 3155"/>
                      <a:gd name="T5" fmla="*/ 751 h 6556"/>
                      <a:gd name="T6" fmla="*/ 2266 w 3155"/>
                      <a:gd name="T7" fmla="*/ 1041 h 6556"/>
                      <a:gd name="T8" fmla="*/ 2387 w 3155"/>
                      <a:gd name="T9" fmla="*/ 1254 h 6556"/>
                      <a:gd name="T10" fmla="*/ 2695 w 3155"/>
                      <a:gd name="T11" fmla="*/ 1547 h 6556"/>
                      <a:gd name="T12" fmla="*/ 2066 w 3155"/>
                      <a:gd name="T13" fmla="*/ 1495 h 6556"/>
                      <a:gd name="T14" fmla="*/ 1334 w 3155"/>
                      <a:gd name="T15" fmla="*/ 837 h 6556"/>
                      <a:gd name="T16" fmla="*/ 1245 w 3155"/>
                      <a:gd name="T17" fmla="*/ 1479 h 6556"/>
                      <a:gd name="T18" fmla="*/ 1031 w 3155"/>
                      <a:gd name="T19" fmla="*/ 1595 h 6556"/>
                      <a:gd name="T20" fmla="*/ 618 w 3155"/>
                      <a:gd name="T21" fmla="*/ 1910 h 6556"/>
                      <a:gd name="T22" fmla="*/ 1865 w 3155"/>
                      <a:gd name="T23" fmla="*/ 1904 h 6556"/>
                      <a:gd name="T24" fmla="*/ 2126 w 3155"/>
                      <a:gd name="T25" fmla="*/ 2284 h 6556"/>
                      <a:gd name="T26" fmla="*/ 1504 w 3155"/>
                      <a:gd name="T27" fmla="*/ 2414 h 6556"/>
                      <a:gd name="T28" fmla="*/ 1426 w 3155"/>
                      <a:gd name="T29" fmla="*/ 2852 h 6556"/>
                      <a:gd name="T30" fmla="*/ 991 w 3155"/>
                      <a:gd name="T31" fmla="*/ 2069 h 6556"/>
                      <a:gd name="T32" fmla="*/ 477 w 3155"/>
                      <a:gd name="T33" fmla="*/ 2282 h 6556"/>
                      <a:gd name="T34" fmla="*/ 582 w 3155"/>
                      <a:gd name="T35" fmla="*/ 2888 h 6556"/>
                      <a:gd name="T36" fmla="*/ 1085 w 3155"/>
                      <a:gd name="T37" fmla="*/ 2719 h 6556"/>
                      <a:gd name="T38" fmla="*/ 947 w 3155"/>
                      <a:gd name="T39" fmla="*/ 3361 h 6556"/>
                      <a:gd name="T40" fmla="*/ 632 w 3155"/>
                      <a:gd name="T41" fmla="*/ 3383 h 6556"/>
                      <a:gd name="T42" fmla="*/ 263 w 3155"/>
                      <a:gd name="T43" fmla="*/ 3554 h 6556"/>
                      <a:gd name="T44" fmla="*/ 852 w 3155"/>
                      <a:gd name="T45" fmla="*/ 3877 h 6556"/>
                      <a:gd name="T46" fmla="*/ 1514 w 3155"/>
                      <a:gd name="T47" fmla="*/ 3431 h 6556"/>
                      <a:gd name="T48" fmla="*/ 1410 w 3155"/>
                      <a:gd name="T49" fmla="*/ 4110 h 6556"/>
                      <a:gd name="T50" fmla="*/ 2256 w 3155"/>
                      <a:gd name="T51" fmla="*/ 4110 h 6556"/>
                      <a:gd name="T52" fmla="*/ 1807 w 3155"/>
                      <a:gd name="T53" fmla="*/ 3433 h 6556"/>
                      <a:gd name="T54" fmla="*/ 2010 w 3155"/>
                      <a:gd name="T55" fmla="*/ 3054 h 6556"/>
                      <a:gd name="T56" fmla="*/ 2423 w 3155"/>
                      <a:gd name="T57" fmla="*/ 3371 h 6556"/>
                      <a:gd name="T58" fmla="*/ 2639 w 3155"/>
                      <a:gd name="T59" fmla="*/ 3488 h 6556"/>
                      <a:gd name="T60" fmla="*/ 2180 w 3155"/>
                      <a:gd name="T61" fmla="*/ 4557 h 6556"/>
                      <a:gd name="T62" fmla="*/ 1151 w 3155"/>
                      <a:gd name="T63" fmla="*/ 4054 h 6556"/>
                      <a:gd name="T64" fmla="*/ 642 w 3155"/>
                      <a:gd name="T65" fmla="*/ 4401 h 6556"/>
                      <a:gd name="T66" fmla="*/ 937 w 3155"/>
                      <a:gd name="T67" fmla="*/ 5376 h 6556"/>
                      <a:gd name="T68" fmla="*/ 1286 w 3155"/>
                      <a:gd name="T69" fmla="*/ 4967 h 6556"/>
                      <a:gd name="T70" fmla="*/ 1177 w 3155"/>
                      <a:gd name="T71" fmla="*/ 5410 h 6556"/>
                      <a:gd name="T72" fmla="*/ 1404 w 3155"/>
                      <a:gd name="T73" fmla="*/ 5996 h 6556"/>
                      <a:gd name="T74" fmla="*/ 1853 w 3155"/>
                      <a:gd name="T75" fmla="*/ 5378 h 6556"/>
                      <a:gd name="T76" fmla="*/ 2116 w 3155"/>
                      <a:gd name="T77" fmla="*/ 5045 h 6556"/>
                      <a:gd name="T78" fmla="*/ 2326 w 3155"/>
                      <a:gd name="T79" fmla="*/ 5342 h 6556"/>
                      <a:gd name="T80" fmla="*/ 2401 w 3155"/>
                      <a:gd name="T81" fmla="*/ 5577 h 6556"/>
                      <a:gd name="T82" fmla="*/ 2020 w 3155"/>
                      <a:gd name="T83" fmla="*/ 5962 h 6556"/>
                      <a:gd name="T84" fmla="*/ 2473 w 3155"/>
                      <a:gd name="T85" fmla="*/ 6317 h 6556"/>
                      <a:gd name="T86" fmla="*/ 2788 w 3155"/>
                      <a:gd name="T87" fmla="*/ 4949 h 6556"/>
                      <a:gd name="T88" fmla="*/ 2260 w 3155"/>
                      <a:gd name="T89" fmla="*/ 4830 h 6556"/>
                      <a:gd name="T90" fmla="*/ 2890 w 3155"/>
                      <a:gd name="T91" fmla="*/ 4503 h 6556"/>
                      <a:gd name="T92" fmla="*/ 2611 w 3155"/>
                      <a:gd name="T93" fmla="*/ 2821 h 6556"/>
                      <a:gd name="T94" fmla="*/ 1959 w 3155"/>
                      <a:gd name="T95" fmla="*/ 2878 h 6556"/>
                      <a:gd name="T96" fmla="*/ 2589 w 3155"/>
                      <a:gd name="T97" fmla="*/ 2551 h 6556"/>
                      <a:gd name="T98" fmla="*/ 2804 w 3155"/>
                      <a:gd name="T99" fmla="*/ 281 h 6556"/>
                      <a:gd name="T100" fmla="*/ 3155 w 3155"/>
                      <a:gd name="T101" fmla="*/ 2195 h 6556"/>
                      <a:gd name="T102" fmla="*/ 3149 w 3155"/>
                      <a:gd name="T103" fmla="*/ 4445 h 6556"/>
                      <a:gd name="T104" fmla="*/ 2890 w 3155"/>
                      <a:gd name="T105" fmla="*/ 6417 h 6556"/>
                      <a:gd name="T106" fmla="*/ 1749 w 3155"/>
                      <a:gd name="T107" fmla="*/ 6269 h 6556"/>
                      <a:gd name="T108" fmla="*/ 744 w 3155"/>
                      <a:gd name="T109" fmla="*/ 5551 h 6556"/>
                      <a:gd name="T110" fmla="*/ 233 w 3155"/>
                      <a:gd name="T111" fmla="*/ 4268 h 6556"/>
                      <a:gd name="T112" fmla="*/ 6 w 3155"/>
                      <a:gd name="T113" fmla="*/ 2902 h 6556"/>
                      <a:gd name="T114" fmla="*/ 413 w 3155"/>
                      <a:gd name="T115" fmla="*/ 1549 h 6556"/>
                      <a:gd name="T116" fmla="*/ 1288 w 3155"/>
                      <a:gd name="T117" fmla="*/ 582 h 6556"/>
                      <a:gd name="T118" fmla="*/ 2336 w 3155"/>
                      <a:gd name="T119" fmla="*/ 130 h 6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55" h="6556">
                        <a:moveTo>
                          <a:pt x="2669" y="239"/>
                        </a:moveTo>
                        <a:lnTo>
                          <a:pt x="2619" y="243"/>
                        </a:lnTo>
                        <a:lnTo>
                          <a:pt x="2571" y="259"/>
                        </a:lnTo>
                        <a:lnTo>
                          <a:pt x="2529" y="283"/>
                        </a:lnTo>
                        <a:lnTo>
                          <a:pt x="2493" y="315"/>
                        </a:lnTo>
                        <a:lnTo>
                          <a:pt x="2461" y="355"/>
                        </a:lnTo>
                        <a:lnTo>
                          <a:pt x="2473" y="399"/>
                        </a:lnTo>
                        <a:lnTo>
                          <a:pt x="2487" y="444"/>
                        </a:lnTo>
                        <a:lnTo>
                          <a:pt x="2505" y="490"/>
                        </a:lnTo>
                        <a:lnTo>
                          <a:pt x="2527" y="534"/>
                        </a:lnTo>
                        <a:lnTo>
                          <a:pt x="2551" y="572"/>
                        </a:lnTo>
                        <a:lnTo>
                          <a:pt x="2579" y="606"/>
                        </a:lnTo>
                        <a:lnTo>
                          <a:pt x="2609" y="630"/>
                        </a:lnTo>
                        <a:lnTo>
                          <a:pt x="2635" y="648"/>
                        </a:lnTo>
                        <a:lnTo>
                          <a:pt x="2653" y="674"/>
                        </a:lnTo>
                        <a:lnTo>
                          <a:pt x="2665" y="702"/>
                        </a:lnTo>
                        <a:lnTo>
                          <a:pt x="2669" y="732"/>
                        </a:lnTo>
                        <a:lnTo>
                          <a:pt x="2665" y="763"/>
                        </a:lnTo>
                        <a:lnTo>
                          <a:pt x="2651" y="791"/>
                        </a:lnTo>
                        <a:lnTo>
                          <a:pt x="2631" y="817"/>
                        </a:lnTo>
                        <a:lnTo>
                          <a:pt x="2607" y="835"/>
                        </a:lnTo>
                        <a:lnTo>
                          <a:pt x="2577" y="847"/>
                        </a:lnTo>
                        <a:lnTo>
                          <a:pt x="2547" y="851"/>
                        </a:lnTo>
                        <a:lnTo>
                          <a:pt x="2515" y="847"/>
                        </a:lnTo>
                        <a:lnTo>
                          <a:pt x="2485" y="833"/>
                        </a:lnTo>
                        <a:lnTo>
                          <a:pt x="2435" y="799"/>
                        </a:lnTo>
                        <a:lnTo>
                          <a:pt x="2391" y="757"/>
                        </a:lnTo>
                        <a:lnTo>
                          <a:pt x="2354" y="710"/>
                        </a:lnTo>
                        <a:lnTo>
                          <a:pt x="2320" y="658"/>
                        </a:lnTo>
                        <a:lnTo>
                          <a:pt x="2294" y="606"/>
                        </a:lnTo>
                        <a:lnTo>
                          <a:pt x="2272" y="554"/>
                        </a:lnTo>
                        <a:lnTo>
                          <a:pt x="2252" y="504"/>
                        </a:lnTo>
                        <a:lnTo>
                          <a:pt x="2238" y="458"/>
                        </a:lnTo>
                        <a:lnTo>
                          <a:pt x="2228" y="419"/>
                        </a:lnTo>
                        <a:lnTo>
                          <a:pt x="2188" y="405"/>
                        </a:lnTo>
                        <a:lnTo>
                          <a:pt x="2146" y="397"/>
                        </a:lnTo>
                        <a:lnTo>
                          <a:pt x="2104" y="395"/>
                        </a:lnTo>
                        <a:lnTo>
                          <a:pt x="2044" y="399"/>
                        </a:lnTo>
                        <a:lnTo>
                          <a:pt x="1987" y="413"/>
                        </a:lnTo>
                        <a:lnTo>
                          <a:pt x="1935" y="435"/>
                        </a:lnTo>
                        <a:lnTo>
                          <a:pt x="1885" y="464"/>
                        </a:lnTo>
                        <a:lnTo>
                          <a:pt x="1841" y="500"/>
                        </a:lnTo>
                        <a:lnTo>
                          <a:pt x="1803" y="544"/>
                        </a:lnTo>
                        <a:lnTo>
                          <a:pt x="1771" y="592"/>
                        </a:lnTo>
                        <a:lnTo>
                          <a:pt x="1749" y="646"/>
                        </a:lnTo>
                        <a:lnTo>
                          <a:pt x="1749" y="672"/>
                        </a:lnTo>
                        <a:lnTo>
                          <a:pt x="1749" y="708"/>
                        </a:lnTo>
                        <a:lnTo>
                          <a:pt x="1753" y="751"/>
                        </a:lnTo>
                        <a:lnTo>
                          <a:pt x="1759" y="801"/>
                        </a:lnTo>
                        <a:lnTo>
                          <a:pt x="1767" y="857"/>
                        </a:lnTo>
                        <a:lnTo>
                          <a:pt x="1783" y="915"/>
                        </a:lnTo>
                        <a:lnTo>
                          <a:pt x="1801" y="973"/>
                        </a:lnTo>
                        <a:lnTo>
                          <a:pt x="1827" y="1033"/>
                        </a:lnTo>
                        <a:lnTo>
                          <a:pt x="1861" y="1088"/>
                        </a:lnTo>
                        <a:lnTo>
                          <a:pt x="1901" y="1140"/>
                        </a:lnTo>
                        <a:lnTo>
                          <a:pt x="1947" y="1184"/>
                        </a:lnTo>
                        <a:lnTo>
                          <a:pt x="1999" y="1218"/>
                        </a:lnTo>
                        <a:lnTo>
                          <a:pt x="2056" y="1246"/>
                        </a:lnTo>
                        <a:lnTo>
                          <a:pt x="2120" y="1266"/>
                        </a:lnTo>
                        <a:lnTo>
                          <a:pt x="2136" y="1212"/>
                        </a:lnTo>
                        <a:lnTo>
                          <a:pt x="2158" y="1164"/>
                        </a:lnTo>
                        <a:lnTo>
                          <a:pt x="2188" y="1118"/>
                        </a:lnTo>
                        <a:lnTo>
                          <a:pt x="2224" y="1076"/>
                        </a:lnTo>
                        <a:lnTo>
                          <a:pt x="2266" y="1041"/>
                        </a:lnTo>
                        <a:lnTo>
                          <a:pt x="2314" y="1011"/>
                        </a:lnTo>
                        <a:lnTo>
                          <a:pt x="2368" y="987"/>
                        </a:lnTo>
                        <a:lnTo>
                          <a:pt x="2399" y="981"/>
                        </a:lnTo>
                        <a:lnTo>
                          <a:pt x="2431" y="983"/>
                        </a:lnTo>
                        <a:lnTo>
                          <a:pt x="2459" y="993"/>
                        </a:lnTo>
                        <a:lnTo>
                          <a:pt x="2485" y="1009"/>
                        </a:lnTo>
                        <a:lnTo>
                          <a:pt x="2507" y="1033"/>
                        </a:lnTo>
                        <a:lnTo>
                          <a:pt x="2521" y="1060"/>
                        </a:lnTo>
                        <a:lnTo>
                          <a:pt x="2529" y="1092"/>
                        </a:lnTo>
                        <a:lnTo>
                          <a:pt x="2527" y="1122"/>
                        </a:lnTo>
                        <a:lnTo>
                          <a:pt x="2517" y="1152"/>
                        </a:lnTo>
                        <a:lnTo>
                          <a:pt x="2499" y="1178"/>
                        </a:lnTo>
                        <a:lnTo>
                          <a:pt x="2477" y="1198"/>
                        </a:lnTo>
                        <a:lnTo>
                          <a:pt x="2447" y="1212"/>
                        </a:lnTo>
                        <a:lnTo>
                          <a:pt x="2413" y="1230"/>
                        </a:lnTo>
                        <a:lnTo>
                          <a:pt x="2387" y="1254"/>
                        </a:lnTo>
                        <a:lnTo>
                          <a:pt x="2368" y="1284"/>
                        </a:lnTo>
                        <a:lnTo>
                          <a:pt x="2356" y="1316"/>
                        </a:lnTo>
                        <a:lnTo>
                          <a:pt x="2354" y="1351"/>
                        </a:lnTo>
                        <a:lnTo>
                          <a:pt x="2362" y="1387"/>
                        </a:lnTo>
                        <a:lnTo>
                          <a:pt x="2377" y="1421"/>
                        </a:lnTo>
                        <a:lnTo>
                          <a:pt x="2401" y="1447"/>
                        </a:lnTo>
                        <a:lnTo>
                          <a:pt x="2431" y="1467"/>
                        </a:lnTo>
                        <a:lnTo>
                          <a:pt x="2467" y="1479"/>
                        </a:lnTo>
                        <a:lnTo>
                          <a:pt x="2503" y="1481"/>
                        </a:lnTo>
                        <a:lnTo>
                          <a:pt x="2539" y="1473"/>
                        </a:lnTo>
                        <a:lnTo>
                          <a:pt x="2571" y="1467"/>
                        </a:lnTo>
                        <a:lnTo>
                          <a:pt x="2603" y="1469"/>
                        </a:lnTo>
                        <a:lnTo>
                          <a:pt x="2633" y="1479"/>
                        </a:lnTo>
                        <a:lnTo>
                          <a:pt x="2659" y="1495"/>
                        </a:lnTo>
                        <a:lnTo>
                          <a:pt x="2679" y="1519"/>
                        </a:lnTo>
                        <a:lnTo>
                          <a:pt x="2695" y="1547"/>
                        </a:lnTo>
                        <a:lnTo>
                          <a:pt x="2701" y="1579"/>
                        </a:lnTo>
                        <a:lnTo>
                          <a:pt x="2699" y="1609"/>
                        </a:lnTo>
                        <a:lnTo>
                          <a:pt x="2689" y="1639"/>
                        </a:lnTo>
                        <a:lnTo>
                          <a:pt x="2673" y="1662"/>
                        </a:lnTo>
                        <a:lnTo>
                          <a:pt x="2649" y="1684"/>
                        </a:lnTo>
                        <a:lnTo>
                          <a:pt x="2619" y="1698"/>
                        </a:lnTo>
                        <a:lnTo>
                          <a:pt x="2557" y="1714"/>
                        </a:lnTo>
                        <a:lnTo>
                          <a:pt x="2493" y="1720"/>
                        </a:lnTo>
                        <a:lnTo>
                          <a:pt x="2433" y="1714"/>
                        </a:lnTo>
                        <a:lnTo>
                          <a:pt x="2375" y="1700"/>
                        </a:lnTo>
                        <a:lnTo>
                          <a:pt x="2320" y="1678"/>
                        </a:lnTo>
                        <a:lnTo>
                          <a:pt x="2268" y="1646"/>
                        </a:lnTo>
                        <a:lnTo>
                          <a:pt x="2222" y="1609"/>
                        </a:lnTo>
                        <a:lnTo>
                          <a:pt x="2184" y="1563"/>
                        </a:lnTo>
                        <a:lnTo>
                          <a:pt x="2150" y="1509"/>
                        </a:lnTo>
                        <a:lnTo>
                          <a:pt x="2066" y="1495"/>
                        </a:lnTo>
                        <a:lnTo>
                          <a:pt x="1985" y="1473"/>
                        </a:lnTo>
                        <a:lnTo>
                          <a:pt x="1911" y="1441"/>
                        </a:lnTo>
                        <a:lnTo>
                          <a:pt x="1841" y="1401"/>
                        </a:lnTo>
                        <a:lnTo>
                          <a:pt x="1777" y="1353"/>
                        </a:lnTo>
                        <a:lnTo>
                          <a:pt x="1719" y="1298"/>
                        </a:lnTo>
                        <a:lnTo>
                          <a:pt x="1665" y="1232"/>
                        </a:lnTo>
                        <a:lnTo>
                          <a:pt x="1622" y="1162"/>
                        </a:lnTo>
                        <a:lnTo>
                          <a:pt x="1588" y="1088"/>
                        </a:lnTo>
                        <a:lnTo>
                          <a:pt x="1560" y="1017"/>
                        </a:lnTo>
                        <a:lnTo>
                          <a:pt x="1540" y="945"/>
                        </a:lnTo>
                        <a:lnTo>
                          <a:pt x="1526" y="875"/>
                        </a:lnTo>
                        <a:lnTo>
                          <a:pt x="1516" y="811"/>
                        </a:lnTo>
                        <a:lnTo>
                          <a:pt x="1510" y="753"/>
                        </a:lnTo>
                        <a:lnTo>
                          <a:pt x="1446" y="773"/>
                        </a:lnTo>
                        <a:lnTo>
                          <a:pt x="1388" y="801"/>
                        </a:lnTo>
                        <a:lnTo>
                          <a:pt x="1334" y="837"/>
                        </a:lnTo>
                        <a:lnTo>
                          <a:pt x="1286" y="879"/>
                        </a:lnTo>
                        <a:lnTo>
                          <a:pt x="1245" y="929"/>
                        </a:lnTo>
                        <a:lnTo>
                          <a:pt x="1213" y="985"/>
                        </a:lnTo>
                        <a:lnTo>
                          <a:pt x="1187" y="1044"/>
                        </a:lnTo>
                        <a:lnTo>
                          <a:pt x="1173" y="1108"/>
                        </a:lnTo>
                        <a:lnTo>
                          <a:pt x="1167" y="1174"/>
                        </a:lnTo>
                        <a:lnTo>
                          <a:pt x="1171" y="1234"/>
                        </a:lnTo>
                        <a:lnTo>
                          <a:pt x="1171" y="1244"/>
                        </a:lnTo>
                        <a:lnTo>
                          <a:pt x="1171" y="1252"/>
                        </a:lnTo>
                        <a:lnTo>
                          <a:pt x="1169" y="1260"/>
                        </a:lnTo>
                        <a:lnTo>
                          <a:pt x="1173" y="1296"/>
                        </a:lnTo>
                        <a:lnTo>
                          <a:pt x="1181" y="1334"/>
                        </a:lnTo>
                        <a:lnTo>
                          <a:pt x="1193" y="1375"/>
                        </a:lnTo>
                        <a:lnTo>
                          <a:pt x="1207" y="1413"/>
                        </a:lnTo>
                        <a:lnTo>
                          <a:pt x="1225" y="1449"/>
                        </a:lnTo>
                        <a:lnTo>
                          <a:pt x="1245" y="1479"/>
                        </a:lnTo>
                        <a:lnTo>
                          <a:pt x="1267" y="1501"/>
                        </a:lnTo>
                        <a:lnTo>
                          <a:pt x="1290" y="1521"/>
                        </a:lnTo>
                        <a:lnTo>
                          <a:pt x="1308" y="1547"/>
                        </a:lnTo>
                        <a:lnTo>
                          <a:pt x="1318" y="1575"/>
                        </a:lnTo>
                        <a:lnTo>
                          <a:pt x="1322" y="1605"/>
                        </a:lnTo>
                        <a:lnTo>
                          <a:pt x="1316" y="1637"/>
                        </a:lnTo>
                        <a:lnTo>
                          <a:pt x="1302" y="1664"/>
                        </a:lnTo>
                        <a:lnTo>
                          <a:pt x="1282" y="1688"/>
                        </a:lnTo>
                        <a:lnTo>
                          <a:pt x="1259" y="1704"/>
                        </a:lnTo>
                        <a:lnTo>
                          <a:pt x="1231" y="1716"/>
                        </a:lnTo>
                        <a:lnTo>
                          <a:pt x="1201" y="1720"/>
                        </a:lnTo>
                        <a:lnTo>
                          <a:pt x="1167" y="1714"/>
                        </a:lnTo>
                        <a:lnTo>
                          <a:pt x="1135" y="1700"/>
                        </a:lnTo>
                        <a:lnTo>
                          <a:pt x="1095" y="1670"/>
                        </a:lnTo>
                        <a:lnTo>
                          <a:pt x="1059" y="1635"/>
                        </a:lnTo>
                        <a:lnTo>
                          <a:pt x="1031" y="1595"/>
                        </a:lnTo>
                        <a:lnTo>
                          <a:pt x="1005" y="1553"/>
                        </a:lnTo>
                        <a:lnTo>
                          <a:pt x="985" y="1509"/>
                        </a:lnTo>
                        <a:lnTo>
                          <a:pt x="967" y="1465"/>
                        </a:lnTo>
                        <a:lnTo>
                          <a:pt x="953" y="1423"/>
                        </a:lnTo>
                        <a:lnTo>
                          <a:pt x="943" y="1383"/>
                        </a:lnTo>
                        <a:lnTo>
                          <a:pt x="882" y="1401"/>
                        </a:lnTo>
                        <a:lnTo>
                          <a:pt x="824" y="1431"/>
                        </a:lnTo>
                        <a:lnTo>
                          <a:pt x="770" y="1467"/>
                        </a:lnTo>
                        <a:lnTo>
                          <a:pt x="722" y="1509"/>
                        </a:lnTo>
                        <a:lnTo>
                          <a:pt x="682" y="1559"/>
                        </a:lnTo>
                        <a:lnTo>
                          <a:pt x="650" y="1613"/>
                        </a:lnTo>
                        <a:lnTo>
                          <a:pt x="626" y="1672"/>
                        </a:lnTo>
                        <a:lnTo>
                          <a:pt x="610" y="1736"/>
                        </a:lnTo>
                        <a:lnTo>
                          <a:pt x="604" y="1802"/>
                        </a:lnTo>
                        <a:lnTo>
                          <a:pt x="608" y="1856"/>
                        </a:lnTo>
                        <a:lnTo>
                          <a:pt x="618" y="1910"/>
                        </a:lnTo>
                        <a:lnTo>
                          <a:pt x="680" y="1886"/>
                        </a:lnTo>
                        <a:lnTo>
                          <a:pt x="746" y="1864"/>
                        </a:lnTo>
                        <a:lnTo>
                          <a:pt x="816" y="1848"/>
                        </a:lnTo>
                        <a:lnTo>
                          <a:pt x="894" y="1836"/>
                        </a:lnTo>
                        <a:lnTo>
                          <a:pt x="973" y="1832"/>
                        </a:lnTo>
                        <a:lnTo>
                          <a:pt x="1057" y="1834"/>
                        </a:lnTo>
                        <a:lnTo>
                          <a:pt x="1145" y="1846"/>
                        </a:lnTo>
                        <a:lnTo>
                          <a:pt x="1237" y="1866"/>
                        </a:lnTo>
                        <a:lnTo>
                          <a:pt x="1328" y="1898"/>
                        </a:lnTo>
                        <a:lnTo>
                          <a:pt x="1422" y="1939"/>
                        </a:lnTo>
                        <a:lnTo>
                          <a:pt x="1518" y="1995"/>
                        </a:lnTo>
                        <a:lnTo>
                          <a:pt x="1582" y="1959"/>
                        </a:lnTo>
                        <a:lnTo>
                          <a:pt x="1649" y="1932"/>
                        </a:lnTo>
                        <a:lnTo>
                          <a:pt x="1719" y="1914"/>
                        </a:lnTo>
                        <a:lnTo>
                          <a:pt x="1791" y="1904"/>
                        </a:lnTo>
                        <a:lnTo>
                          <a:pt x="1865" y="1904"/>
                        </a:lnTo>
                        <a:lnTo>
                          <a:pt x="1939" y="1914"/>
                        </a:lnTo>
                        <a:lnTo>
                          <a:pt x="2010" y="1932"/>
                        </a:lnTo>
                        <a:lnTo>
                          <a:pt x="2078" y="1959"/>
                        </a:lnTo>
                        <a:lnTo>
                          <a:pt x="2142" y="1997"/>
                        </a:lnTo>
                        <a:lnTo>
                          <a:pt x="2202" y="2041"/>
                        </a:lnTo>
                        <a:lnTo>
                          <a:pt x="2256" y="2093"/>
                        </a:lnTo>
                        <a:lnTo>
                          <a:pt x="2274" y="2121"/>
                        </a:lnTo>
                        <a:lnTo>
                          <a:pt x="2284" y="2149"/>
                        </a:lnTo>
                        <a:lnTo>
                          <a:pt x="2286" y="2181"/>
                        </a:lnTo>
                        <a:lnTo>
                          <a:pt x="2280" y="2211"/>
                        </a:lnTo>
                        <a:lnTo>
                          <a:pt x="2266" y="2238"/>
                        </a:lnTo>
                        <a:lnTo>
                          <a:pt x="2244" y="2262"/>
                        </a:lnTo>
                        <a:lnTo>
                          <a:pt x="2216" y="2278"/>
                        </a:lnTo>
                        <a:lnTo>
                          <a:pt x="2186" y="2288"/>
                        </a:lnTo>
                        <a:lnTo>
                          <a:pt x="2156" y="2290"/>
                        </a:lnTo>
                        <a:lnTo>
                          <a:pt x="2126" y="2284"/>
                        </a:lnTo>
                        <a:lnTo>
                          <a:pt x="2096" y="2272"/>
                        </a:lnTo>
                        <a:lnTo>
                          <a:pt x="2072" y="2250"/>
                        </a:lnTo>
                        <a:lnTo>
                          <a:pt x="2036" y="2215"/>
                        </a:lnTo>
                        <a:lnTo>
                          <a:pt x="1995" y="2187"/>
                        </a:lnTo>
                        <a:lnTo>
                          <a:pt x="1949" y="2165"/>
                        </a:lnTo>
                        <a:lnTo>
                          <a:pt x="1901" y="2149"/>
                        </a:lnTo>
                        <a:lnTo>
                          <a:pt x="1849" y="2143"/>
                        </a:lnTo>
                        <a:lnTo>
                          <a:pt x="1797" y="2143"/>
                        </a:lnTo>
                        <a:lnTo>
                          <a:pt x="1747" y="2151"/>
                        </a:lnTo>
                        <a:lnTo>
                          <a:pt x="1699" y="2167"/>
                        </a:lnTo>
                        <a:lnTo>
                          <a:pt x="1653" y="2191"/>
                        </a:lnTo>
                        <a:lnTo>
                          <a:pt x="1612" y="2221"/>
                        </a:lnTo>
                        <a:lnTo>
                          <a:pt x="1572" y="2262"/>
                        </a:lnTo>
                        <a:lnTo>
                          <a:pt x="1540" y="2310"/>
                        </a:lnTo>
                        <a:lnTo>
                          <a:pt x="1518" y="2360"/>
                        </a:lnTo>
                        <a:lnTo>
                          <a:pt x="1504" y="2414"/>
                        </a:lnTo>
                        <a:lnTo>
                          <a:pt x="1502" y="2468"/>
                        </a:lnTo>
                        <a:lnTo>
                          <a:pt x="1506" y="2524"/>
                        </a:lnTo>
                        <a:lnTo>
                          <a:pt x="1522" y="2575"/>
                        </a:lnTo>
                        <a:lnTo>
                          <a:pt x="1548" y="2627"/>
                        </a:lnTo>
                        <a:lnTo>
                          <a:pt x="1582" y="2673"/>
                        </a:lnTo>
                        <a:lnTo>
                          <a:pt x="1600" y="2699"/>
                        </a:lnTo>
                        <a:lnTo>
                          <a:pt x="1610" y="2729"/>
                        </a:lnTo>
                        <a:lnTo>
                          <a:pt x="1612" y="2759"/>
                        </a:lnTo>
                        <a:lnTo>
                          <a:pt x="1606" y="2789"/>
                        </a:lnTo>
                        <a:lnTo>
                          <a:pt x="1592" y="2817"/>
                        </a:lnTo>
                        <a:lnTo>
                          <a:pt x="1570" y="2840"/>
                        </a:lnTo>
                        <a:lnTo>
                          <a:pt x="1546" y="2858"/>
                        </a:lnTo>
                        <a:lnTo>
                          <a:pt x="1518" y="2868"/>
                        </a:lnTo>
                        <a:lnTo>
                          <a:pt x="1490" y="2870"/>
                        </a:lnTo>
                        <a:lnTo>
                          <a:pt x="1458" y="2866"/>
                        </a:lnTo>
                        <a:lnTo>
                          <a:pt x="1426" y="2852"/>
                        </a:lnTo>
                        <a:lnTo>
                          <a:pt x="1398" y="2831"/>
                        </a:lnTo>
                        <a:lnTo>
                          <a:pt x="1352" y="2771"/>
                        </a:lnTo>
                        <a:lnTo>
                          <a:pt x="1316" y="2709"/>
                        </a:lnTo>
                        <a:lnTo>
                          <a:pt x="1288" y="2643"/>
                        </a:lnTo>
                        <a:lnTo>
                          <a:pt x="1271" y="2575"/>
                        </a:lnTo>
                        <a:lnTo>
                          <a:pt x="1261" y="2506"/>
                        </a:lnTo>
                        <a:lnTo>
                          <a:pt x="1261" y="2436"/>
                        </a:lnTo>
                        <a:lnTo>
                          <a:pt x="1269" y="2366"/>
                        </a:lnTo>
                        <a:lnTo>
                          <a:pt x="1286" y="2298"/>
                        </a:lnTo>
                        <a:lnTo>
                          <a:pt x="1310" y="2233"/>
                        </a:lnTo>
                        <a:lnTo>
                          <a:pt x="1344" y="2171"/>
                        </a:lnTo>
                        <a:lnTo>
                          <a:pt x="1269" y="2131"/>
                        </a:lnTo>
                        <a:lnTo>
                          <a:pt x="1195" y="2103"/>
                        </a:lnTo>
                        <a:lnTo>
                          <a:pt x="1123" y="2083"/>
                        </a:lnTo>
                        <a:lnTo>
                          <a:pt x="1055" y="2073"/>
                        </a:lnTo>
                        <a:lnTo>
                          <a:pt x="991" y="2069"/>
                        </a:lnTo>
                        <a:lnTo>
                          <a:pt x="931" y="2073"/>
                        </a:lnTo>
                        <a:lnTo>
                          <a:pt x="876" y="2079"/>
                        </a:lnTo>
                        <a:lnTo>
                          <a:pt x="824" y="2091"/>
                        </a:lnTo>
                        <a:lnTo>
                          <a:pt x="778" y="2105"/>
                        </a:lnTo>
                        <a:lnTo>
                          <a:pt x="738" y="2119"/>
                        </a:lnTo>
                        <a:lnTo>
                          <a:pt x="704" y="2135"/>
                        </a:lnTo>
                        <a:lnTo>
                          <a:pt x="676" y="2149"/>
                        </a:lnTo>
                        <a:lnTo>
                          <a:pt x="654" y="2163"/>
                        </a:lnTo>
                        <a:lnTo>
                          <a:pt x="640" y="2171"/>
                        </a:lnTo>
                        <a:lnTo>
                          <a:pt x="634" y="2177"/>
                        </a:lnTo>
                        <a:lnTo>
                          <a:pt x="630" y="2179"/>
                        </a:lnTo>
                        <a:lnTo>
                          <a:pt x="624" y="2181"/>
                        </a:lnTo>
                        <a:lnTo>
                          <a:pt x="622" y="2183"/>
                        </a:lnTo>
                        <a:lnTo>
                          <a:pt x="618" y="2187"/>
                        </a:lnTo>
                        <a:lnTo>
                          <a:pt x="545" y="2231"/>
                        </a:lnTo>
                        <a:lnTo>
                          <a:pt x="477" y="2282"/>
                        </a:lnTo>
                        <a:lnTo>
                          <a:pt x="417" y="2342"/>
                        </a:lnTo>
                        <a:lnTo>
                          <a:pt x="367" y="2408"/>
                        </a:lnTo>
                        <a:lnTo>
                          <a:pt x="323" y="2480"/>
                        </a:lnTo>
                        <a:lnTo>
                          <a:pt x="289" y="2555"/>
                        </a:lnTo>
                        <a:lnTo>
                          <a:pt x="263" y="2633"/>
                        </a:lnTo>
                        <a:lnTo>
                          <a:pt x="247" y="2717"/>
                        </a:lnTo>
                        <a:lnTo>
                          <a:pt x="243" y="2803"/>
                        </a:lnTo>
                        <a:lnTo>
                          <a:pt x="249" y="2894"/>
                        </a:lnTo>
                        <a:lnTo>
                          <a:pt x="269" y="2984"/>
                        </a:lnTo>
                        <a:lnTo>
                          <a:pt x="299" y="3070"/>
                        </a:lnTo>
                        <a:lnTo>
                          <a:pt x="355" y="3030"/>
                        </a:lnTo>
                        <a:lnTo>
                          <a:pt x="409" y="3002"/>
                        </a:lnTo>
                        <a:lnTo>
                          <a:pt x="463" y="2980"/>
                        </a:lnTo>
                        <a:lnTo>
                          <a:pt x="515" y="2966"/>
                        </a:lnTo>
                        <a:lnTo>
                          <a:pt x="560" y="2958"/>
                        </a:lnTo>
                        <a:lnTo>
                          <a:pt x="582" y="2888"/>
                        </a:lnTo>
                        <a:lnTo>
                          <a:pt x="612" y="2823"/>
                        </a:lnTo>
                        <a:lnTo>
                          <a:pt x="650" y="2763"/>
                        </a:lnTo>
                        <a:lnTo>
                          <a:pt x="694" y="2707"/>
                        </a:lnTo>
                        <a:lnTo>
                          <a:pt x="748" y="2657"/>
                        </a:lnTo>
                        <a:lnTo>
                          <a:pt x="806" y="2613"/>
                        </a:lnTo>
                        <a:lnTo>
                          <a:pt x="870" y="2579"/>
                        </a:lnTo>
                        <a:lnTo>
                          <a:pt x="939" y="2551"/>
                        </a:lnTo>
                        <a:lnTo>
                          <a:pt x="971" y="2545"/>
                        </a:lnTo>
                        <a:lnTo>
                          <a:pt x="1003" y="2549"/>
                        </a:lnTo>
                        <a:lnTo>
                          <a:pt x="1033" y="2559"/>
                        </a:lnTo>
                        <a:lnTo>
                          <a:pt x="1059" y="2575"/>
                        </a:lnTo>
                        <a:lnTo>
                          <a:pt x="1079" y="2599"/>
                        </a:lnTo>
                        <a:lnTo>
                          <a:pt x="1093" y="2629"/>
                        </a:lnTo>
                        <a:lnTo>
                          <a:pt x="1099" y="2659"/>
                        </a:lnTo>
                        <a:lnTo>
                          <a:pt x="1095" y="2691"/>
                        </a:lnTo>
                        <a:lnTo>
                          <a:pt x="1085" y="2719"/>
                        </a:lnTo>
                        <a:lnTo>
                          <a:pt x="1067" y="2745"/>
                        </a:lnTo>
                        <a:lnTo>
                          <a:pt x="1043" y="2765"/>
                        </a:lnTo>
                        <a:lnTo>
                          <a:pt x="1013" y="2779"/>
                        </a:lnTo>
                        <a:lnTo>
                          <a:pt x="959" y="2801"/>
                        </a:lnTo>
                        <a:lnTo>
                          <a:pt x="912" y="2833"/>
                        </a:lnTo>
                        <a:lnTo>
                          <a:pt x="870" y="2870"/>
                        </a:lnTo>
                        <a:lnTo>
                          <a:pt x="836" y="2914"/>
                        </a:lnTo>
                        <a:lnTo>
                          <a:pt x="810" y="2966"/>
                        </a:lnTo>
                        <a:lnTo>
                          <a:pt x="794" y="3020"/>
                        </a:lnTo>
                        <a:lnTo>
                          <a:pt x="788" y="3078"/>
                        </a:lnTo>
                        <a:lnTo>
                          <a:pt x="792" y="3134"/>
                        </a:lnTo>
                        <a:lnTo>
                          <a:pt x="806" y="3189"/>
                        </a:lnTo>
                        <a:lnTo>
                          <a:pt x="828" y="3239"/>
                        </a:lnTo>
                        <a:lnTo>
                          <a:pt x="860" y="3287"/>
                        </a:lnTo>
                        <a:lnTo>
                          <a:pt x="900" y="3327"/>
                        </a:lnTo>
                        <a:lnTo>
                          <a:pt x="947" y="3361"/>
                        </a:lnTo>
                        <a:lnTo>
                          <a:pt x="973" y="3381"/>
                        </a:lnTo>
                        <a:lnTo>
                          <a:pt x="991" y="3405"/>
                        </a:lnTo>
                        <a:lnTo>
                          <a:pt x="1003" y="3433"/>
                        </a:lnTo>
                        <a:lnTo>
                          <a:pt x="1007" y="3462"/>
                        </a:lnTo>
                        <a:lnTo>
                          <a:pt x="1001" y="3494"/>
                        </a:lnTo>
                        <a:lnTo>
                          <a:pt x="989" y="3522"/>
                        </a:lnTo>
                        <a:lnTo>
                          <a:pt x="969" y="3548"/>
                        </a:lnTo>
                        <a:lnTo>
                          <a:pt x="943" y="3566"/>
                        </a:lnTo>
                        <a:lnTo>
                          <a:pt x="915" y="3578"/>
                        </a:lnTo>
                        <a:lnTo>
                          <a:pt x="886" y="3582"/>
                        </a:lnTo>
                        <a:lnTo>
                          <a:pt x="854" y="3578"/>
                        </a:lnTo>
                        <a:lnTo>
                          <a:pt x="824" y="3564"/>
                        </a:lnTo>
                        <a:lnTo>
                          <a:pt x="768" y="3526"/>
                        </a:lnTo>
                        <a:lnTo>
                          <a:pt x="716" y="3484"/>
                        </a:lnTo>
                        <a:lnTo>
                          <a:pt x="672" y="3434"/>
                        </a:lnTo>
                        <a:lnTo>
                          <a:pt x="632" y="3383"/>
                        </a:lnTo>
                        <a:lnTo>
                          <a:pt x="600" y="3325"/>
                        </a:lnTo>
                        <a:lnTo>
                          <a:pt x="576" y="3263"/>
                        </a:lnTo>
                        <a:lnTo>
                          <a:pt x="558" y="3201"/>
                        </a:lnTo>
                        <a:lnTo>
                          <a:pt x="531" y="3209"/>
                        </a:lnTo>
                        <a:lnTo>
                          <a:pt x="501" y="3223"/>
                        </a:lnTo>
                        <a:lnTo>
                          <a:pt x="469" y="3241"/>
                        </a:lnTo>
                        <a:lnTo>
                          <a:pt x="439" y="3267"/>
                        </a:lnTo>
                        <a:lnTo>
                          <a:pt x="409" y="3299"/>
                        </a:lnTo>
                        <a:lnTo>
                          <a:pt x="379" y="3339"/>
                        </a:lnTo>
                        <a:lnTo>
                          <a:pt x="377" y="3343"/>
                        </a:lnTo>
                        <a:lnTo>
                          <a:pt x="373" y="3347"/>
                        </a:lnTo>
                        <a:lnTo>
                          <a:pt x="373" y="3351"/>
                        </a:lnTo>
                        <a:lnTo>
                          <a:pt x="371" y="3353"/>
                        </a:lnTo>
                        <a:lnTo>
                          <a:pt x="325" y="3417"/>
                        </a:lnTo>
                        <a:lnTo>
                          <a:pt x="289" y="3484"/>
                        </a:lnTo>
                        <a:lnTo>
                          <a:pt x="263" y="3554"/>
                        </a:lnTo>
                        <a:lnTo>
                          <a:pt x="247" y="3630"/>
                        </a:lnTo>
                        <a:lnTo>
                          <a:pt x="243" y="3708"/>
                        </a:lnTo>
                        <a:lnTo>
                          <a:pt x="247" y="3785"/>
                        </a:lnTo>
                        <a:lnTo>
                          <a:pt x="265" y="3861"/>
                        </a:lnTo>
                        <a:lnTo>
                          <a:pt x="291" y="3933"/>
                        </a:lnTo>
                        <a:lnTo>
                          <a:pt x="327" y="4001"/>
                        </a:lnTo>
                        <a:lnTo>
                          <a:pt x="373" y="4062"/>
                        </a:lnTo>
                        <a:lnTo>
                          <a:pt x="427" y="4118"/>
                        </a:lnTo>
                        <a:lnTo>
                          <a:pt x="489" y="4166"/>
                        </a:lnTo>
                        <a:lnTo>
                          <a:pt x="529" y="4104"/>
                        </a:lnTo>
                        <a:lnTo>
                          <a:pt x="576" y="4050"/>
                        </a:lnTo>
                        <a:lnTo>
                          <a:pt x="626" y="4003"/>
                        </a:lnTo>
                        <a:lnTo>
                          <a:pt x="680" y="3963"/>
                        </a:lnTo>
                        <a:lnTo>
                          <a:pt x="736" y="3929"/>
                        </a:lnTo>
                        <a:lnTo>
                          <a:pt x="794" y="3901"/>
                        </a:lnTo>
                        <a:lnTo>
                          <a:pt x="852" y="3877"/>
                        </a:lnTo>
                        <a:lnTo>
                          <a:pt x="910" y="3857"/>
                        </a:lnTo>
                        <a:lnTo>
                          <a:pt x="967" y="3843"/>
                        </a:lnTo>
                        <a:lnTo>
                          <a:pt x="1021" y="3831"/>
                        </a:lnTo>
                        <a:lnTo>
                          <a:pt x="1073" y="3823"/>
                        </a:lnTo>
                        <a:lnTo>
                          <a:pt x="1121" y="3817"/>
                        </a:lnTo>
                        <a:lnTo>
                          <a:pt x="1163" y="3815"/>
                        </a:lnTo>
                        <a:lnTo>
                          <a:pt x="1185" y="3745"/>
                        </a:lnTo>
                        <a:lnTo>
                          <a:pt x="1213" y="3678"/>
                        </a:lnTo>
                        <a:lnTo>
                          <a:pt x="1249" y="3614"/>
                        </a:lnTo>
                        <a:lnTo>
                          <a:pt x="1290" y="3554"/>
                        </a:lnTo>
                        <a:lnTo>
                          <a:pt x="1340" y="3500"/>
                        </a:lnTo>
                        <a:lnTo>
                          <a:pt x="1396" y="3450"/>
                        </a:lnTo>
                        <a:lnTo>
                          <a:pt x="1424" y="3433"/>
                        </a:lnTo>
                        <a:lnTo>
                          <a:pt x="1454" y="3425"/>
                        </a:lnTo>
                        <a:lnTo>
                          <a:pt x="1484" y="3423"/>
                        </a:lnTo>
                        <a:lnTo>
                          <a:pt x="1514" y="3431"/>
                        </a:lnTo>
                        <a:lnTo>
                          <a:pt x="1542" y="3444"/>
                        </a:lnTo>
                        <a:lnTo>
                          <a:pt x="1566" y="3466"/>
                        </a:lnTo>
                        <a:lnTo>
                          <a:pt x="1584" y="3492"/>
                        </a:lnTo>
                        <a:lnTo>
                          <a:pt x="1592" y="3522"/>
                        </a:lnTo>
                        <a:lnTo>
                          <a:pt x="1594" y="3552"/>
                        </a:lnTo>
                        <a:lnTo>
                          <a:pt x="1586" y="3582"/>
                        </a:lnTo>
                        <a:lnTo>
                          <a:pt x="1572" y="3610"/>
                        </a:lnTo>
                        <a:lnTo>
                          <a:pt x="1550" y="3634"/>
                        </a:lnTo>
                        <a:lnTo>
                          <a:pt x="1502" y="3678"/>
                        </a:lnTo>
                        <a:lnTo>
                          <a:pt x="1462" y="3730"/>
                        </a:lnTo>
                        <a:lnTo>
                          <a:pt x="1430" y="3785"/>
                        </a:lnTo>
                        <a:lnTo>
                          <a:pt x="1406" y="3845"/>
                        </a:lnTo>
                        <a:lnTo>
                          <a:pt x="1392" y="3907"/>
                        </a:lnTo>
                        <a:lnTo>
                          <a:pt x="1386" y="3973"/>
                        </a:lnTo>
                        <a:lnTo>
                          <a:pt x="1392" y="4042"/>
                        </a:lnTo>
                        <a:lnTo>
                          <a:pt x="1410" y="4110"/>
                        </a:lnTo>
                        <a:lnTo>
                          <a:pt x="1436" y="4174"/>
                        </a:lnTo>
                        <a:lnTo>
                          <a:pt x="1474" y="4232"/>
                        </a:lnTo>
                        <a:lnTo>
                          <a:pt x="1518" y="4282"/>
                        </a:lnTo>
                        <a:lnTo>
                          <a:pt x="1570" y="4326"/>
                        </a:lnTo>
                        <a:lnTo>
                          <a:pt x="1628" y="4361"/>
                        </a:lnTo>
                        <a:lnTo>
                          <a:pt x="1691" y="4387"/>
                        </a:lnTo>
                        <a:lnTo>
                          <a:pt x="1761" y="4405"/>
                        </a:lnTo>
                        <a:lnTo>
                          <a:pt x="1833" y="4411"/>
                        </a:lnTo>
                        <a:lnTo>
                          <a:pt x="1905" y="4405"/>
                        </a:lnTo>
                        <a:lnTo>
                          <a:pt x="1975" y="4387"/>
                        </a:lnTo>
                        <a:lnTo>
                          <a:pt x="2038" y="4361"/>
                        </a:lnTo>
                        <a:lnTo>
                          <a:pt x="2096" y="4326"/>
                        </a:lnTo>
                        <a:lnTo>
                          <a:pt x="2148" y="4282"/>
                        </a:lnTo>
                        <a:lnTo>
                          <a:pt x="2192" y="4232"/>
                        </a:lnTo>
                        <a:lnTo>
                          <a:pt x="2230" y="4174"/>
                        </a:lnTo>
                        <a:lnTo>
                          <a:pt x="2256" y="4110"/>
                        </a:lnTo>
                        <a:lnTo>
                          <a:pt x="2274" y="4042"/>
                        </a:lnTo>
                        <a:lnTo>
                          <a:pt x="2280" y="3973"/>
                        </a:lnTo>
                        <a:lnTo>
                          <a:pt x="2274" y="3909"/>
                        </a:lnTo>
                        <a:lnTo>
                          <a:pt x="2262" y="3849"/>
                        </a:lnTo>
                        <a:lnTo>
                          <a:pt x="2240" y="3791"/>
                        </a:lnTo>
                        <a:lnTo>
                          <a:pt x="2208" y="3735"/>
                        </a:lnTo>
                        <a:lnTo>
                          <a:pt x="2170" y="3686"/>
                        </a:lnTo>
                        <a:lnTo>
                          <a:pt x="2170" y="3684"/>
                        </a:lnTo>
                        <a:lnTo>
                          <a:pt x="2168" y="3680"/>
                        </a:lnTo>
                        <a:lnTo>
                          <a:pt x="2118" y="3672"/>
                        </a:lnTo>
                        <a:lnTo>
                          <a:pt x="2068" y="3656"/>
                        </a:lnTo>
                        <a:lnTo>
                          <a:pt x="2001" y="3626"/>
                        </a:lnTo>
                        <a:lnTo>
                          <a:pt x="1941" y="3588"/>
                        </a:lnTo>
                        <a:lnTo>
                          <a:pt x="1889" y="3542"/>
                        </a:lnTo>
                        <a:lnTo>
                          <a:pt x="1843" y="3490"/>
                        </a:lnTo>
                        <a:lnTo>
                          <a:pt x="1807" y="3433"/>
                        </a:lnTo>
                        <a:lnTo>
                          <a:pt x="1777" y="3371"/>
                        </a:lnTo>
                        <a:lnTo>
                          <a:pt x="1759" y="3307"/>
                        </a:lnTo>
                        <a:lnTo>
                          <a:pt x="1747" y="3239"/>
                        </a:lnTo>
                        <a:lnTo>
                          <a:pt x="1747" y="3169"/>
                        </a:lnTo>
                        <a:lnTo>
                          <a:pt x="1757" y="3102"/>
                        </a:lnTo>
                        <a:lnTo>
                          <a:pt x="1777" y="3032"/>
                        </a:lnTo>
                        <a:lnTo>
                          <a:pt x="1793" y="3004"/>
                        </a:lnTo>
                        <a:lnTo>
                          <a:pt x="1815" y="2982"/>
                        </a:lnTo>
                        <a:lnTo>
                          <a:pt x="1841" y="2966"/>
                        </a:lnTo>
                        <a:lnTo>
                          <a:pt x="1871" y="2956"/>
                        </a:lnTo>
                        <a:lnTo>
                          <a:pt x="1901" y="2954"/>
                        </a:lnTo>
                        <a:lnTo>
                          <a:pt x="1933" y="2962"/>
                        </a:lnTo>
                        <a:lnTo>
                          <a:pt x="1963" y="2976"/>
                        </a:lnTo>
                        <a:lnTo>
                          <a:pt x="1985" y="2998"/>
                        </a:lnTo>
                        <a:lnTo>
                          <a:pt x="2001" y="3024"/>
                        </a:lnTo>
                        <a:lnTo>
                          <a:pt x="2010" y="3054"/>
                        </a:lnTo>
                        <a:lnTo>
                          <a:pt x="2012" y="3084"/>
                        </a:lnTo>
                        <a:lnTo>
                          <a:pt x="2005" y="3116"/>
                        </a:lnTo>
                        <a:lnTo>
                          <a:pt x="1993" y="3163"/>
                        </a:lnTo>
                        <a:lnTo>
                          <a:pt x="1989" y="3211"/>
                        </a:lnTo>
                        <a:lnTo>
                          <a:pt x="1997" y="3259"/>
                        </a:lnTo>
                        <a:lnTo>
                          <a:pt x="2012" y="3303"/>
                        </a:lnTo>
                        <a:lnTo>
                          <a:pt x="2036" y="3345"/>
                        </a:lnTo>
                        <a:lnTo>
                          <a:pt x="2068" y="3381"/>
                        </a:lnTo>
                        <a:lnTo>
                          <a:pt x="2106" y="3411"/>
                        </a:lnTo>
                        <a:lnTo>
                          <a:pt x="2152" y="3433"/>
                        </a:lnTo>
                        <a:lnTo>
                          <a:pt x="2202" y="3444"/>
                        </a:lnTo>
                        <a:lnTo>
                          <a:pt x="2250" y="3448"/>
                        </a:lnTo>
                        <a:lnTo>
                          <a:pt x="2300" y="3440"/>
                        </a:lnTo>
                        <a:lnTo>
                          <a:pt x="2344" y="3427"/>
                        </a:lnTo>
                        <a:lnTo>
                          <a:pt x="2385" y="3403"/>
                        </a:lnTo>
                        <a:lnTo>
                          <a:pt x="2423" y="3371"/>
                        </a:lnTo>
                        <a:lnTo>
                          <a:pt x="2453" y="3333"/>
                        </a:lnTo>
                        <a:lnTo>
                          <a:pt x="2475" y="3287"/>
                        </a:lnTo>
                        <a:lnTo>
                          <a:pt x="2491" y="3259"/>
                        </a:lnTo>
                        <a:lnTo>
                          <a:pt x="2513" y="3237"/>
                        </a:lnTo>
                        <a:lnTo>
                          <a:pt x="2539" y="3221"/>
                        </a:lnTo>
                        <a:lnTo>
                          <a:pt x="2569" y="3211"/>
                        </a:lnTo>
                        <a:lnTo>
                          <a:pt x="2599" y="3211"/>
                        </a:lnTo>
                        <a:lnTo>
                          <a:pt x="2631" y="3217"/>
                        </a:lnTo>
                        <a:lnTo>
                          <a:pt x="2661" y="3233"/>
                        </a:lnTo>
                        <a:lnTo>
                          <a:pt x="2683" y="3253"/>
                        </a:lnTo>
                        <a:lnTo>
                          <a:pt x="2699" y="3279"/>
                        </a:lnTo>
                        <a:lnTo>
                          <a:pt x="2709" y="3309"/>
                        </a:lnTo>
                        <a:lnTo>
                          <a:pt x="2711" y="3339"/>
                        </a:lnTo>
                        <a:lnTo>
                          <a:pt x="2703" y="3371"/>
                        </a:lnTo>
                        <a:lnTo>
                          <a:pt x="2675" y="3433"/>
                        </a:lnTo>
                        <a:lnTo>
                          <a:pt x="2639" y="3488"/>
                        </a:lnTo>
                        <a:lnTo>
                          <a:pt x="2595" y="3538"/>
                        </a:lnTo>
                        <a:lnTo>
                          <a:pt x="2547" y="3580"/>
                        </a:lnTo>
                        <a:lnTo>
                          <a:pt x="2493" y="3616"/>
                        </a:lnTo>
                        <a:lnTo>
                          <a:pt x="2435" y="3646"/>
                        </a:lnTo>
                        <a:lnTo>
                          <a:pt x="2471" y="3724"/>
                        </a:lnTo>
                        <a:lnTo>
                          <a:pt x="2499" y="3803"/>
                        </a:lnTo>
                        <a:lnTo>
                          <a:pt x="2515" y="3887"/>
                        </a:lnTo>
                        <a:lnTo>
                          <a:pt x="2521" y="3973"/>
                        </a:lnTo>
                        <a:lnTo>
                          <a:pt x="2515" y="4064"/>
                        </a:lnTo>
                        <a:lnTo>
                          <a:pt x="2497" y="4152"/>
                        </a:lnTo>
                        <a:lnTo>
                          <a:pt x="2467" y="4236"/>
                        </a:lnTo>
                        <a:lnTo>
                          <a:pt x="2427" y="4314"/>
                        </a:lnTo>
                        <a:lnTo>
                          <a:pt x="2377" y="4385"/>
                        </a:lnTo>
                        <a:lnTo>
                          <a:pt x="2320" y="4451"/>
                        </a:lnTo>
                        <a:lnTo>
                          <a:pt x="2254" y="4507"/>
                        </a:lnTo>
                        <a:lnTo>
                          <a:pt x="2180" y="4557"/>
                        </a:lnTo>
                        <a:lnTo>
                          <a:pt x="2100" y="4595"/>
                        </a:lnTo>
                        <a:lnTo>
                          <a:pt x="2016" y="4625"/>
                        </a:lnTo>
                        <a:lnTo>
                          <a:pt x="1927" y="4642"/>
                        </a:lnTo>
                        <a:lnTo>
                          <a:pt x="1833" y="4648"/>
                        </a:lnTo>
                        <a:lnTo>
                          <a:pt x="1747" y="4644"/>
                        </a:lnTo>
                        <a:lnTo>
                          <a:pt x="1663" y="4629"/>
                        </a:lnTo>
                        <a:lnTo>
                          <a:pt x="1584" y="4603"/>
                        </a:lnTo>
                        <a:lnTo>
                          <a:pt x="1510" y="4569"/>
                        </a:lnTo>
                        <a:lnTo>
                          <a:pt x="1440" y="4527"/>
                        </a:lnTo>
                        <a:lnTo>
                          <a:pt x="1376" y="4477"/>
                        </a:lnTo>
                        <a:lnTo>
                          <a:pt x="1318" y="4421"/>
                        </a:lnTo>
                        <a:lnTo>
                          <a:pt x="1269" y="4357"/>
                        </a:lnTo>
                        <a:lnTo>
                          <a:pt x="1225" y="4290"/>
                        </a:lnTo>
                        <a:lnTo>
                          <a:pt x="1191" y="4216"/>
                        </a:lnTo>
                        <a:lnTo>
                          <a:pt x="1165" y="4138"/>
                        </a:lnTo>
                        <a:lnTo>
                          <a:pt x="1151" y="4054"/>
                        </a:lnTo>
                        <a:lnTo>
                          <a:pt x="1111" y="4058"/>
                        </a:lnTo>
                        <a:lnTo>
                          <a:pt x="1067" y="4066"/>
                        </a:lnTo>
                        <a:lnTo>
                          <a:pt x="1021" y="4074"/>
                        </a:lnTo>
                        <a:lnTo>
                          <a:pt x="973" y="4088"/>
                        </a:lnTo>
                        <a:lnTo>
                          <a:pt x="925" y="4104"/>
                        </a:lnTo>
                        <a:lnTo>
                          <a:pt x="878" y="4124"/>
                        </a:lnTo>
                        <a:lnTo>
                          <a:pt x="832" y="4150"/>
                        </a:lnTo>
                        <a:lnTo>
                          <a:pt x="788" y="4182"/>
                        </a:lnTo>
                        <a:lnTo>
                          <a:pt x="748" y="4218"/>
                        </a:lnTo>
                        <a:lnTo>
                          <a:pt x="712" y="4262"/>
                        </a:lnTo>
                        <a:lnTo>
                          <a:pt x="682" y="4312"/>
                        </a:lnTo>
                        <a:lnTo>
                          <a:pt x="658" y="4369"/>
                        </a:lnTo>
                        <a:lnTo>
                          <a:pt x="654" y="4379"/>
                        </a:lnTo>
                        <a:lnTo>
                          <a:pt x="650" y="4389"/>
                        </a:lnTo>
                        <a:lnTo>
                          <a:pt x="644" y="4399"/>
                        </a:lnTo>
                        <a:lnTo>
                          <a:pt x="642" y="4401"/>
                        </a:lnTo>
                        <a:lnTo>
                          <a:pt x="642" y="4403"/>
                        </a:lnTo>
                        <a:lnTo>
                          <a:pt x="600" y="4471"/>
                        </a:lnTo>
                        <a:lnTo>
                          <a:pt x="566" y="4543"/>
                        </a:lnTo>
                        <a:lnTo>
                          <a:pt x="543" y="4617"/>
                        </a:lnTo>
                        <a:lnTo>
                          <a:pt x="527" y="4694"/>
                        </a:lnTo>
                        <a:lnTo>
                          <a:pt x="523" y="4774"/>
                        </a:lnTo>
                        <a:lnTo>
                          <a:pt x="527" y="4856"/>
                        </a:lnTo>
                        <a:lnTo>
                          <a:pt x="543" y="4931"/>
                        </a:lnTo>
                        <a:lnTo>
                          <a:pt x="564" y="5005"/>
                        </a:lnTo>
                        <a:lnTo>
                          <a:pt x="596" y="5075"/>
                        </a:lnTo>
                        <a:lnTo>
                          <a:pt x="638" y="5141"/>
                        </a:lnTo>
                        <a:lnTo>
                          <a:pt x="684" y="5201"/>
                        </a:lnTo>
                        <a:lnTo>
                          <a:pt x="740" y="5254"/>
                        </a:lnTo>
                        <a:lnTo>
                          <a:pt x="800" y="5302"/>
                        </a:lnTo>
                        <a:lnTo>
                          <a:pt x="866" y="5342"/>
                        </a:lnTo>
                        <a:lnTo>
                          <a:pt x="937" y="5376"/>
                        </a:lnTo>
                        <a:lnTo>
                          <a:pt x="951" y="5314"/>
                        </a:lnTo>
                        <a:lnTo>
                          <a:pt x="969" y="5256"/>
                        </a:lnTo>
                        <a:lnTo>
                          <a:pt x="991" y="5205"/>
                        </a:lnTo>
                        <a:lnTo>
                          <a:pt x="1013" y="5157"/>
                        </a:lnTo>
                        <a:lnTo>
                          <a:pt x="1039" y="5113"/>
                        </a:lnTo>
                        <a:lnTo>
                          <a:pt x="1063" y="5077"/>
                        </a:lnTo>
                        <a:lnTo>
                          <a:pt x="1087" y="5045"/>
                        </a:lnTo>
                        <a:lnTo>
                          <a:pt x="1107" y="5019"/>
                        </a:lnTo>
                        <a:lnTo>
                          <a:pt x="1123" y="5001"/>
                        </a:lnTo>
                        <a:lnTo>
                          <a:pt x="1135" y="4989"/>
                        </a:lnTo>
                        <a:lnTo>
                          <a:pt x="1141" y="4983"/>
                        </a:lnTo>
                        <a:lnTo>
                          <a:pt x="1167" y="4963"/>
                        </a:lnTo>
                        <a:lnTo>
                          <a:pt x="1197" y="4953"/>
                        </a:lnTo>
                        <a:lnTo>
                          <a:pt x="1227" y="4949"/>
                        </a:lnTo>
                        <a:lnTo>
                          <a:pt x="1259" y="4955"/>
                        </a:lnTo>
                        <a:lnTo>
                          <a:pt x="1286" y="4967"/>
                        </a:lnTo>
                        <a:lnTo>
                          <a:pt x="1312" y="4987"/>
                        </a:lnTo>
                        <a:lnTo>
                          <a:pt x="1332" y="5013"/>
                        </a:lnTo>
                        <a:lnTo>
                          <a:pt x="1342" y="5043"/>
                        </a:lnTo>
                        <a:lnTo>
                          <a:pt x="1346" y="5073"/>
                        </a:lnTo>
                        <a:lnTo>
                          <a:pt x="1340" y="5103"/>
                        </a:lnTo>
                        <a:lnTo>
                          <a:pt x="1328" y="5131"/>
                        </a:lnTo>
                        <a:lnTo>
                          <a:pt x="1308" y="5157"/>
                        </a:lnTo>
                        <a:lnTo>
                          <a:pt x="1304" y="5161"/>
                        </a:lnTo>
                        <a:lnTo>
                          <a:pt x="1294" y="5171"/>
                        </a:lnTo>
                        <a:lnTo>
                          <a:pt x="1278" y="5189"/>
                        </a:lnTo>
                        <a:lnTo>
                          <a:pt x="1261" y="5213"/>
                        </a:lnTo>
                        <a:lnTo>
                          <a:pt x="1241" y="5242"/>
                        </a:lnTo>
                        <a:lnTo>
                          <a:pt x="1221" y="5278"/>
                        </a:lnTo>
                        <a:lnTo>
                          <a:pt x="1203" y="5318"/>
                        </a:lnTo>
                        <a:lnTo>
                          <a:pt x="1187" y="5362"/>
                        </a:lnTo>
                        <a:lnTo>
                          <a:pt x="1177" y="5410"/>
                        </a:lnTo>
                        <a:lnTo>
                          <a:pt x="1171" y="5464"/>
                        </a:lnTo>
                        <a:lnTo>
                          <a:pt x="1173" y="5518"/>
                        </a:lnTo>
                        <a:lnTo>
                          <a:pt x="1173" y="5524"/>
                        </a:lnTo>
                        <a:lnTo>
                          <a:pt x="1171" y="5527"/>
                        </a:lnTo>
                        <a:lnTo>
                          <a:pt x="1171" y="5533"/>
                        </a:lnTo>
                        <a:lnTo>
                          <a:pt x="1171" y="5539"/>
                        </a:lnTo>
                        <a:lnTo>
                          <a:pt x="1171" y="5543"/>
                        </a:lnTo>
                        <a:lnTo>
                          <a:pt x="1171" y="5549"/>
                        </a:lnTo>
                        <a:lnTo>
                          <a:pt x="1167" y="5611"/>
                        </a:lnTo>
                        <a:lnTo>
                          <a:pt x="1173" y="5681"/>
                        </a:lnTo>
                        <a:lnTo>
                          <a:pt x="1189" y="5749"/>
                        </a:lnTo>
                        <a:lnTo>
                          <a:pt x="1217" y="5811"/>
                        </a:lnTo>
                        <a:lnTo>
                          <a:pt x="1253" y="5866"/>
                        </a:lnTo>
                        <a:lnTo>
                          <a:pt x="1296" y="5918"/>
                        </a:lnTo>
                        <a:lnTo>
                          <a:pt x="1346" y="5960"/>
                        </a:lnTo>
                        <a:lnTo>
                          <a:pt x="1404" y="5996"/>
                        </a:lnTo>
                        <a:lnTo>
                          <a:pt x="1468" y="6022"/>
                        </a:lnTo>
                        <a:lnTo>
                          <a:pt x="1536" y="6038"/>
                        </a:lnTo>
                        <a:lnTo>
                          <a:pt x="1608" y="6044"/>
                        </a:lnTo>
                        <a:lnTo>
                          <a:pt x="1665" y="6040"/>
                        </a:lnTo>
                        <a:lnTo>
                          <a:pt x="1721" y="6028"/>
                        </a:lnTo>
                        <a:lnTo>
                          <a:pt x="1777" y="6010"/>
                        </a:lnTo>
                        <a:lnTo>
                          <a:pt x="1761" y="5960"/>
                        </a:lnTo>
                        <a:lnTo>
                          <a:pt x="1749" y="5906"/>
                        </a:lnTo>
                        <a:lnTo>
                          <a:pt x="1741" y="5846"/>
                        </a:lnTo>
                        <a:lnTo>
                          <a:pt x="1743" y="5785"/>
                        </a:lnTo>
                        <a:lnTo>
                          <a:pt x="1749" y="5717"/>
                        </a:lnTo>
                        <a:lnTo>
                          <a:pt x="1767" y="5649"/>
                        </a:lnTo>
                        <a:lnTo>
                          <a:pt x="1793" y="5577"/>
                        </a:lnTo>
                        <a:lnTo>
                          <a:pt x="1831" y="5504"/>
                        </a:lnTo>
                        <a:lnTo>
                          <a:pt x="1879" y="5428"/>
                        </a:lnTo>
                        <a:lnTo>
                          <a:pt x="1853" y="5378"/>
                        </a:lnTo>
                        <a:lnTo>
                          <a:pt x="1835" y="5324"/>
                        </a:lnTo>
                        <a:lnTo>
                          <a:pt x="1825" y="5268"/>
                        </a:lnTo>
                        <a:lnTo>
                          <a:pt x="1821" y="5211"/>
                        </a:lnTo>
                        <a:lnTo>
                          <a:pt x="1827" y="5155"/>
                        </a:lnTo>
                        <a:lnTo>
                          <a:pt x="1843" y="5099"/>
                        </a:lnTo>
                        <a:lnTo>
                          <a:pt x="1865" y="5045"/>
                        </a:lnTo>
                        <a:lnTo>
                          <a:pt x="1897" y="4993"/>
                        </a:lnTo>
                        <a:lnTo>
                          <a:pt x="1921" y="4971"/>
                        </a:lnTo>
                        <a:lnTo>
                          <a:pt x="1947" y="4955"/>
                        </a:lnTo>
                        <a:lnTo>
                          <a:pt x="1977" y="4945"/>
                        </a:lnTo>
                        <a:lnTo>
                          <a:pt x="2008" y="4945"/>
                        </a:lnTo>
                        <a:lnTo>
                          <a:pt x="2038" y="4951"/>
                        </a:lnTo>
                        <a:lnTo>
                          <a:pt x="2066" y="4967"/>
                        </a:lnTo>
                        <a:lnTo>
                          <a:pt x="2090" y="4989"/>
                        </a:lnTo>
                        <a:lnTo>
                          <a:pt x="2106" y="5015"/>
                        </a:lnTo>
                        <a:lnTo>
                          <a:pt x="2116" y="5045"/>
                        </a:lnTo>
                        <a:lnTo>
                          <a:pt x="2116" y="5075"/>
                        </a:lnTo>
                        <a:lnTo>
                          <a:pt x="2110" y="5105"/>
                        </a:lnTo>
                        <a:lnTo>
                          <a:pt x="2094" y="5133"/>
                        </a:lnTo>
                        <a:lnTo>
                          <a:pt x="2076" y="5165"/>
                        </a:lnTo>
                        <a:lnTo>
                          <a:pt x="2066" y="5199"/>
                        </a:lnTo>
                        <a:lnTo>
                          <a:pt x="2064" y="5232"/>
                        </a:lnTo>
                        <a:lnTo>
                          <a:pt x="2070" y="5266"/>
                        </a:lnTo>
                        <a:lnTo>
                          <a:pt x="2082" y="5298"/>
                        </a:lnTo>
                        <a:lnTo>
                          <a:pt x="2102" y="5326"/>
                        </a:lnTo>
                        <a:lnTo>
                          <a:pt x="2130" y="5350"/>
                        </a:lnTo>
                        <a:lnTo>
                          <a:pt x="2162" y="5368"/>
                        </a:lnTo>
                        <a:lnTo>
                          <a:pt x="2196" y="5378"/>
                        </a:lnTo>
                        <a:lnTo>
                          <a:pt x="2230" y="5380"/>
                        </a:lnTo>
                        <a:lnTo>
                          <a:pt x="2264" y="5374"/>
                        </a:lnTo>
                        <a:lnTo>
                          <a:pt x="2298" y="5362"/>
                        </a:lnTo>
                        <a:lnTo>
                          <a:pt x="2326" y="5342"/>
                        </a:lnTo>
                        <a:lnTo>
                          <a:pt x="2352" y="5316"/>
                        </a:lnTo>
                        <a:lnTo>
                          <a:pt x="2373" y="5292"/>
                        </a:lnTo>
                        <a:lnTo>
                          <a:pt x="2401" y="5276"/>
                        </a:lnTo>
                        <a:lnTo>
                          <a:pt x="2429" y="5268"/>
                        </a:lnTo>
                        <a:lnTo>
                          <a:pt x="2461" y="5266"/>
                        </a:lnTo>
                        <a:lnTo>
                          <a:pt x="2491" y="5274"/>
                        </a:lnTo>
                        <a:lnTo>
                          <a:pt x="2521" y="5290"/>
                        </a:lnTo>
                        <a:lnTo>
                          <a:pt x="2545" y="5312"/>
                        </a:lnTo>
                        <a:lnTo>
                          <a:pt x="2561" y="5338"/>
                        </a:lnTo>
                        <a:lnTo>
                          <a:pt x="2569" y="5366"/>
                        </a:lnTo>
                        <a:lnTo>
                          <a:pt x="2571" y="5398"/>
                        </a:lnTo>
                        <a:lnTo>
                          <a:pt x="2563" y="5428"/>
                        </a:lnTo>
                        <a:lnTo>
                          <a:pt x="2547" y="5456"/>
                        </a:lnTo>
                        <a:lnTo>
                          <a:pt x="2505" y="5506"/>
                        </a:lnTo>
                        <a:lnTo>
                          <a:pt x="2455" y="5545"/>
                        </a:lnTo>
                        <a:lnTo>
                          <a:pt x="2401" y="5577"/>
                        </a:lnTo>
                        <a:lnTo>
                          <a:pt x="2344" y="5599"/>
                        </a:lnTo>
                        <a:lnTo>
                          <a:pt x="2284" y="5613"/>
                        </a:lnTo>
                        <a:lnTo>
                          <a:pt x="2222" y="5619"/>
                        </a:lnTo>
                        <a:lnTo>
                          <a:pt x="2168" y="5615"/>
                        </a:lnTo>
                        <a:lnTo>
                          <a:pt x="2116" y="5603"/>
                        </a:lnTo>
                        <a:lnTo>
                          <a:pt x="2064" y="5585"/>
                        </a:lnTo>
                        <a:lnTo>
                          <a:pt x="2030" y="5639"/>
                        </a:lnTo>
                        <a:lnTo>
                          <a:pt x="2008" y="5691"/>
                        </a:lnTo>
                        <a:lnTo>
                          <a:pt x="1993" y="5739"/>
                        </a:lnTo>
                        <a:lnTo>
                          <a:pt x="1985" y="5783"/>
                        </a:lnTo>
                        <a:lnTo>
                          <a:pt x="1983" y="5825"/>
                        </a:lnTo>
                        <a:lnTo>
                          <a:pt x="1987" y="5860"/>
                        </a:lnTo>
                        <a:lnTo>
                          <a:pt x="1993" y="5892"/>
                        </a:lnTo>
                        <a:lnTo>
                          <a:pt x="2003" y="5920"/>
                        </a:lnTo>
                        <a:lnTo>
                          <a:pt x="2010" y="5944"/>
                        </a:lnTo>
                        <a:lnTo>
                          <a:pt x="2020" y="5962"/>
                        </a:lnTo>
                        <a:lnTo>
                          <a:pt x="2028" y="5976"/>
                        </a:lnTo>
                        <a:lnTo>
                          <a:pt x="2034" y="5984"/>
                        </a:lnTo>
                        <a:lnTo>
                          <a:pt x="2040" y="5992"/>
                        </a:lnTo>
                        <a:lnTo>
                          <a:pt x="2044" y="6002"/>
                        </a:lnTo>
                        <a:lnTo>
                          <a:pt x="2048" y="6010"/>
                        </a:lnTo>
                        <a:lnTo>
                          <a:pt x="2050" y="6014"/>
                        </a:lnTo>
                        <a:lnTo>
                          <a:pt x="2052" y="6016"/>
                        </a:lnTo>
                        <a:lnTo>
                          <a:pt x="2054" y="6020"/>
                        </a:lnTo>
                        <a:lnTo>
                          <a:pt x="2082" y="6084"/>
                        </a:lnTo>
                        <a:lnTo>
                          <a:pt x="2118" y="6141"/>
                        </a:lnTo>
                        <a:lnTo>
                          <a:pt x="2162" y="6193"/>
                        </a:lnTo>
                        <a:lnTo>
                          <a:pt x="2214" y="6235"/>
                        </a:lnTo>
                        <a:lnTo>
                          <a:pt x="2272" y="6271"/>
                        </a:lnTo>
                        <a:lnTo>
                          <a:pt x="2336" y="6297"/>
                        </a:lnTo>
                        <a:lnTo>
                          <a:pt x="2403" y="6313"/>
                        </a:lnTo>
                        <a:lnTo>
                          <a:pt x="2473" y="6317"/>
                        </a:lnTo>
                        <a:lnTo>
                          <a:pt x="2545" y="6313"/>
                        </a:lnTo>
                        <a:lnTo>
                          <a:pt x="2613" y="6295"/>
                        </a:lnTo>
                        <a:lnTo>
                          <a:pt x="2675" y="6269"/>
                        </a:lnTo>
                        <a:lnTo>
                          <a:pt x="2733" y="6235"/>
                        </a:lnTo>
                        <a:lnTo>
                          <a:pt x="2784" y="6191"/>
                        </a:lnTo>
                        <a:lnTo>
                          <a:pt x="2828" y="6141"/>
                        </a:lnTo>
                        <a:lnTo>
                          <a:pt x="2864" y="6084"/>
                        </a:lnTo>
                        <a:lnTo>
                          <a:pt x="2890" y="6022"/>
                        </a:lnTo>
                        <a:lnTo>
                          <a:pt x="2908" y="5956"/>
                        </a:lnTo>
                        <a:lnTo>
                          <a:pt x="2914" y="5884"/>
                        </a:lnTo>
                        <a:lnTo>
                          <a:pt x="2914" y="5065"/>
                        </a:lnTo>
                        <a:lnTo>
                          <a:pt x="2910" y="5007"/>
                        </a:lnTo>
                        <a:lnTo>
                          <a:pt x="2898" y="4951"/>
                        </a:lnTo>
                        <a:lnTo>
                          <a:pt x="2880" y="4896"/>
                        </a:lnTo>
                        <a:lnTo>
                          <a:pt x="2838" y="4924"/>
                        </a:lnTo>
                        <a:lnTo>
                          <a:pt x="2788" y="4949"/>
                        </a:lnTo>
                        <a:lnTo>
                          <a:pt x="2733" y="4975"/>
                        </a:lnTo>
                        <a:lnTo>
                          <a:pt x="2669" y="4997"/>
                        </a:lnTo>
                        <a:lnTo>
                          <a:pt x="2601" y="5017"/>
                        </a:lnTo>
                        <a:lnTo>
                          <a:pt x="2527" y="5033"/>
                        </a:lnTo>
                        <a:lnTo>
                          <a:pt x="2447" y="5043"/>
                        </a:lnTo>
                        <a:lnTo>
                          <a:pt x="2360" y="5047"/>
                        </a:lnTo>
                        <a:lnTo>
                          <a:pt x="2326" y="5045"/>
                        </a:lnTo>
                        <a:lnTo>
                          <a:pt x="2294" y="5041"/>
                        </a:lnTo>
                        <a:lnTo>
                          <a:pt x="2266" y="5027"/>
                        </a:lnTo>
                        <a:lnTo>
                          <a:pt x="2242" y="5007"/>
                        </a:lnTo>
                        <a:lnTo>
                          <a:pt x="2224" y="4983"/>
                        </a:lnTo>
                        <a:lnTo>
                          <a:pt x="2212" y="4955"/>
                        </a:lnTo>
                        <a:lnTo>
                          <a:pt x="2208" y="4924"/>
                        </a:lnTo>
                        <a:lnTo>
                          <a:pt x="2216" y="4886"/>
                        </a:lnTo>
                        <a:lnTo>
                          <a:pt x="2234" y="4854"/>
                        </a:lnTo>
                        <a:lnTo>
                          <a:pt x="2260" y="4830"/>
                        </a:lnTo>
                        <a:lnTo>
                          <a:pt x="2292" y="4814"/>
                        </a:lnTo>
                        <a:lnTo>
                          <a:pt x="2330" y="4808"/>
                        </a:lnTo>
                        <a:lnTo>
                          <a:pt x="2334" y="4808"/>
                        </a:lnTo>
                        <a:lnTo>
                          <a:pt x="2360" y="4808"/>
                        </a:lnTo>
                        <a:lnTo>
                          <a:pt x="2439" y="4804"/>
                        </a:lnTo>
                        <a:lnTo>
                          <a:pt x="2513" y="4794"/>
                        </a:lnTo>
                        <a:lnTo>
                          <a:pt x="2577" y="4778"/>
                        </a:lnTo>
                        <a:lnTo>
                          <a:pt x="2635" y="4758"/>
                        </a:lnTo>
                        <a:lnTo>
                          <a:pt x="2685" y="4734"/>
                        </a:lnTo>
                        <a:lnTo>
                          <a:pt x="2729" y="4712"/>
                        </a:lnTo>
                        <a:lnTo>
                          <a:pt x="2762" y="4688"/>
                        </a:lnTo>
                        <a:lnTo>
                          <a:pt x="2790" y="4668"/>
                        </a:lnTo>
                        <a:lnTo>
                          <a:pt x="2810" y="4652"/>
                        </a:lnTo>
                        <a:lnTo>
                          <a:pt x="2822" y="4640"/>
                        </a:lnTo>
                        <a:lnTo>
                          <a:pt x="2862" y="4573"/>
                        </a:lnTo>
                        <a:lnTo>
                          <a:pt x="2890" y="4503"/>
                        </a:lnTo>
                        <a:lnTo>
                          <a:pt x="2908" y="4427"/>
                        </a:lnTo>
                        <a:lnTo>
                          <a:pt x="2914" y="4349"/>
                        </a:lnTo>
                        <a:lnTo>
                          <a:pt x="2914" y="3295"/>
                        </a:lnTo>
                        <a:lnTo>
                          <a:pt x="2908" y="3223"/>
                        </a:lnTo>
                        <a:lnTo>
                          <a:pt x="2894" y="3155"/>
                        </a:lnTo>
                        <a:lnTo>
                          <a:pt x="2870" y="3090"/>
                        </a:lnTo>
                        <a:lnTo>
                          <a:pt x="2838" y="3028"/>
                        </a:lnTo>
                        <a:lnTo>
                          <a:pt x="2798" y="2970"/>
                        </a:lnTo>
                        <a:lnTo>
                          <a:pt x="2750" y="2918"/>
                        </a:lnTo>
                        <a:lnTo>
                          <a:pt x="2695" y="2874"/>
                        </a:lnTo>
                        <a:lnTo>
                          <a:pt x="2635" y="2836"/>
                        </a:lnTo>
                        <a:lnTo>
                          <a:pt x="2631" y="2833"/>
                        </a:lnTo>
                        <a:lnTo>
                          <a:pt x="2627" y="2831"/>
                        </a:lnTo>
                        <a:lnTo>
                          <a:pt x="2625" y="2829"/>
                        </a:lnTo>
                        <a:lnTo>
                          <a:pt x="2621" y="2829"/>
                        </a:lnTo>
                        <a:lnTo>
                          <a:pt x="2611" y="2821"/>
                        </a:lnTo>
                        <a:lnTo>
                          <a:pt x="2591" y="2811"/>
                        </a:lnTo>
                        <a:lnTo>
                          <a:pt x="2565" y="2797"/>
                        </a:lnTo>
                        <a:lnTo>
                          <a:pt x="2531" y="2783"/>
                        </a:lnTo>
                        <a:lnTo>
                          <a:pt x="2491" y="2771"/>
                        </a:lnTo>
                        <a:lnTo>
                          <a:pt x="2447" y="2763"/>
                        </a:lnTo>
                        <a:lnTo>
                          <a:pt x="2397" y="2757"/>
                        </a:lnTo>
                        <a:lnTo>
                          <a:pt x="2344" y="2759"/>
                        </a:lnTo>
                        <a:lnTo>
                          <a:pt x="2286" y="2771"/>
                        </a:lnTo>
                        <a:lnTo>
                          <a:pt x="2226" y="2791"/>
                        </a:lnTo>
                        <a:lnTo>
                          <a:pt x="2164" y="2823"/>
                        </a:lnTo>
                        <a:lnTo>
                          <a:pt x="2102" y="2868"/>
                        </a:lnTo>
                        <a:lnTo>
                          <a:pt x="2078" y="2884"/>
                        </a:lnTo>
                        <a:lnTo>
                          <a:pt x="2050" y="2894"/>
                        </a:lnTo>
                        <a:lnTo>
                          <a:pt x="2022" y="2896"/>
                        </a:lnTo>
                        <a:lnTo>
                          <a:pt x="1989" y="2892"/>
                        </a:lnTo>
                        <a:lnTo>
                          <a:pt x="1959" y="2878"/>
                        </a:lnTo>
                        <a:lnTo>
                          <a:pt x="1931" y="2854"/>
                        </a:lnTo>
                        <a:lnTo>
                          <a:pt x="1913" y="2829"/>
                        </a:lnTo>
                        <a:lnTo>
                          <a:pt x="1905" y="2799"/>
                        </a:lnTo>
                        <a:lnTo>
                          <a:pt x="1903" y="2769"/>
                        </a:lnTo>
                        <a:lnTo>
                          <a:pt x="1909" y="2739"/>
                        </a:lnTo>
                        <a:lnTo>
                          <a:pt x="1923" y="2711"/>
                        </a:lnTo>
                        <a:lnTo>
                          <a:pt x="1945" y="2687"/>
                        </a:lnTo>
                        <a:lnTo>
                          <a:pt x="2020" y="2629"/>
                        </a:lnTo>
                        <a:lnTo>
                          <a:pt x="2098" y="2587"/>
                        </a:lnTo>
                        <a:lnTo>
                          <a:pt x="2174" y="2555"/>
                        </a:lnTo>
                        <a:lnTo>
                          <a:pt x="2250" y="2534"/>
                        </a:lnTo>
                        <a:lnTo>
                          <a:pt x="2324" y="2524"/>
                        </a:lnTo>
                        <a:lnTo>
                          <a:pt x="2395" y="2520"/>
                        </a:lnTo>
                        <a:lnTo>
                          <a:pt x="2465" y="2526"/>
                        </a:lnTo>
                        <a:lnTo>
                          <a:pt x="2529" y="2536"/>
                        </a:lnTo>
                        <a:lnTo>
                          <a:pt x="2589" y="2551"/>
                        </a:lnTo>
                        <a:lnTo>
                          <a:pt x="2645" y="2571"/>
                        </a:lnTo>
                        <a:lnTo>
                          <a:pt x="2693" y="2593"/>
                        </a:lnTo>
                        <a:lnTo>
                          <a:pt x="2748" y="2551"/>
                        </a:lnTo>
                        <a:lnTo>
                          <a:pt x="2796" y="2504"/>
                        </a:lnTo>
                        <a:lnTo>
                          <a:pt x="2836" y="2450"/>
                        </a:lnTo>
                        <a:lnTo>
                          <a:pt x="2870" y="2392"/>
                        </a:lnTo>
                        <a:lnTo>
                          <a:pt x="2894" y="2328"/>
                        </a:lnTo>
                        <a:lnTo>
                          <a:pt x="2908" y="2262"/>
                        </a:lnTo>
                        <a:lnTo>
                          <a:pt x="2914" y="2195"/>
                        </a:lnTo>
                        <a:lnTo>
                          <a:pt x="2914" y="2195"/>
                        </a:lnTo>
                        <a:lnTo>
                          <a:pt x="2914" y="480"/>
                        </a:lnTo>
                        <a:lnTo>
                          <a:pt x="2908" y="431"/>
                        </a:lnTo>
                        <a:lnTo>
                          <a:pt x="2894" y="387"/>
                        </a:lnTo>
                        <a:lnTo>
                          <a:pt x="2872" y="345"/>
                        </a:lnTo>
                        <a:lnTo>
                          <a:pt x="2842" y="309"/>
                        </a:lnTo>
                        <a:lnTo>
                          <a:pt x="2804" y="281"/>
                        </a:lnTo>
                        <a:lnTo>
                          <a:pt x="2764" y="257"/>
                        </a:lnTo>
                        <a:lnTo>
                          <a:pt x="2717" y="243"/>
                        </a:lnTo>
                        <a:lnTo>
                          <a:pt x="2669" y="239"/>
                        </a:lnTo>
                        <a:close/>
                        <a:moveTo>
                          <a:pt x="2669" y="0"/>
                        </a:moveTo>
                        <a:lnTo>
                          <a:pt x="2740" y="6"/>
                        </a:lnTo>
                        <a:lnTo>
                          <a:pt x="2808" y="20"/>
                        </a:lnTo>
                        <a:lnTo>
                          <a:pt x="2874" y="46"/>
                        </a:lnTo>
                        <a:lnTo>
                          <a:pt x="2934" y="78"/>
                        </a:lnTo>
                        <a:lnTo>
                          <a:pt x="2988" y="118"/>
                        </a:lnTo>
                        <a:lnTo>
                          <a:pt x="3036" y="165"/>
                        </a:lnTo>
                        <a:lnTo>
                          <a:pt x="3078" y="219"/>
                        </a:lnTo>
                        <a:lnTo>
                          <a:pt x="3111" y="277"/>
                        </a:lnTo>
                        <a:lnTo>
                          <a:pt x="3135" y="341"/>
                        </a:lnTo>
                        <a:lnTo>
                          <a:pt x="3151" y="409"/>
                        </a:lnTo>
                        <a:lnTo>
                          <a:pt x="3155" y="480"/>
                        </a:lnTo>
                        <a:lnTo>
                          <a:pt x="3155" y="2195"/>
                        </a:lnTo>
                        <a:lnTo>
                          <a:pt x="3149" y="2282"/>
                        </a:lnTo>
                        <a:lnTo>
                          <a:pt x="3133" y="2370"/>
                        </a:lnTo>
                        <a:lnTo>
                          <a:pt x="3105" y="2452"/>
                        </a:lnTo>
                        <a:lnTo>
                          <a:pt x="3070" y="2532"/>
                        </a:lnTo>
                        <a:lnTo>
                          <a:pt x="3024" y="2605"/>
                        </a:lnTo>
                        <a:lnTo>
                          <a:pt x="2968" y="2673"/>
                        </a:lnTo>
                        <a:lnTo>
                          <a:pt x="2904" y="2735"/>
                        </a:lnTo>
                        <a:lnTo>
                          <a:pt x="2968" y="2799"/>
                        </a:lnTo>
                        <a:lnTo>
                          <a:pt x="3024" y="2870"/>
                        </a:lnTo>
                        <a:lnTo>
                          <a:pt x="3070" y="2946"/>
                        </a:lnTo>
                        <a:lnTo>
                          <a:pt x="3107" y="3028"/>
                        </a:lnTo>
                        <a:lnTo>
                          <a:pt x="3133" y="3114"/>
                        </a:lnTo>
                        <a:lnTo>
                          <a:pt x="3149" y="3203"/>
                        </a:lnTo>
                        <a:lnTo>
                          <a:pt x="3155" y="3295"/>
                        </a:lnTo>
                        <a:lnTo>
                          <a:pt x="3155" y="4349"/>
                        </a:lnTo>
                        <a:lnTo>
                          <a:pt x="3149" y="4445"/>
                        </a:lnTo>
                        <a:lnTo>
                          <a:pt x="3131" y="4539"/>
                        </a:lnTo>
                        <a:lnTo>
                          <a:pt x="3103" y="4627"/>
                        </a:lnTo>
                        <a:lnTo>
                          <a:pt x="3062" y="4712"/>
                        </a:lnTo>
                        <a:lnTo>
                          <a:pt x="3096" y="4778"/>
                        </a:lnTo>
                        <a:lnTo>
                          <a:pt x="3121" y="4848"/>
                        </a:lnTo>
                        <a:lnTo>
                          <a:pt x="3141" y="4918"/>
                        </a:lnTo>
                        <a:lnTo>
                          <a:pt x="3151" y="4989"/>
                        </a:lnTo>
                        <a:lnTo>
                          <a:pt x="3155" y="5065"/>
                        </a:lnTo>
                        <a:lnTo>
                          <a:pt x="3155" y="5884"/>
                        </a:lnTo>
                        <a:lnTo>
                          <a:pt x="3149" y="5976"/>
                        </a:lnTo>
                        <a:lnTo>
                          <a:pt x="3131" y="6064"/>
                        </a:lnTo>
                        <a:lnTo>
                          <a:pt x="3102" y="6145"/>
                        </a:lnTo>
                        <a:lnTo>
                          <a:pt x="3062" y="6223"/>
                        </a:lnTo>
                        <a:lnTo>
                          <a:pt x="3014" y="6295"/>
                        </a:lnTo>
                        <a:lnTo>
                          <a:pt x="2956" y="6359"/>
                        </a:lnTo>
                        <a:lnTo>
                          <a:pt x="2890" y="6417"/>
                        </a:lnTo>
                        <a:lnTo>
                          <a:pt x="2818" y="6464"/>
                        </a:lnTo>
                        <a:lnTo>
                          <a:pt x="2738" y="6502"/>
                        </a:lnTo>
                        <a:lnTo>
                          <a:pt x="2655" y="6532"/>
                        </a:lnTo>
                        <a:lnTo>
                          <a:pt x="2565" y="6550"/>
                        </a:lnTo>
                        <a:lnTo>
                          <a:pt x="2473" y="6556"/>
                        </a:lnTo>
                        <a:lnTo>
                          <a:pt x="2391" y="6552"/>
                        </a:lnTo>
                        <a:lnTo>
                          <a:pt x="2314" y="6538"/>
                        </a:lnTo>
                        <a:lnTo>
                          <a:pt x="2238" y="6514"/>
                        </a:lnTo>
                        <a:lnTo>
                          <a:pt x="2166" y="6484"/>
                        </a:lnTo>
                        <a:lnTo>
                          <a:pt x="2098" y="6446"/>
                        </a:lnTo>
                        <a:lnTo>
                          <a:pt x="2036" y="6401"/>
                        </a:lnTo>
                        <a:lnTo>
                          <a:pt x="1979" y="6349"/>
                        </a:lnTo>
                        <a:lnTo>
                          <a:pt x="1929" y="6289"/>
                        </a:lnTo>
                        <a:lnTo>
                          <a:pt x="1885" y="6225"/>
                        </a:lnTo>
                        <a:lnTo>
                          <a:pt x="1817" y="6251"/>
                        </a:lnTo>
                        <a:lnTo>
                          <a:pt x="1749" y="6269"/>
                        </a:lnTo>
                        <a:lnTo>
                          <a:pt x="1679" y="6279"/>
                        </a:lnTo>
                        <a:lnTo>
                          <a:pt x="1608" y="6283"/>
                        </a:lnTo>
                        <a:lnTo>
                          <a:pt x="1516" y="6277"/>
                        </a:lnTo>
                        <a:lnTo>
                          <a:pt x="1428" y="6259"/>
                        </a:lnTo>
                        <a:lnTo>
                          <a:pt x="1344" y="6231"/>
                        </a:lnTo>
                        <a:lnTo>
                          <a:pt x="1267" y="6193"/>
                        </a:lnTo>
                        <a:lnTo>
                          <a:pt x="1195" y="6145"/>
                        </a:lnTo>
                        <a:lnTo>
                          <a:pt x="1129" y="6090"/>
                        </a:lnTo>
                        <a:lnTo>
                          <a:pt x="1071" y="6026"/>
                        </a:lnTo>
                        <a:lnTo>
                          <a:pt x="1021" y="5956"/>
                        </a:lnTo>
                        <a:lnTo>
                          <a:pt x="981" y="5880"/>
                        </a:lnTo>
                        <a:lnTo>
                          <a:pt x="951" y="5799"/>
                        </a:lnTo>
                        <a:lnTo>
                          <a:pt x="931" y="5713"/>
                        </a:lnTo>
                        <a:lnTo>
                          <a:pt x="923" y="5623"/>
                        </a:lnTo>
                        <a:lnTo>
                          <a:pt x="832" y="5591"/>
                        </a:lnTo>
                        <a:lnTo>
                          <a:pt x="744" y="5551"/>
                        </a:lnTo>
                        <a:lnTo>
                          <a:pt x="664" y="5502"/>
                        </a:lnTo>
                        <a:lnTo>
                          <a:pt x="588" y="5444"/>
                        </a:lnTo>
                        <a:lnTo>
                          <a:pt x="521" y="5378"/>
                        </a:lnTo>
                        <a:lnTo>
                          <a:pt x="459" y="5308"/>
                        </a:lnTo>
                        <a:lnTo>
                          <a:pt x="407" y="5230"/>
                        </a:lnTo>
                        <a:lnTo>
                          <a:pt x="363" y="5147"/>
                        </a:lnTo>
                        <a:lnTo>
                          <a:pt x="327" y="5061"/>
                        </a:lnTo>
                        <a:lnTo>
                          <a:pt x="301" y="4969"/>
                        </a:lnTo>
                        <a:lnTo>
                          <a:pt x="285" y="4874"/>
                        </a:lnTo>
                        <a:lnTo>
                          <a:pt x="279" y="4774"/>
                        </a:lnTo>
                        <a:lnTo>
                          <a:pt x="285" y="4672"/>
                        </a:lnTo>
                        <a:lnTo>
                          <a:pt x="303" y="4571"/>
                        </a:lnTo>
                        <a:lnTo>
                          <a:pt x="333" y="4473"/>
                        </a:lnTo>
                        <a:lnTo>
                          <a:pt x="375" y="4379"/>
                        </a:lnTo>
                        <a:lnTo>
                          <a:pt x="301" y="4328"/>
                        </a:lnTo>
                        <a:lnTo>
                          <a:pt x="233" y="4268"/>
                        </a:lnTo>
                        <a:lnTo>
                          <a:pt x="174" y="4202"/>
                        </a:lnTo>
                        <a:lnTo>
                          <a:pt x="124" y="4130"/>
                        </a:lnTo>
                        <a:lnTo>
                          <a:pt x="80" y="4052"/>
                        </a:lnTo>
                        <a:lnTo>
                          <a:pt x="46" y="3971"/>
                        </a:lnTo>
                        <a:lnTo>
                          <a:pt x="20" y="3887"/>
                        </a:lnTo>
                        <a:lnTo>
                          <a:pt x="6" y="3797"/>
                        </a:lnTo>
                        <a:lnTo>
                          <a:pt x="0" y="3708"/>
                        </a:lnTo>
                        <a:lnTo>
                          <a:pt x="6" y="3616"/>
                        </a:lnTo>
                        <a:lnTo>
                          <a:pt x="22" y="3524"/>
                        </a:lnTo>
                        <a:lnTo>
                          <a:pt x="48" y="3436"/>
                        </a:lnTo>
                        <a:lnTo>
                          <a:pt x="84" y="3353"/>
                        </a:lnTo>
                        <a:lnTo>
                          <a:pt x="130" y="3273"/>
                        </a:lnTo>
                        <a:lnTo>
                          <a:pt x="84" y="3185"/>
                        </a:lnTo>
                        <a:lnTo>
                          <a:pt x="48" y="3094"/>
                        </a:lnTo>
                        <a:lnTo>
                          <a:pt x="22" y="2998"/>
                        </a:lnTo>
                        <a:lnTo>
                          <a:pt x="6" y="2902"/>
                        </a:lnTo>
                        <a:lnTo>
                          <a:pt x="0" y="2803"/>
                        </a:lnTo>
                        <a:lnTo>
                          <a:pt x="6" y="2701"/>
                        </a:lnTo>
                        <a:lnTo>
                          <a:pt x="22" y="2601"/>
                        </a:lnTo>
                        <a:lnTo>
                          <a:pt x="50" y="2506"/>
                        </a:lnTo>
                        <a:lnTo>
                          <a:pt x="86" y="2412"/>
                        </a:lnTo>
                        <a:lnTo>
                          <a:pt x="132" y="2326"/>
                        </a:lnTo>
                        <a:lnTo>
                          <a:pt x="187" y="2242"/>
                        </a:lnTo>
                        <a:lnTo>
                          <a:pt x="251" y="2167"/>
                        </a:lnTo>
                        <a:lnTo>
                          <a:pt x="325" y="2097"/>
                        </a:lnTo>
                        <a:lnTo>
                          <a:pt x="405" y="2035"/>
                        </a:lnTo>
                        <a:lnTo>
                          <a:pt x="381" y="1959"/>
                        </a:lnTo>
                        <a:lnTo>
                          <a:pt x="367" y="1882"/>
                        </a:lnTo>
                        <a:lnTo>
                          <a:pt x="363" y="1802"/>
                        </a:lnTo>
                        <a:lnTo>
                          <a:pt x="369" y="1714"/>
                        </a:lnTo>
                        <a:lnTo>
                          <a:pt x="385" y="1629"/>
                        </a:lnTo>
                        <a:lnTo>
                          <a:pt x="413" y="1549"/>
                        </a:lnTo>
                        <a:lnTo>
                          <a:pt x="451" y="1473"/>
                        </a:lnTo>
                        <a:lnTo>
                          <a:pt x="497" y="1401"/>
                        </a:lnTo>
                        <a:lnTo>
                          <a:pt x="552" y="1338"/>
                        </a:lnTo>
                        <a:lnTo>
                          <a:pt x="614" y="1282"/>
                        </a:lnTo>
                        <a:lnTo>
                          <a:pt x="684" y="1234"/>
                        </a:lnTo>
                        <a:lnTo>
                          <a:pt x="760" y="1192"/>
                        </a:lnTo>
                        <a:lnTo>
                          <a:pt x="840" y="1162"/>
                        </a:lnTo>
                        <a:lnTo>
                          <a:pt x="925" y="1142"/>
                        </a:lnTo>
                        <a:lnTo>
                          <a:pt x="935" y="1052"/>
                        </a:lnTo>
                        <a:lnTo>
                          <a:pt x="957" y="967"/>
                        </a:lnTo>
                        <a:lnTo>
                          <a:pt x="991" y="885"/>
                        </a:lnTo>
                        <a:lnTo>
                          <a:pt x="1033" y="811"/>
                        </a:lnTo>
                        <a:lnTo>
                          <a:pt x="1085" y="742"/>
                        </a:lnTo>
                        <a:lnTo>
                          <a:pt x="1145" y="680"/>
                        </a:lnTo>
                        <a:lnTo>
                          <a:pt x="1213" y="626"/>
                        </a:lnTo>
                        <a:lnTo>
                          <a:pt x="1288" y="582"/>
                        </a:lnTo>
                        <a:lnTo>
                          <a:pt x="1368" y="546"/>
                        </a:lnTo>
                        <a:lnTo>
                          <a:pt x="1454" y="520"/>
                        </a:lnTo>
                        <a:lnTo>
                          <a:pt x="1544" y="506"/>
                        </a:lnTo>
                        <a:lnTo>
                          <a:pt x="1582" y="439"/>
                        </a:lnTo>
                        <a:lnTo>
                          <a:pt x="1628" y="377"/>
                        </a:lnTo>
                        <a:lnTo>
                          <a:pt x="1679" y="323"/>
                        </a:lnTo>
                        <a:lnTo>
                          <a:pt x="1739" y="273"/>
                        </a:lnTo>
                        <a:lnTo>
                          <a:pt x="1805" y="233"/>
                        </a:lnTo>
                        <a:lnTo>
                          <a:pt x="1873" y="199"/>
                        </a:lnTo>
                        <a:lnTo>
                          <a:pt x="1947" y="175"/>
                        </a:lnTo>
                        <a:lnTo>
                          <a:pt x="2024" y="161"/>
                        </a:lnTo>
                        <a:lnTo>
                          <a:pt x="2104" y="155"/>
                        </a:lnTo>
                        <a:lnTo>
                          <a:pt x="2164" y="159"/>
                        </a:lnTo>
                        <a:lnTo>
                          <a:pt x="2226" y="167"/>
                        </a:lnTo>
                        <a:lnTo>
                          <a:pt x="2286" y="183"/>
                        </a:lnTo>
                        <a:lnTo>
                          <a:pt x="2336" y="130"/>
                        </a:lnTo>
                        <a:lnTo>
                          <a:pt x="2391" y="86"/>
                        </a:lnTo>
                        <a:lnTo>
                          <a:pt x="2455" y="50"/>
                        </a:lnTo>
                        <a:lnTo>
                          <a:pt x="2521" y="22"/>
                        </a:lnTo>
                        <a:lnTo>
                          <a:pt x="2593" y="6"/>
                        </a:lnTo>
                        <a:lnTo>
                          <a:pt x="26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grpSp>
          </p:grpSp>
        </p:grpSp>
        <p:sp>
          <p:nvSpPr>
            <p:cNvPr id="18" name="TextBox 17">
              <a:extLst>
                <a:ext uri="{FF2B5EF4-FFF2-40B4-BE49-F238E27FC236}">
                  <a16:creationId xmlns:a16="http://schemas.microsoft.com/office/drawing/2014/main" id="{C1A88E14-4D19-41C8-16ED-3D941AF0C265}"/>
                </a:ext>
              </a:extLst>
            </p:cNvPr>
            <p:cNvSpPr txBox="1"/>
            <p:nvPr/>
          </p:nvSpPr>
          <p:spPr>
            <a:xfrm>
              <a:off x="8834200" y="3819350"/>
              <a:ext cx="2506798" cy="600164"/>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In-Building Services</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amp;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Venue Engineering</a:t>
              </a:r>
            </a:p>
          </p:txBody>
        </p:sp>
        <p:grpSp>
          <p:nvGrpSpPr>
            <p:cNvPr id="19" name="Group 18">
              <a:extLst>
                <a:ext uri="{FF2B5EF4-FFF2-40B4-BE49-F238E27FC236}">
                  <a16:creationId xmlns:a16="http://schemas.microsoft.com/office/drawing/2014/main" id="{4E0CE11C-6D54-5EA2-746E-40975DEFFCED}"/>
                </a:ext>
              </a:extLst>
            </p:cNvPr>
            <p:cNvGrpSpPr/>
            <p:nvPr/>
          </p:nvGrpSpPr>
          <p:grpSpPr>
            <a:xfrm>
              <a:off x="7476932" y="3843419"/>
              <a:ext cx="1124544" cy="1100355"/>
              <a:chOff x="5717814" y="2816467"/>
              <a:chExt cx="1081325" cy="1084732"/>
            </a:xfrm>
          </p:grpSpPr>
          <p:sp>
            <p:nvSpPr>
              <p:cNvPr id="58" name="Freeform 15">
                <a:extLst>
                  <a:ext uri="{FF2B5EF4-FFF2-40B4-BE49-F238E27FC236}">
                    <a16:creationId xmlns:a16="http://schemas.microsoft.com/office/drawing/2014/main" id="{2AE6A0CD-8755-664E-1950-90D7ABA1CB7E}"/>
                  </a:ext>
                </a:extLst>
              </p:cNvPr>
              <p:cNvSpPr>
                <a:spLocks/>
              </p:cNvSpPr>
              <p:nvPr/>
            </p:nvSpPr>
            <p:spPr bwMode="auto">
              <a:xfrm>
                <a:off x="5717814" y="2816467"/>
                <a:ext cx="1081325" cy="1084732"/>
              </a:xfrm>
              <a:custGeom>
                <a:avLst/>
                <a:gdLst>
                  <a:gd name="T0" fmla="*/ 500 w 952"/>
                  <a:gd name="T1" fmla="*/ 0 h 955"/>
                  <a:gd name="T2" fmla="*/ 552 w 952"/>
                  <a:gd name="T3" fmla="*/ 5 h 955"/>
                  <a:gd name="T4" fmla="*/ 603 w 952"/>
                  <a:gd name="T5" fmla="*/ 17 h 955"/>
                  <a:gd name="T6" fmla="*/ 653 w 952"/>
                  <a:gd name="T7" fmla="*/ 34 h 955"/>
                  <a:gd name="T8" fmla="*/ 700 w 952"/>
                  <a:gd name="T9" fmla="*/ 55 h 955"/>
                  <a:gd name="T10" fmla="*/ 746 w 952"/>
                  <a:gd name="T11" fmla="*/ 83 h 955"/>
                  <a:gd name="T12" fmla="*/ 788 w 952"/>
                  <a:gd name="T13" fmla="*/ 115 h 955"/>
                  <a:gd name="T14" fmla="*/ 827 w 952"/>
                  <a:gd name="T15" fmla="*/ 152 h 955"/>
                  <a:gd name="T16" fmla="*/ 861 w 952"/>
                  <a:gd name="T17" fmla="*/ 195 h 955"/>
                  <a:gd name="T18" fmla="*/ 891 w 952"/>
                  <a:gd name="T19" fmla="*/ 241 h 955"/>
                  <a:gd name="T20" fmla="*/ 916 w 952"/>
                  <a:gd name="T21" fmla="*/ 292 h 955"/>
                  <a:gd name="T22" fmla="*/ 934 w 952"/>
                  <a:gd name="T23" fmla="*/ 343 h 955"/>
                  <a:gd name="T24" fmla="*/ 947 w 952"/>
                  <a:gd name="T25" fmla="*/ 396 h 955"/>
                  <a:gd name="T26" fmla="*/ 952 w 952"/>
                  <a:gd name="T27" fmla="*/ 448 h 955"/>
                  <a:gd name="T28" fmla="*/ 952 w 952"/>
                  <a:gd name="T29" fmla="*/ 500 h 955"/>
                  <a:gd name="T30" fmla="*/ 947 w 952"/>
                  <a:gd name="T31" fmla="*/ 553 h 955"/>
                  <a:gd name="T32" fmla="*/ 937 w 952"/>
                  <a:gd name="T33" fmla="*/ 604 h 955"/>
                  <a:gd name="T34" fmla="*/ 920 w 952"/>
                  <a:gd name="T35" fmla="*/ 653 h 955"/>
                  <a:gd name="T36" fmla="*/ 897 w 952"/>
                  <a:gd name="T37" fmla="*/ 702 h 955"/>
                  <a:gd name="T38" fmla="*/ 870 w 952"/>
                  <a:gd name="T39" fmla="*/ 746 h 955"/>
                  <a:gd name="T40" fmla="*/ 839 w 952"/>
                  <a:gd name="T41" fmla="*/ 788 h 955"/>
                  <a:gd name="T42" fmla="*/ 801 w 952"/>
                  <a:gd name="T43" fmla="*/ 828 h 955"/>
                  <a:gd name="T44" fmla="*/ 759 w 952"/>
                  <a:gd name="T45" fmla="*/ 862 h 955"/>
                  <a:gd name="T46" fmla="*/ 712 w 952"/>
                  <a:gd name="T47" fmla="*/ 893 h 955"/>
                  <a:gd name="T48" fmla="*/ 662 w 952"/>
                  <a:gd name="T49" fmla="*/ 917 h 955"/>
                  <a:gd name="T50" fmla="*/ 611 w 952"/>
                  <a:gd name="T51" fmla="*/ 935 h 955"/>
                  <a:gd name="T52" fmla="*/ 559 w 952"/>
                  <a:gd name="T53" fmla="*/ 948 h 955"/>
                  <a:gd name="T54" fmla="*/ 505 w 952"/>
                  <a:gd name="T55" fmla="*/ 953 h 955"/>
                  <a:gd name="T56" fmla="*/ 453 w 952"/>
                  <a:gd name="T57" fmla="*/ 955 h 955"/>
                  <a:gd name="T58" fmla="*/ 400 w 952"/>
                  <a:gd name="T59" fmla="*/ 948 h 955"/>
                  <a:gd name="T60" fmla="*/ 349 w 952"/>
                  <a:gd name="T61" fmla="*/ 938 h 955"/>
                  <a:gd name="T62" fmla="*/ 300 w 952"/>
                  <a:gd name="T63" fmla="*/ 921 h 955"/>
                  <a:gd name="T64" fmla="*/ 252 w 952"/>
                  <a:gd name="T65" fmla="*/ 898 h 955"/>
                  <a:gd name="T66" fmla="*/ 207 w 952"/>
                  <a:gd name="T67" fmla="*/ 872 h 955"/>
                  <a:gd name="T68" fmla="*/ 165 w 952"/>
                  <a:gd name="T69" fmla="*/ 839 h 955"/>
                  <a:gd name="T70" fmla="*/ 127 w 952"/>
                  <a:gd name="T71" fmla="*/ 801 h 955"/>
                  <a:gd name="T72" fmla="*/ 91 w 952"/>
                  <a:gd name="T73" fmla="*/ 760 h 955"/>
                  <a:gd name="T74" fmla="*/ 61 w 952"/>
                  <a:gd name="T75" fmla="*/ 712 h 955"/>
                  <a:gd name="T76" fmla="*/ 37 w 952"/>
                  <a:gd name="T77" fmla="*/ 663 h 955"/>
                  <a:gd name="T78" fmla="*/ 18 w 952"/>
                  <a:gd name="T79" fmla="*/ 612 h 955"/>
                  <a:gd name="T80" fmla="*/ 6 w 952"/>
                  <a:gd name="T81" fmla="*/ 559 h 955"/>
                  <a:gd name="T82" fmla="*/ 0 w 952"/>
                  <a:gd name="T83" fmla="*/ 507 h 955"/>
                  <a:gd name="T84" fmla="*/ 0 w 952"/>
                  <a:gd name="T85" fmla="*/ 453 h 955"/>
                  <a:gd name="T86" fmla="*/ 5 w 952"/>
                  <a:gd name="T87" fmla="*/ 402 h 955"/>
                  <a:gd name="T88" fmla="*/ 17 w 952"/>
                  <a:gd name="T89" fmla="*/ 350 h 955"/>
                  <a:gd name="T90" fmla="*/ 33 w 952"/>
                  <a:gd name="T91" fmla="*/ 301 h 955"/>
                  <a:gd name="T92" fmla="*/ 55 w 952"/>
                  <a:gd name="T93" fmla="*/ 253 h 955"/>
                  <a:gd name="T94" fmla="*/ 82 w 952"/>
                  <a:gd name="T95" fmla="*/ 208 h 955"/>
                  <a:gd name="T96" fmla="*/ 115 w 952"/>
                  <a:gd name="T97" fmla="*/ 165 h 955"/>
                  <a:gd name="T98" fmla="*/ 152 w 952"/>
                  <a:gd name="T99" fmla="*/ 127 h 955"/>
                  <a:gd name="T100" fmla="*/ 194 w 952"/>
                  <a:gd name="T101" fmla="*/ 92 h 955"/>
                  <a:gd name="T102" fmla="*/ 241 w 952"/>
                  <a:gd name="T103" fmla="*/ 62 h 955"/>
                  <a:gd name="T104" fmla="*/ 290 w 952"/>
                  <a:gd name="T105" fmla="*/ 37 h 955"/>
                  <a:gd name="T106" fmla="*/ 343 w 952"/>
                  <a:gd name="T107" fmla="*/ 19 h 955"/>
                  <a:gd name="T108" fmla="*/ 395 w 952"/>
                  <a:gd name="T109" fmla="*/ 7 h 955"/>
                  <a:gd name="T110" fmla="*/ 447 w 952"/>
                  <a:gd name="T111" fmla="*/ 0 h 955"/>
                  <a:gd name="T112" fmla="*/ 500 w 952"/>
                  <a:gd name="T113" fmla="*/ 0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2" h="955">
                    <a:moveTo>
                      <a:pt x="500" y="0"/>
                    </a:moveTo>
                    <a:lnTo>
                      <a:pt x="552" y="5"/>
                    </a:lnTo>
                    <a:lnTo>
                      <a:pt x="603" y="17"/>
                    </a:lnTo>
                    <a:lnTo>
                      <a:pt x="653" y="34"/>
                    </a:lnTo>
                    <a:lnTo>
                      <a:pt x="700" y="55"/>
                    </a:lnTo>
                    <a:lnTo>
                      <a:pt x="746" y="83"/>
                    </a:lnTo>
                    <a:lnTo>
                      <a:pt x="788" y="115"/>
                    </a:lnTo>
                    <a:lnTo>
                      <a:pt x="827" y="152"/>
                    </a:lnTo>
                    <a:lnTo>
                      <a:pt x="861" y="195"/>
                    </a:lnTo>
                    <a:lnTo>
                      <a:pt x="891" y="241"/>
                    </a:lnTo>
                    <a:lnTo>
                      <a:pt x="916" y="292"/>
                    </a:lnTo>
                    <a:lnTo>
                      <a:pt x="934" y="343"/>
                    </a:lnTo>
                    <a:lnTo>
                      <a:pt x="947" y="396"/>
                    </a:lnTo>
                    <a:lnTo>
                      <a:pt x="952" y="448"/>
                    </a:lnTo>
                    <a:lnTo>
                      <a:pt x="952" y="500"/>
                    </a:lnTo>
                    <a:lnTo>
                      <a:pt x="947" y="553"/>
                    </a:lnTo>
                    <a:lnTo>
                      <a:pt x="937" y="604"/>
                    </a:lnTo>
                    <a:lnTo>
                      <a:pt x="920" y="653"/>
                    </a:lnTo>
                    <a:lnTo>
                      <a:pt x="897" y="702"/>
                    </a:lnTo>
                    <a:lnTo>
                      <a:pt x="870" y="746"/>
                    </a:lnTo>
                    <a:lnTo>
                      <a:pt x="839" y="788"/>
                    </a:lnTo>
                    <a:lnTo>
                      <a:pt x="801" y="828"/>
                    </a:lnTo>
                    <a:lnTo>
                      <a:pt x="759" y="862"/>
                    </a:lnTo>
                    <a:lnTo>
                      <a:pt x="712" y="893"/>
                    </a:lnTo>
                    <a:lnTo>
                      <a:pt x="662" y="917"/>
                    </a:lnTo>
                    <a:lnTo>
                      <a:pt x="611" y="935"/>
                    </a:lnTo>
                    <a:lnTo>
                      <a:pt x="559" y="948"/>
                    </a:lnTo>
                    <a:lnTo>
                      <a:pt x="505" y="953"/>
                    </a:lnTo>
                    <a:lnTo>
                      <a:pt x="453" y="955"/>
                    </a:lnTo>
                    <a:lnTo>
                      <a:pt x="400" y="948"/>
                    </a:lnTo>
                    <a:lnTo>
                      <a:pt x="349" y="938"/>
                    </a:lnTo>
                    <a:lnTo>
                      <a:pt x="300" y="921"/>
                    </a:lnTo>
                    <a:lnTo>
                      <a:pt x="252" y="898"/>
                    </a:lnTo>
                    <a:lnTo>
                      <a:pt x="207" y="872"/>
                    </a:lnTo>
                    <a:lnTo>
                      <a:pt x="165" y="839"/>
                    </a:lnTo>
                    <a:lnTo>
                      <a:pt x="127" y="801"/>
                    </a:lnTo>
                    <a:lnTo>
                      <a:pt x="91" y="760"/>
                    </a:lnTo>
                    <a:lnTo>
                      <a:pt x="61" y="712"/>
                    </a:lnTo>
                    <a:lnTo>
                      <a:pt x="37" y="663"/>
                    </a:lnTo>
                    <a:lnTo>
                      <a:pt x="18" y="612"/>
                    </a:lnTo>
                    <a:lnTo>
                      <a:pt x="6" y="559"/>
                    </a:lnTo>
                    <a:lnTo>
                      <a:pt x="0" y="507"/>
                    </a:lnTo>
                    <a:lnTo>
                      <a:pt x="0" y="453"/>
                    </a:lnTo>
                    <a:lnTo>
                      <a:pt x="5" y="402"/>
                    </a:lnTo>
                    <a:lnTo>
                      <a:pt x="17" y="350"/>
                    </a:lnTo>
                    <a:lnTo>
                      <a:pt x="33" y="301"/>
                    </a:lnTo>
                    <a:lnTo>
                      <a:pt x="55" y="253"/>
                    </a:lnTo>
                    <a:lnTo>
                      <a:pt x="82" y="208"/>
                    </a:lnTo>
                    <a:lnTo>
                      <a:pt x="115" y="165"/>
                    </a:lnTo>
                    <a:lnTo>
                      <a:pt x="152" y="127"/>
                    </a:lnTo>
                    <a:lnTo>
                      <a:pt x="194" y="92"/>
                    </a:lnTo>
                    <a:lnTo>
                      <a:pt x="241" y="62"/>
                    </a:lnTo>
                    <a:lnTo>
                      <a:pt x="290" y="37"/>
                    </a:lnTo>
                    <a:lnTo>
                      <a:pt x="343" y="19"/>
                    </a:lnTo>
                    <a:lnTo>
                      <a:pt x="395" y="7"/>
                    </a:lnTo>
                    <a:lnTo>
                      <a:pt x="447" y="0"/>
                    </a:lnTo>
                    <a:lnTo>
                      <a:pt x="500" y="0"/>
                    </a:lnTo>
                    <a:close/>
                  </a:path>
                </a:pathLst>
              </a:custGeom>
              <a:solidFill>
                <a:schemeClr val="tx2">
                  <a:lumMod val="75000"/>
                </a:schemeClr>
              </a:solid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pic>
            <p:nvPicPr>
              <p:cNvPr id="59" name="Graphic 58" descr="Binoculars">
                <a:extLst>
                  <a:ext uri="{FF2B5EF4-FFF2-40B4-BE49-F238E27FC236}">
                    <a16:creationId xmlns:a16="http://schemas.microsoft.com/office/drawing/2014/main" id="{D5F5FADE-AE0D-AE19-134D-3E89DF1EDC9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930328" y="3008569"/>
                <a:ext cx="656297" cy="656297"/>
              </a:xfrm>
              <a:prstGeom prst="rect">
                <a:avLst/>
              </a:prstGeom>
            </p:spPr>
          </p:pic>
        </p:grpSp>
        <p:sp>
          <p:nvSpPr>
            <p:cNvPr id="20" name="TextBox 19">
              <a:extLst>
                <a:ext uri="{FF2B5EF4-FFF2-40B4-BE49-F238E27FC236}">
                  <a16:creationId xmlns:a16="http://schemas.microsoft.com/office/drawing/2014/main" id="{BA0CA2E5-00F2-2074-3743-CE8F98192117}"/>
                </a:ext>
              </a:extLst>
            </p:cNvPr>
            <p:cNvSpPr txBox="1"/>
            <p:nvPr/>
          </p:nvSpPr>
          <p:spPr>
            <a:xfrm>
              <a:off x="7962934" y="5436073"/>
              <a:ext cx="2342346" cy="600164"/>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Site Commissioning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amp;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Integration</a:t>
              </a:r>
              <a:endParaRPr kumimoji="0" lang="en-IN"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endParaRPr>
            </a:p>
          </p:txBody>
        </p:sp>
        <p:grpSp>
          <p:nvGrpSpPr>
            <p:cNvPr id="21" name="Group 20">
              <a:extLst>
                <a:ext uri="{FF2B5EF4-FFF2-40B4-BE49-F238E27FC236}">
                  <a16:creationId xmlns:a16="http://schemas.microsoft.com/office/drawing/2014/main" id="{15C4778F-A745-6309-5700-27D9F38BD068}"/>
                </a:ext>
              </a:extLst>
            </p:cNvPr>
            <p:cNvGrpSpPr/>
            <p:nvPr/>
          </p:nvGrpSpPr>
          <p:grpSpPr>
            <a:xfrm>
              <a:off x="6547591" y="5170076"/>
              <a:ext cx="1125725" cy="1100355"/>
              <a:chOff x="5716678" y="4697426"/>
              <a:chExt cx="1082461" cy="1084732"/>
            </a:xfrm>
          </p:grpSpPr>
          <p:sp>
            <p:nvSpPr>
              <p:cNvPr id="52" name="Freeform 16">
                <a:extLst>
                  <a:ext uri="{FF2B5EF4-FFF2-40B4-BE49-F238E27FC236}">
                    <a16:creationId xmlns:a16="http://schemas.microsoft.com/office/drawing/2014/main" id="{EFA00656-B795-27ED-BB51-F9F1B98AC338}"/>
                  </a:ext>
                </a:extLst>
              </p:cNvPr>
              <p:cNvSpPr>
                <a:spLocks/>
              </p:cNvSpPr>
              <p:nvPr/>
            </p:nvSpPr>
            <p:spPr bwMode="auto">
              <a:xfrm>
                <a:off x="5716678" y="4697426"/>
                <a:ext cx="1082461" cy="1084732"/>
              </a:xfrm>
              <a:custGeom>
                <a:avLst/>
                <a:gdLst>
                  <a:gd name="T0" fmla="*/ 460 w 953"/>
                  <a:gd name="T1" fmla="*/ 0 h 955"/>
                  <a:gd name="T2" fmla="*/ 514 w 953"/>
                  <a:gd name="T3" fmla="*/ 2 h 955"/>
                  <a:gd name="T4" fmla="*/ 566 w 953"/>
                  <a:gd name="T5" fmla="*/ 8 h 955"/>
                  <a:gd name="T6" fmla="*/ 618 w 953"/>
                  <a:gd name="T7" fmla="*/ 21 h 955"/>
                  <a:gd name="T8" fmla="*/ 669 w 953"/>
                  <a:gd name="T9" fmla="*/ 41 h 955"/>
                  <a:gd name="T10" fmla="*/ 719 w 953"/>
                  <a:gd name="T11" fmla="*/ 66 h 955"/>
                  <a:gd name="T12" fmla="*/ 765 w 953"/>
                  <a:gd name="T13" fmla="*/ 97 h 955"/>
                  <a:gd name="T14" fmla="*/ 807 w 953"/>
                  <a:gd name="T15" fmla="*/ 132 h 955"/>
                  <a:gd name="T16" fmla="*/ 843 w 953"/>
                  <a:gd name="T17" fmla="*/ 172 h 955"/>
                  <a:gd name="T18" fmla="*/ 875 w 953"/>
                  <a:gd name="T19" fmla="*/ 215 h 955"/>
                  <a:gd name="T20" fmla="*/ 901 w 953"/>
                  <a:gd name="T21" fmla="*/ 259 h 955"/>
                  <a:gd name="T22" fmla="*/ 923 w 953"/>
                  <a:gd name="T23" fmla="*/ 308 h 955"/>
                  <a:gd name="T24" fmla="*/ 939 w 953"/>
                  <a:gd name="T25" fmla="*/ 358 h 955"/>
                  <a:gd name="T26" fmla="*/ 949 w 953"/>
                  <a:gd name="T27" fmla="*/ 409 h 955"/>
                  <a:gd name="T28" fmla="*/ 953 w 953"/>
                  <a:gd name="T29" fmla="*/ 461 h 955"/>
                  <a:gd name="T30" fmla="*/ 952 w 953"/>
                  <a:gd name="T31" fmla="*/ 515 h 955"/>
                  <a:gd name="T32" fmla="*/ 946 w 953"/>
                  <a:gd name="T33" fmla="*/ 567 h 955"/>
                  <a:gd name="T34" fmla="*/ 932 w 953"/>
                  <a:gd name="T35" fmla="*/ 619 h 955"/>
                  <a:gd name="T36" fmla="*/ 913 w 953"/>
                  <a:gd name="T37" fmla="*/ 670 h 955"/>
                  <a:gd name="T38" fmla="*/ 888 w 953"/>
                  <a:gd name="T39" fmla="*/ 720 h 955"/>
                  <a:gd name="T40" fmla="*/ 857 w 953"/>
                  <a:gd name="T41" fmla="*/ 766 h 955"/>
                  <a:gd name="T42" fmla="*/ 821 w 953"/>
                  <a:gd name="T43" fmla="*/ 808 h 955"/>
                  <a:gd name="T44" fmla="*/ 782 w 953"/>
                  <a:gd name="T45" fmla="*/ 845 h 955"/>
                  <a:gd name="T46" fmla="*/ 740 w 953"/>
                  <a:gd name="T47" fmla="*/ 876 h 955"/>
                  <a:gd name="T48" fmla="*/ 694 w 953"/>
                  <a:gd name="T49" fmla="*/ 902 h 955"/>
                  <a:gd name="T50" fmla="*/ 646 w 953"/>
                  <a:gd name="T51" fmla="*/ 923 h 955"/>
                  <a:gd name="T52" fmla="*/ 596 w 953"/>
                  <a:gd name="T53" fmla="*/ 940 h 955"/>
                  <a:gd name="T54" fmla="*/ 545 w 953"/>
                  <a:gd name="T55" fmla="*/ 951 h 955"/>
                  <a:gd name="T56" fmla="*/ 493 w 953"/>
                  <a:gd name="T57" fmla="*/ 955 h 955"/>
                  <a:gd name="T58" fmla="*/ 440 w 953"/>
                  <a:gd name="T59" fmla="*/ 953 h 955"/>
                  <a:gd name="T60" fmla="*/ 388 w 953"/>
                  <a:gd name="T61" fmla="*/ 947 h 955"/>
                  <a:gd name="T62" fmla="*/ 336 w 953"/>
                  <a:gd name="T63" fmla="*/ 934 h 955"/>
                  <a:gd name="T64" fmla="*/ 285 w 953"/>
                  <a:gd name="T65" fmla="*/ 914 h 955"/>
                  <a:gd name="T66" fmla="*/ 235 w 953"/>
                  <a:gd name="T67" fmla="*/ 889 h 955"/>
                  <a:gd name="T68" fmla="*/ 188 w 953"/>
                  <a:gd name="T69" fmla="*/ 858 h 955"/>
                  <a:gd name="T70" fmla="*/ 147 w 953"/>
                  <a:gd name="T71" fmla="*/ 822 h 955"/>
                  <a:gd name="T72" fmla="*/ 111 w 953"/>
                  <a:gd name="T73" fmla="*/ 783 h 955"/>
                  <a:gd name="T74" fmla="*/ 78 w 953"/>
                  <a:gd name="T75" fmla="*/ 741 h 955"/>
                  <a:gd name="T76" fmla="*/ 52 w 953"/>
                  <a:gd name="T77" fmla="*/ 695 h 955"/>
                  <a:gd name="T78" fmla="*/ 31 w 953"/>
                  <a:gd name="T79" fmla="*/ 647 h 955"/>
                  <a:gd name="T80" fmla="*/ 15 w 953"/>
                  <a:gd name="T81" fmla="*/ 597 h 955"/>
                  <a:gd name="T82" fmla="*/ 5 w 953"/>
                  <a:gd name="T83" fmla="*/ 546 h 955"/>
                  <a:gd name="T84" fmla="*/ 0 w 953"/>
                  <a:gd name="T85" fmla="*/ 494 h 955"/>
                  <a:gd name="T86" fmla="*/ 1 w 953"/>
                  <a:gd name="T87" fmla="*/ 441 h 955"/>
                  <a:gd name="T88" fmla="*/ 7 w 953"/>
                  <a:gd name="T89" fmla="*/ 388 h 955"/>
                  <a:gd name="T90" fmla="*/ 21 w 953"/>
                  <a:gd name="T91" fmla="*/ 337 h 955"/>
                  <a:gd name="T92" fmla="*/ 40 w 953"/>
                  <a:gd name="T93" fmla="*/ 286 h 955"/>
                  <a:gd name="T94" fmla="*/ 65 w 953"/>
                  <a:gd name="T95" fmla="*/ 236 h 955"/>
                  <a:gd name="T96" fmla="*/ 96 w 953"/>
                  <a:gd name="T97" fmla="*/ 189 h 955"/>
                  <a:gd name="T98" fmla="*/ 132 w 953"/>
                  <a:gd name="T99" fmla="*/ 148 h 955"/>
                  <a:gd name="T100" fmla="*/ 171 w 953"/>
                  <a:gd name="T101" fmla="*/ 110 h 955"/>
                  <a:gd name="T102" fmla="*/ 214 w 953"/>
                  <a:gd name="T103" fmla="*/ 79 h 955"/>
                  <a:gd name="T104" fmla="*/ 259 w 953"/>
                  <a:gd name="T105" fmla="*/ 53 h 955"/>
                  <a:gd name="T106" fmla="*/ 307 w 953"/>
                  <a:gd name="T107" fmla="*/ 32 h 955"/>
                  <a:gd name="T108" fmla="*/ 357 w 953"/>
                  <a:gd name="T109" fmla="*/ 16 h 955"/>
                  <a:gd name="T110" fmla="*/ 408 w 953"/>
                  <a:gd name="T111" fmla="*/ 5 h 955"/>
                  <a:gd name="T112" fmla="*/ 460 w 953"/>
                  <a:gd name="T113" fmla="*/ 0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3" h="955">
                    <a:moveTo>
                      <a:pt x="460" y="0"/>
                    </a:moveTo>
                    <a:lnTo>
                      <a:pt x="514" y="2"/>
                    </a:lnTo>
                    <a:lnTo>
                      <a:pt x="566" y="8"/>
                    </a:lnTo>
                    <a:lnTo>
                      <a:pt x="618" y="21"/>
                    </a:lnTo>
                    <a:lnTo>
                      <a:pt x="669" y="41"/>
                    </a:lnTo>
                    <a:lnTo>
                      <a:pt x="719" y="66"/>
                    </a:lnTo>
                    <a:lnTo>
                      <a:pt x="765" y="97"/>
                    </a:lnTo>
                    <a:lnTo>
                      <a:pt x="807" y="132"/>
                    </a:lnTo>
                    <a:lnTo>
                      <a:pt x="843" y="172"/>
                    </a:lnTo>
                    <a:lnTo>
                      <a:pt x="875" y="215"/>
                    </a:lnTo>
                    <a:lnTo>
                      <a:pt x="901" y="259"/>
                    </a:lnTo>
                    <a:lnTo>
                      <a:pt x="923" y="308"/>
                    </a:lnTo>
                    <a:lnTo>
                      <a:pt x="939" y="358"/>
                    </a:lnTo>
                    <a:lnTo>
                      <a:pt x="949" y="409"/>
                    </a:lnTo>
                    <a:lnTo>
                      <a:pt x="953" y="461"/>
                    </a:lnTo>
                    <a:lnTo>
                      <a:pt x="952" y="515"/>
                    </a:lnTo>
                    <a:lnTo>
                      <a:pt x="946" y="567"/>
                    </a:lnTo>
                    <a:lnTo>
                      <a:pt x="932" y="619"/>
                    </a:lnTo>
                    <a:lnTo>
                      <a:pt x="913" y="670"/>
                    </a:lnTo>
                    <a:lnTo>
                      <a:pt x="888" y="720"/>
                    </a:lnTo>
                    <a:lnTo>
                      <a:pt x="857" y="766"/>
                    </a:lnTo>
                    <a:lnTo>
                      <a:pt x="821" y="808"/>
                    </a:lnTo>
                    <a:lnTo>
                      <a:pt x="782" y="845"/>
                    </a:lnTo>
                    <a:lnTo>
                      <a:pt x="740" y="876"/>
                    </a:lnTo>
                    <a:lnTo>
                      <a:pt x="694" y="902"/>
                    </a:lnTo>
                    <a:lnTo>
                      <a:pt x="646" y="923"/>
                    </a:lnTo>
                    <a:lnTo>
                      <a:pt x="596" y="940"/>
                    </a:lnTo>
                    <a:lnTo>
                      <a:pt x="545" y="951"/>
                    </a:lnTo>
                    <a:lnTo>
                      <a:pt x="493" y="955"/>
                    </a:lnTo>
                    <a:lnTo>
                      <a:pt x="440" y="953"/>
                    </a:lnTo>
                    <a:lnTo>
                      <a:pt x="388" y="947"/>
                    </a:lnTo>
                    <a:lnTo>
                      <a:pt x="336" y="934"/>
                    </a:lnTo>
                    <a:lnTo>
                      <a:pt x="285" y="914"/>
                    </a:lnTo>
                    <a:lnTo>
                      <a:pt x="235" y="889"/>
                    </a:lnTo>
                    <a:lnTo>
                      <a:pt x="188" y="858"/>
                    </a:lnTo>
                    <a:lnTo>
                      <a:pt x="147" y="822"/>
                    </a:lnTo>
                    <a:lnTo>
                      <a:pt x="111" y="783"/>
                    </a:lnTo>
                    <a:lnTo>
                      <a:pt x="78" y="741"/>
                    </a:lnTo>
                    <a:lnTo>
                      <a:pt x="52" y="695"/>
                    </a:lnTo>
                    <a:lnTo>
                      <a:pt x="31" y="647"/>
                    </a:lnTo>
                    <a:lnTo>
                      <a:pt x="15" y="597"/>
                    </a:lnTo>
                    <a:lnTo>
                      <a:pt x="5" y="546"/>
                    </a:lnTo>
                    <a:lnTo>
                      <a:pt x="0" y="494"/>
                    </a:lnTo>
                    <a:lnTo>
                      <a:pt x="1" y="441"/>
                    </a:lnTo>
                    <a:lnTo>
                      <a:pt x="7" y="388"/>
                    </a:lnTo>
                    <a:lnTo>
                      <a:pt x="21" y="337"/>
                    </a:lnTo>
                    <a:lnTo>
                      <a:pt x="40" y="286"/>
                    </a:lnTo>
                    <a:lnTo>
                      <a:pt x="65" y="236"/>
                    </a:lnTo>
                    <a:lnTo>
                      <a:pt x="96" y="189"/>
                    </a:lnTo>
                    <a:lnTo>
                      <a:pt x="132" y="148"/>
                    </a:lnTo>
                    <a:lnTo>
                      <a:pt x="171" y="110"/>
                    </a:lnTo>
                    <a:lnTo>
                      <a:pt x="214" y="79"/>
                    </a:lnTo>
                    <a:lnTo>
                      <a:pt x="259" y="53"/>
                    </a:lnTo>
                    <a:lnTo>
                      <a:pt x="307" y="32"/>
                    </a:lnTo>
                    <a:lnTo>
                      <a:pt x="357" y="16"/>
                    </a:lnTo>
                    <a:lnTo>
                      <a:pt x="408" y="5"/>
                    </a:lnTo>
                    <a:lnTo>
                      <a:pt x="460" y="0"/>
                    </a:lnTo>
                    <a:close/>
                  </a:path>
                </a:pathLst>
              </a:custGeom>
              <a:solidFill>
                <a:schemeClr val="tx2">
                  <a:lumMod val="75000"/>
                </a:schemeClr>
              </a:solid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grpSp>
            <p:nvGrpSpPr>
              <p:cNvPr id="53" name="Group 52">
                <a:extLst>
                  <a:ext uri="{FF2B5EF4-FFF2-40B4-BE49-F238E27FC236}">
                    <a16:creationId xmlns:a16="http://schemas.microsoft.com/office/drawing/2014/main" id="{23ACEB67-51D1-5F37-94B2-D62BAAE0AC30}"/>
                  </a:ext>
                </a:extLst>
              </p:cNvPr>
              <p:cNvGrpSpPr/>
              <p:nvPr/>
            </p:nvGrpSpPr>
            <p:grpSpPr>
              <a:xfrm>
                <a:off x="6004084" y="4980935"/>
                <a:ext cx="518237" cy="517713"/>
                <a:chOff x="9896476" y="2252663"/>
                <a:chExt cx="4708525" cy="4703763"/>
              </a:xfrm>
              <a:solidFill>
                <a:schemeClr val="bg1"/>
              </a:solidFill>
            </p:grpSpPr>
            <p:sp>
              <p:nvSpPr>
                <p:cNvPr id="54" name="Freeform 36">
                  <a:extLst>
                    <a:ext uri="{FF2B5EF4-FFF2-40B4-BE49-F238E27FC236}">
                      <a16:creationId xmlns:a16="http://schemas.microsoft.com/office/drawing/2014/main" id="{91F65F13-818F-86C6-A6AC-2EFBAA290399}"/>
                    </a:ext>
                  </a:extLst>
                </p:cNvPr>
                <p:cNvSpPr>
                  <a:spLocks noEditPoints="1"/>
                </p:cNvSpPr>
                <p:nvPr/>
              </p:nvSpPr>
              <p:spPr bwMode="auto">
                <a:xfrm>
                  <a:off x="9896476" y="2252663"/>
                  <a:ext cx="4708525" cy="4703763"/>
                </a:xfrm>
                <a:custGeom>
                  <a:avLst/>
                  <a:gdLst>
                    <a:gd name="T0" fmla="*/ 208 w 5931"/>
                    <a:gd name="T1" fmla="*/ 5324 h 5927"/>
                    <a:gd name="T2" fmla="*/ 228 w 5931"/>
                    <a:gd name="T3" fmla="*/ 5564 h 5927"/>
                    <a:gd name="T4" fmla="*/ 410 w 5931"/>
                    <a:gd name="T5" fmla="*/ 5719 h 5927"/>
                    <a:gd name="T6" fmla="*/ 650 w 5931"/>
                    <a:gd name="T7" fmla="*/ 5701 h 5927"/>
                    <a:gd name="T8" fmla="*/ 1737 w 5931"/>
                    <a:gd name="T9" fmla="*/ 3880 h 5927"/>
                    <a:gd name="T10" fmla="*/ 1533 w 5931"/>
                    <a:gd name="T11" fmla="*/ 3955 h 5927"/>
                    <a:gd name="T12" fmla="*/ 2051 w 5931"/>
                    <a:gd name="T13" fmla="*/ 4193 h 5927"/>
                    <a:gd name="T14" fmla="*/ 1959 w 5931"/>
                    <a:gd name="T15" fmla="*/ 3972 h 5927"/>
                    <a:gd name="T16" fmla="*/ 1737 w 5931"/>
                    <a:gd name="T17" fmla="*/ 3880 h 5927"/>
                    <a:gd name="T18" fmla="*/ 2123 w 5931"/>
                    <a:gd name="T19" fmla="*/ 3867 h 5927"/>
                    <a:gd name="T20" fmla="*/ 3888 w 5931"/>
                    <a:gd name="T21" fmla="*/ 193 h 5927"/>
                    <a:gd name="T22" fmla="*/ 3200 w 5931"/>
                    <a:gd name="T23" fmla="*/ 325 h 5927"/>
                    <a:gd name="T24" fmla="*/ 2630 w 5931"/>
                    <a:gd name="T25" fmla="*/ 687 h 5927"/>
                    <a:gd name="T26" fmla="*/ 2226 w 5931"/>
                    <a:gd name="T27" fmla="*/ 1230 h 5927"/>
                    <a:gd name="T28" fmla="*/ 2043 w 5931"/>
                    <a:gd name="T29" fmla="*/ 1897 h 5927"/>
                    <a:gd name="T30" fmla="*/ 2123 w 5931"/>
                    <a:gd name="T31" fmla="*/ 2599 h 5927"/>
                    <a:gd name="T32" fmla="*/ 2444 w 5931"/>
                    <a:gd name="T33" fmla="*/ 3198 h 5927"/>
                    <a:gd name="T34" fmla="*/ 2955 w 5931"/>
                    <a:gd name="T35" fmla="*/ 3640 h 5927"/>
                    <a:gd name="T36" fmla="*/ 3603 w 5931"/>
                    <a:gd name="T37" fmla="*/ 3871 h 5927"/>
                    <a:gd name="T38" fmla="*/ 4312 w 5931"/>
                    <a:gd name="T39" fmla="*/ 3844 h 5927"/>
                    <a:gd name="T40" fmla="*/ 4937 w 5931"/>
                    <a:gd name="T41" fmla="*/ 3566 h 5927"/>
                    <a:gd name="T42" fmla="*/ 5413 w 5931"/>
                    <a:gd name="T43" fmla="*/ 3090 h 5927"/>
                    <a:gd name="T44" fmla="*/ 5691 w 5931"/>
                    <a:gd name="T45" fmla="*/ 2466 h 5927"/>
                    <a:gd name="T46" fmla="*/ 5718 w 5931"/>
                    <a:gd name="T47" fmla="*/ 1757 h 5927"/>
                    <a:gd name="T48" fmla="*/ 5487 w 5931"/>
                    <a:gd name="T49" fmla="*/ 1109 h 5927"/>
                    <a:gd name="T50" fmla="*/ 5045 w 5931"/>
                    <a:gd name="T51" fmla="*/ 599 h 5927"/>
                    <a:gd name="T52" fmla="*/ 4448 w 5931"/>
                    <a:gd name="T53" fmla="*/ 278 h 5927"/>
                    <a:gd name="T54" fmla="*/ 3888 w 5931"/>
                    <a:gd name="T55" fmla="*/ 0 h 5927"/>
                    <a:gd name="T56" fmla="*/ 4615 w 5931"/>
                    <a:gd name="T57" fmla="*/ 133 h 5927"/>
                    <a:gd name="T58" fmla="*/ 5229 w 5931"/>
                    <a:gd name="T59" fmla="*/ 501 h 5927"/>
                    <a:gd name="T60" fmla="*/ 5677 w 5931"/>
                    <a:gd name="T61" fmla="*/ 1053 h 5927"/>
                    <a:gd name="T62" fmla="*/ 5910 w 5931"/>
                    <a:gd name="T63" fmla="*/ 1741 h 5927"/>
                    <a:gd name="T64" fmla="*/ 5882 w 5931"/>
                    <a:gd name="T65" fmla="*/ 2489 h 5927"/>
                    <a:gd name="T66" fmla="*/ 5603 w 5931"/>
                    <a:gd name="T67" fmla="*/ 3153 h 5927"/>
                    <a:gd name="T68" fmla="*/ 5117 w 5931"/>
                    <a:gd name="T69" fmla="*/ 3672 h 5927"/>
                    <a:gd name="T70" fmla="*/ 4478 w 5931"/>
                    <a:gd name="T71" fmla="*/ 3997 h 5927"/>
                    <a:gd name="T72" fmla="*/ 3735 w 5931"/>
                    <a:gd name="T73" fmla="*/ 4078 h 5927"/>
                    <a:gd name="T74" fmla="*/ 3023 w 5931"/>
                    <a:gd name="T75" fmla="*/ 3892 h 5927"/>
                    <a:gd name="T76" fmla="*/ 2231 w 5931"/>
                    <a:gd name="T77" fmla="*/ 4089 h 5927"/>
                    <a:gd name="T78" fmla="*/ 2204 w 5931"/>
                    <a:gd name="T79" fmla="*/ 4386 h 5927"/>
                    <a:gd name="T80" fmla="*/ 814 w 5931"/>
                    <a:gd name="T81" fmla="*/ 5822 h 5927"/>
                    <a:gd name="T82" fmla="*/ 507 w 5931"/>
                    <a:gd name="T83" fmla="*/ 5927 h 5927"/>
                    <a:gd name="T84" fmla="*/ 199 w 5931"/>
                    <a:gd name="T85" fmla="*/ 5822 h 5927"/>
                    <a:gd name="T86" fmla="*/ 18 w 5931"/>
                    <a:gd name="T87" fmla="*/ 5553 h 5927"/>
                    <a:gd name="T88" fmla="*/ 40 w 5931"/>
                    <a:gd name="T89" fmla="*/ 5227 h 5927"/>
                    <a:gd name="T90" fmla="*/ 1430 w 5931"/>
                    <a:gd name="T91" fmla="*/ 3791 h 5927"/>
                    <a:gd name="T92" fmla="*/ 1737 w 5931"/>
                    <a:gd name="T93" fmla="*/ 3687 h 5927"/>
                    <a:gd name="T94" fmla="*/ 2179 w 5931"/>
                    <a:gd name="T95" fmla="*/ 3158 h 5927"/>
                    <a:gd name="T96" fmla="*/ 1895 w 5931"/>
                    <a:gd name="T97" fmla="*/ 2491 h 5927"/>
                    <a:gd name="T98" fmla="*/ 1868 w 5931"/>
                    <a:gd name="T99" fmla="*/ 1741 h 5927"/>
                    <a:gd name="T100" fmla="*/ 2101 w 5931"/>
                    <a:gd name="T101" fmla="*/ 1053 h 5927"/>
                    <a:gd name="T102" fmla="*/ 2549 w 5931"/>
                    <a:gd name="T103" fmla="*/ 501 h 5927"/>
                    <a:gd name="T104" fmla="*/ 3161 w 5931"/>
                    <a:gd name="T105" fmla="*/ 133 h 5927"/>
                    <a:gd name="T106" fmla="*/ 3888 w 5931"/>
                    <a:gd name="T107" fmla="*/ 0 h 5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31" h="5927">
                      <a:moveTo>
                        <a:pt x="1395" y="4091"/>
                      </a:moveTo>
                      <a:lnTo>
                        <a:pt x="285" y="5200"/>
                      </a:lnTo>
                      <a:lnTo>
                        <a:pt x="253" y="5238"/>
                      </a:lnTo>
                      <a:lnTo>
                        <a:pt x="228" y="5279"/>
                      </a:lnTo>
                      <a:lnTo>
                        <a:pt x="208" y="5324"/>
                      </a:lnTo>
                      <a:lnTo>
                        <a:pt x="197" y="5371"/>
                      </a:lnTo>
                      <a:lnTo>
                        <a:pt x="193" y="5422"/>
                      </a:lnTo>
                      <a:lnTo>
                        <a:pt x="197" y="5470"/>
                      </a:lnTo>
                      <a:lnTo>
                        <a:pt x="208" y="5519"/>
                      </a:lnTo>
                      <a:lnTo>
                        <a:pt x="228" y="5564"/>
                      </a:lnTo>
                      <a:lnTo>
                        <a:pt x="253" y="5606"/>
                      </a:lnTo>
                      <a:lnTo>
                        <a:pt x="285" y="5644"/>
                      </a:lnTo>
                      <a:lnTo>
                        <a:pt x="323" y="5676"/>
                      </a:lnTo>
                      <a:lnTo>
                        <a:pt x="365" y="5701"/>
                      </a:lnTo>
                      <a:lnTo>
                        <a:pt x="410" y="5719"/>
                      </a:lnTo>
                      <a:lnTo>
                        <a:pt x="457" y="5732"/>
                      </a:lnTo>
                      <a:lnTo>
                        <a:pt x="507" y="5736"/>
                      </a:lnTo>
                      <a:lnTo>
                        <a:pt x="556" y="5732"/>
                      </a:lnTo>
                      <a:lnTo>
                        <a:pt x="605" y="5719"/>
                      </a:lnTo>
                      <a:lnTo>
                        <a:pt x="650" y="5701"/>
                      </a:lnTo>
                      <a:lnTo>
                        <a:pt x="691" y="5676"/>
                      </a:lnTo>
                      <a:lnTo>
                        <a:pt x="729" y="5644"/>
                      </a:lnTo>
                      <a:lnTo>
                        <a:pt x="1839" y="4533"/>
                      </a:lnTo>
                      <a:lnTo>
                        <a:pt x="1395" y="4091"/>
                      </a:lnTo>
                      <a:close/>
                      <a:moveTo>
                        <a:pt x="1737" y="3880"/>
                      </a:moveTo>
                      <a:lnTo>
                        <a:pt x="1693" y="3881"/>
                      </a:lnTo>
                      <a:lnTo>
                        <a:pt x="1650" y="3890"/>
                      </a:lnTo>
                      <a:lnTo>
                        <a:pt x="1608" y="3907"/>
                      </a:lnTo>
                      <a:lnTo>
                        <a:pt x="1569" y="3928"/>
                      </a:lnTo>
                      <a:lnTo>
                        <a:pt x="1533" y="3955"/>
                      </a:lnTo>
                      <a:lnTo>
                        <a:pt x="1975" y="4397"/>
                      </a:lnTo>
                      <a:lnTo>
                        <a:pt x="2007" y="4352"/>
                      </a:lnTo>
                      <a:lnTo>
                        <a:pt x="2031" y="4302"/>
                      </a:lnTo>
                      <a:lnTo>
                        <a:pt x="2045" y="4249"/>
                      </a:lnTo>
                      <a:lnTo>
                        <a:pt x="2051" y="4193"/>
                      </a:lnTo>
                      <a:lnTo>
                        <a:pt x="2047" y="4143"/>
                      </a:lnTo>
                      <a:lnTo>
                        <a:pt x="2034" y="4096"/>
                      </a:lnTo>
                      <a:lnTo>
                        <a:pt x="2016" y="4051"/>
                      </a:lnTo>
                      <a:lnTo>
                        <a:pt x="1991" y="4010"/>
                      </a:lnTo>
                      <a:lnTo>
                        <a:pt x="1959" y="3972"/>
                      </a:lnTo>
                      <a:lnTo>
                        <a:pt x="1919" y="3937"/>
                      </a:lnTo>
                      <a:lnTo>
                        <a:pt x="1877" y="3912"/>
                      </a:lnTo>
                      <a:lnTo>
                        <a:pt x="1832" y="3894"/>
                      </a:lnTo>
                      <a:lnTo>
                        <a:pt x="1785" y="3883"/>
                      </a:lnTo>
                      <a:lnTo>
                        <a:pt x="1737" y="3880"/>
                      </a:lnTo>
                      <a:close/>
                      <a:moveTo>
                        <a:pt x="2386" y="3423"/>
                      </a:moveTo>
                      <a:lnTo>
                        <a:pt x="2029" y="3780"/>
                      </a:lnTo>
                      <a:lnTo>
                        <a:pt x="2063" y="3806"/>
                      </a:lnTo>
                      <a:lnTo>
                        <a:pt x="2094" y="3835"/>
                      </a:lnTo>
                      <a:lnTo>
                        <a:pt x="2123" y="3867"/>
                      </a:lnTo>
                      <a:lnTo>
                        <a:pt x="2150" y="3899"/>
                      </a:lnTo>
                      <a:lnTo>
                        <a:pt x="2505" y="3544"/>
                      </a:lnTo>
                      <a:lnTo>
                        <a:pt x="2444" y="3485"/>
                      </a:lnTo>
                      <a:lnTo>
                        <a:pt x="2386" y="3423"/>
                      </a:lnTo>
                      <a:close/>
                      <a:moveTo>
                        <a:pt x="3888" y="193"/>
                      </a:moveTo>
                      <a:lnTo>
                        <a:pt x="3744" y="198"/>
                      </a:lnTo>
                      <a:lnTo>
                        <a:pt x="3603" y="215"/>
                      </a:lnTo>
                      <a:lnTo>
                        <a:pt x="3464" y="242"/>
                      </a:lnTo>
                      <a:lnTo>
                        <a:pt x="3330" y="278"/>
                      </a:lnTo>
                      <a:lnTo>
                        <a:pt x="3200" y="325"/>
                      </a:lnTo>
                      <a:lnTo>
                        <a:pt x="3076" y="381"/>
                      </a:lnTo>
                      <a:lnTo>
                        <a:pt x="2955" y="446"/>
                      </a:lnTo>
                      <a:lnTo>
                        <a:pt x="2841" y="518"/>
                      </a:lnTo>
                      <a:lnTo>
                        <a:pt x="2731" y="599"/>
                      </a:lnTo>
                      <a:lnTo>
                        <a:pt x="2630" y="687"/>
                      </a:lnTo>
                      <a:lnTo>
                        <a:pt x="2533" y="783"/>
                      </a:lnTo>
                      <a:lnTo>
                        <a:pt x="2444" y="886"/>
                      </a:lnTo>
                      <a:lnTo>
                        <a:pt x="2365" y="996"/>
                      </a:lnTo>
                      <a:lnTo>
                        <a:pt x="2291" y="1109"/>
                      </a:lnTo>
                      <a:lnTo>
                        <a:pt x="2226" y="1230"/>
                      </a:lnTo>
                      <a:lnTo>
                        <a:pt x="2170" y="1355"/>
                      </a:lnTo>
                      <a:lnTo>
                        <a:pt x="2123" y="1484"/>
                      </a:lnTo>
                      <a:lnTo>
                        <a:pt x="2087" y="1618"/>
                      </a:lnTo>
                      <a:lnTo>
                        <a:pt x="2060" y="1757"/>
                      </a:lnTo>
                      <a:lnTo>
                        <a:pt x="2043" y="1897"/>
                      </a:lnTo>
                      <a:lnTo>
                        <a:pt x="2038" y="2042"/>
                      </a:lnTo>
                      <a:lnTo>
                        <a:pt x="2043" y="2186"/>
                      </a:lnTo>
                      <a:lnTo>
                        <a:pt x="2060" y="2329"/>
                      </a:lnTo>
                      <a:lnTo>
                        <a:pt x="2087" y="2466"/>
                      </a:lnTo>
                      <a:lnTo>
                        <a:pt x="2123" y="2599"/>
                      </a:lnTo>
                      <a:lnTo>
                        <a:pt x="2170" y="2729"/>
                      </a:lnTo>
                      <a:lnTo>
                        <a:pt x="2226" y="2855"/>
                      </a:lnTo>
                      <a:lnTo>
                        <a:pt x="2291" y="2974"/>
                      </a:lnTo>
                      <a:lnTo>
                        <a:pt x="2365" y="3090"/>
                      </a:lnTo>
                      <a:lnTo>
                        <a:pt x="2444" y="3198"/>
                      </a:lnTo>
                      <a:lnTo>
                        <a:pt x="2533" y="3301"/>
                      </a:lnTo>
                      <a:lnTo>
                        <a:pt x="2630" y="3396"/>
                      </a:lnTo>
                      <a:lnTo>
                        <a:pt x="2731" y="3485"/>
                      </a:lnTo>
                      <a:lnTo>
                        <a:pt x="2841" y="3566"/>
                      </a:lnTo>
                      <a:lnTo>
                        <a:pt x="2955" y="3640"/>
                      </a:lnTo>
                      <a:lnTo>
                        <a:pt x="3076" y="3703"/>
                      </a:lnTo>
                      <a:lnTo>
                        <a:pt x="3200" y="3759"/>
                      </a:lnTo>
                      <a:lnTo>
                        <a:pt x="3330" y="3806"/>
                      </a:lnTo>
                      <a:lnTo>
                        <a:pt x="3464" y="3844"/>
                      </a:lnTo>
                      <a:lnTo>
                        <a:pt x="3603" y="3871"/>
                      </a:lnTo>
                      <a:lnTo>
                        <a:pt x="3744" y="3887"/>
                      </a:lnTo>
                      <a:lnTo>
                        <a:pt x="3888" y="3892"/>
                      </a:lnTo>
                      <a:lnTo>
                        <a:pt x="4032" y="3887"/>
                      </a:lnTo>
                      <a:lnTo>
                        <a:pt x="4175" y="3871"/>
                      </a:lnTo>
                      <a:lnTo>
                        <a:pt x="4312" y="3844"/>
                      </a:lnTo>
                      <a:lnTo>
                        <a:pt x="4448" y="3806"/>
                      </a:lnTo>
                      <a:lnTo>
                        <a:pt x="4576" y="3759"/>
                      </a:lnTo>
                      <a:lnTo>
                        <a:pt x="4702" y="3703"/>
                      </a:lnTo>
                      <a:lnTo>
                        <a:pt x="4821" y="3640"/>
                      </a:lnTo>
                      <a:lnTo>
                        <a:pt x="4937" y="3566"/>
                      </a:lnTo>
                      <a:lnTo>
                        <a:pt x="5045" y="3485"/>
                      </a:lnTo>
                      <a:lnTo>
                        <a:pt x="5148" y="3396"/>
                      </a:lnTo>
                      <a:lnTo>
                        <a:pt x="5243" y="3301"/>
                      </a:lnTo>
                      <a:lnTo>
                        <a:pt x="5332" y="3198"/>
                      </a:lnTo>
                      <a:lnTo>
                        <a:pt x="5413" y="3090"/>
                      </a:lnTo>
                      <a:lnTo>
                        <a:pt x="5487" y="2974"/>
                      </a:lnTo>
                      <a:lnTo>
                        <a:pt x="5550" y="2855"/>
                      </a:lnTo>
                      <a:lnTo>
                        <a:pt x="5606" y="2729"/>
                      </a:lnTo>
                      <a:lnTo>
                        <a:pt x="5653" y="2599"/>
                      </a:lnTo>
                      <a:lnTo>
                        <a:pt x="5691" y="2466"/>
                      </a:lnTo>
                      <a:lnTo>
                        <a:pt x="5718" y="2329"/>
                      </a:lnTo>
                      <a:lnTo>
                        <a:pt x="5734" y="2186"/>
                      </a:lnTo>
                      <a:lnTo>
                        <a:pt x="5740" y="2042"/>
                      </a:lnTo>
                      <a:lnTo>
                        <a:pt x="5734" y="1897"/>
                      </a:lnTo>
                      <a:lnTo>
                        <a:pt x="5718" y="1757"/>
                      </a:lnTo>
                      <a:lnTo>
                        <a:pt x="5691" y="1618"/>
                      </a:lnTo>
                      <a:lnTo>
                        <a:pt x="5653" y="1484"/>
                      </a:lnTo>
                      <a:lnTo>
                        <a:pt x="5606" y="1355"/>
                      </a:lnTo>
                      <a:lnTo>
                        <a:pt x="5550" y="1230"/>
                      </a:lnTo>
                      <a:lnTo>
                        <a:pt x="5487" y="1109"/>
                      </a:lnTo>
                      <a:lnTo>
                        <a:pt x="5413" y="996"/>
                      </a:lnTo>
                      <a:lnTo>
                        <a:pt x="5332" y="886"/>
                      </a:lnTo>
                      <a:lnTo>
                        <a:pt x="5243" y="783"/>
                      </a:lnTo>
                      <a:lnTo>
                        <a:pt x="5148" y="687"/>
                      </a:lnTo>
                      <a:lnTo>
                        <a:pt x="5045" y="599"/>
                      </a:lnTo>
                      <a:lnTo>
                        <a:pt x="4937" y="518"/>
                      </a:lnTo>
                      <a:lnTo>
                        <a:pt x="4821" y="446"/>
                      </a:lnTo>
                      <a:lnTo>
                        <a:pt x="4702" y="381"/>
                      </a:lnTo>
                      <a:lnTo>
                        <a:pt x="4576" y="325"/>
                      </a:lnTo>
                      <a:lnTo>
                        <a:pt x="4448" y="278"/>
                      </a:lnTo>
                      <a:lnTo>
                        <a:pt x="4312" y="242"/>
                      </a:lnTo>
                      <a:lnTo>
                        <a:pt x="4175" y="215"/>
                      </a:lnTo>
                      <a:lnTo>
                        <a:pt x="4032" y="198"/>
                      </a:lnTo>
                      <a:lnTo>
                        <a:pt x="3888" y="193"/>
                      </a:lnTo>
                      <a:close/>
                      <a:moveTo>
                        <a:pt x="3888" y="0"/>
                      </a:moveTo>
                      <a:lnTo>
                        <a:pt x="4041" y="5"/>
                      </a:lnTo>
                      <a:lnTo>
                        <a:pt x="4189" y="23"/>
                      </a:lnTo>
                      <a:lnTo>
                        <a:pt x="4336" y="51"/>
                      </a:lnTo>
                      <a:lnTo>
                        <a:pt x="4478" y="87"/>
                      </a:lnTo>
                      <a:lnTo>
                        <a:pt x="4615" y="133"/>
                      </a:lnTo>
                      <a:lnTo>
                        <a:pt x="4749" y="191"/>
                      </a:lnTo>
                      <a:lnTo>
                        <a:pt x="4877" y="256"/>
                      </a:lnTo>
                      <a:lnTo>
                        <a:pt x="5000" y="330"/>
                      </a:lnTo>
                      <a:lnTo>
                        <a:pt x="5117" y="411"/>
                      </a:lnTo>
                      <a:lnTo>
                        <a:pt x="5229" y="501"/>
                      </a:lnTo>
                      <a:lnTo>
                        <a:pt x="5332" y="599"/>
                      </a:lnTo>
                      <a:lnTo>
                        <a:pt x="5429" y="703"/>
                      </a:lnTo>
                      <a:lnTo>
                        <a:pt x="5520" y="813"/>
                      </a:lnTo>
                      <a:lnTo>
                        <a:pt x="5603" y="931"/>
                      </a:lnTo>
                      <a:lnTo>
                        <a:pt x="5677" y="1053"/>
                      </a:lnTo>
                      <a:lnTo>
                        <a:pt x="5742" y="1181"/>
                      </a:lnTo>
                      <a:lnTo>
                        <a:pt x="5798" y="1315"/>
                      </a:lnTo>
                      <a:lnTo>
                        <a:pt x="5845" y="1454"/>
                      </a:lnTo>
                      <a:lnTo>
                        <a:pt x="5882" y="1594"/>
                      </a:lnTo>
                      <a:lnTo>
                        <a:pt x="5910" y="1741"/>
                      </a:lnTo>
                      <a:lnTo>
                        <a:pt x="5926" y="1890"/>
                      </a:lnTo>
                      <a:lnTo>
                        <a:pt x="5931" y="2042"/>
                      </a:lnTo>
                      <a:lnTo>
                        <a:pt x="5926" y="2195"/>
                      </a:lnTo>
                      <a:lnTo>
                        <a:pt x="5910" y="2343"/>
                      </a:lnTo>
                      <a:lnTo>
                        <a:pt x="5882" y="2489"/>
                      </a:lnTo>
                      <a:lnTo>
                        <a:pt x="5845" y="2632"/>
                      </a:lnTo>
                      <a:lnTo>
                        <a:pt x="5798" y="2769"/>
                      </a:lnTo>
                      <a:lnTo>
                        <a:pt x="5742" y="2902"/>
                      </a:lnTo>
                      <a:lnTo>
                        <a:pt x="5677" y="3030"/>
                      </a:lnTo>
                      <a:lnTo>
                        <a:pt x="5603" y="3153"/>
                      </a:lnTo>
                      <a:lnTo>
                        <a:pt x="5520" y="3270"/>
                      </a:lnTo>
                      <a:lnTo>
                        <a:pt x="5429" y="3380"/>
                      </a:lnTo>
                      <a:lnTo>
                        <a:pt x="5332" y="3485"/>
                      </a:lnTo>
                      <a:lnTo>
                        <a:pt x="5229" y="3582"/>
                      </a:lnTo>
                      <a:lnTo>
                        <a:pt x="5117" y="3672"/>
                      </a:lnTo>
                      <a:lnTo>
                        <a:pt x="5000" y="3755"/>
                      </a:lnTo>
                      <a:lnTo>
                        <a:pt x="4877" y="3829"/>
                      </a:lnTo>
                      <a:lnTo>
                        <a:pt x="4749" y="3894"/>
                      </a:lnTo>
                      <a:lnTo>
                        <a:pt x="4615" y="3950"/>
                      </a:lnTo>
                      <a:lnTo>
                        <a:pt x="4478" y="3997"/>
                      </a:lnTo>
                      <a:lnTo>
                        <a:pt x="4336" y="4035"/>
                      </a:lnTo>
                      <a:lnTo>
                        <a:pt x="4189" y="4062"/>
                      </a:lnTo>
                      <a:lnTo>
                        <a:pt x="4041" y="4078"/>
                      </a:lnTo>
                      <a:lnTo>
                        <a:pt x="3888" y="4083"/>
                      </a:lnTo>
                      <a:lnTo>
                        <a:pt x="3735" y="4078"/>
                      </a:lnTo>
                      <a:lnTo>
                        <a:pt x="3585" y="4062"/>
                      </a:lnTo>
                      <a:lnTo>
                        <a:pt x="3439" y="4035"/>
                      </a:lnTo>
                      <a:lnTo>
                        <a:pt x="3296" y="3997"/>
                      </a:lnTo>
                      <a:lnTo>
                        <a:pt x="3157" y="3948"/>
                      </a:lnTo>
                      <a:lnTo>
                        <a:pt x="3023" y="3892"/>
                      </a:lnTo>
                      <a:lnTo>
                        <a:pt x="2895" y="3826"/>
                      </a:lnTo>
                      <a:lnTo>
                        <a:pt x="2771" y="3752"/>
                      </a:lnTo>
                      <a:lnTo>
                        <a:pt x="2653" y="3669"/>
                      </a:lnTo>
                      <a:lnTo>
                        <a:pt x="2240" y="4082"/>
                      </a:lnTo>
                      <a:lnTo>
                        <a:pt x="2231" y="4089"/>
                      </a:lnTo>
                      <a:lnTo>
                        <a:pt x="2240" y="4139"/>
                      </a:lnTo>
                      <a:lnTo>
                        <a:pt x="2242" y="4193"/>
                      </a:lnTo>
                      <a:lnTo>
                        <a:pt x="2238" y="4260"/>
                      </a:lnTo>
                      <a:lnTo>
                        <a:pt x="2226" y="4323"/>
                      </a:lnTo>
                      <a:lnTo>
                        <a:pt x="2204" y="4386"/>
                      </a:lnTo>
                      <a:lnTo>
                        <a:pt x="2175" y="4444"/>
                      </a:lnTo>
                      <a:lnTo>
                        <a:pt x="2139" y="4500"/>
                      </a:lnTo>
                      <a:lnTo>
                        <a:pt x="2094" y="4551"/>
                      </a:lnTo>
                      <a:lnTo>
                        <a:pt x="865" y="5779"/>
                      </a:lnTo>
                      <a:lnTo>
                        <a:pt x="814" y="5822"/>
                      </a:lnTo>
                      <a:lnTo>
                        <a:pt x="760" y="5860"/>
                      </a:lnTo>
                      <a:lnTo>
                        <a:pt x="701" y="5889"/>
                      </a:lnTo>
                      <a:lnTo>
                        <a:pt x="639" y="5911"/>
                      </a:lnTo>
                      <a:lnTo>
                        <a:pt x="574" y="5923"/>
                      </a:lnTo>
                      <a:lnTo>
                        <a:pt x="507" y="5927"/>
                      </a:lnTo>
                      <a:lnTo>
                        <a:pt x="441" y="5923"/>
                      </a:lnTo>
                      <a:lnTo>
                        <a:pt x="376" y="5911"/>
                      </a:lnTo>
                      <a:lnTo>
                        <a:pt x="312" y="5889"/>
                      </a:lnTo>
                      <a:lnTo>
                        <a:pt x="255" y="5860"/>
                      </a:lnTo>
                      <a:lnTo>
                        <a:pt x="199" y="5822"/>
                      </a:lnTo>
                      <a:lnTo>
                        <a:pt x="150" y="5779"/>
                      </a:lnTo>
                      <a:lnTo>
                        <a:pt x="105" y="5728"/>
                      </a:lnTo>
                      <a:lnTo>
                        <a:pt x="69" y="5674"/>
                      </a:lnTo>
                      <a:lnTo>
                        <a:pt x="40" y="5615"/>
                      </a:lnTo>
                      <a:lnTo>
                        <a:pt x="18" y="5553"/>
                      </a:lnTo>
                      <a:lnTo>
                        <a:pt x="6" y="5488"/>
                      </a:lnTo>
                      <a:lnTo>
                        <a:pt x="0" y="5422"/>
                      </a:lnTo>
                      <a:lnTo>
                        <a:pt x="6" y="5355"/>
                      </a:lnTo>
                      <a:lnTo>
                        <a:pt x="18" y="5290"/>
                      </a:lnTo>
                      <a:lnTo>
                        <a:pt x="40" y="5227"/>
                      </a:lnTo>
                      <a:lnTo>
                        <a:pt x="69" y="5169"/>
                      </a:lnTo>
                      <a:lnTo>
                        <a:pt x="105" y="5113"/>
                      </a:lnTo>
                      <a:lnTo>
                        <a:pt x="150" y="5065"/>
                      </a:lnTo>
                      <a:lnTo>
                        <a:pt x="1379" y="3835"/>
                      </a:lnTo>
                      <a:lnTo>
                        <a:pt x="1430" y="3791"/>
                      </a:lnTo>
                      <a:lnTo>
                        <a:pt x="1484" y="3753"/>
                      </a:lnTo>
                      <a:lnTo>
                        <a:pt x="1543" y="3725"/>
                      </a:lnTo>
                      <a:lnTo>
                        <a:pt x="1605" y="3705"/>
                      </a:lnTo>
                      <a:lnTo>
                        <a:pt x="1670" y="3692"/>
                      </a:lnTo>
                      <a:lnTo>
                        <a:pt x="1737" y="3687"/>
                      </a:lnTo>
                      <a:lnTo>
                        <a:pt x="1789" y="3690"/>
                      </a:lnTo>
                      <a:lnTo>
                        <a:pt x="1841" y="3697"/>
                      </a:lnTo>
                      <a:lnTo>
                        <a:pt x="1848" y="3690"/>
                      </a:lnTo>
                      <a:lnTo>
                        <a:pt x="2262" y="3275"/>
                      </a:lnTo>
                      <a:lnTo>
                        <a:pt x="2179" y="3158"/>
                      </a:lnTo>
                      <a:lnTo>
                        <a:pt x="2105" y="3036"/>
                      </a:lnTo>
                      <a:lnTo>
                        <a:pt x="2038" y="2906"/>
                      </a:lnTo>
                      <a:lnTo>
                        <a:pt x="1980" y="2772"/>
                      </a:lnTo>
                      <a:lnTo>
                        <a:pt x="1933" y="2635"/>
                      </a:lnTo>
                      <a:lnTo>
                        <a:pt x="1895" y="2491"/>
                      </a:lnTo>
                      <a:lnTo>
                        <a:pt x="1868" y="2345"/>
                      </a:lnTo>
                      <a:lnTo>
                        <a:pt x="1852" y="2195"/>
                      </a:lnTo>
                      <a:lnTo>
                        <a:pt x="1845" y="2042"/>
                      </a:lnTo>
                      <a:lnTo>
                        <a:pt x="1850" y="1890"/>
                      </a:lnTo>
                      <a:lnTo>
                        <a:pt x="1868" y="1741"/>
                      </a:lnTo>
                      <a:lnTo>
                        <a:pt x="1895" y="1594"/>
                      </a:lnTo>
                      <a:lnTo>
                        <a:pt x="1931" y="1454"/>
                      </a:lnTo>
                      <a:lnTo>
                        <a:pt x="1978" y="1315"/>
                      </a:lnTo>
                      <a:lnTo>
                        <a:pt x="2036" y="1181"/>
                      </a:lnTo>
                      <a:lnTo>
                        <a:pt x="2101" y="1053"/>
                      </a:lnTo>
                      <a:lnTo>
                        <a:pt x="2175" y="931"/>
                      </a:lnTo>
                      <a:lnTo>
                        <a:pt x="2258" y="813"/>
                      </a:lnTo>
                      <a:lnTo>
                        <a:pt x="2347" y="703"/>
                      </a:lnTo>
                      <a:lnTo>
                        <a:pt x="2444" y="599"/>
                      </a:lnTo>
                      <a:lnTo>
                        <a:pt x="2549" y="501"/>
                      </a:lnTo>
                      <a:lnTo>
                        <a:pt x="2661" y="411"/>
                      </a:lnTo>
                      <a:lnTo>
                        <a:pt x="2776" y="330"/>
                      </a:lnTo>
                      <a:lnTo>
                        <a:pt x="2899" y="256"/>
                      </a:lnTo>
                      <a:lnTo>
                        <a:pt x="3029" y="191"/>
                      </a:lnTo>
                      <a:lnTo>
                        <a:pt x="3161" y="133"/>
                      </a:lnTo>
                      <a:lnTo>
                        <a:pt x="3300" y="87"/>
                      </a:lnTo>
                      <a:lnTo>
                        <a:pt x="3440" y="51"/>
                      </a:lnTo>
                      <a:lnTo>
                        <a:pt x="3587" y="23"/>
                      </a:lnTo>
                      <a:lnTo>
                        <a:pt x="3736" y="5"/>
                      </a:lnTo>
                      <a:lnTo>
                        <a:pt x="38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55" name="Freeform 37">
                  <a:extLst>
                    <a:ext uri="{FF2B5EF4-FFF2-40B4-BE49-F238E27FC236}">
                      <a16:creationId xmlns:a16="http://schemas.microsoft.com/office/drawing/2014/main" id="{92E43639-35D4-EC11-0EA0-5F19A717EB9A}"/>
                    </a:ext>
                  </a:extLst>
                </p:cNvPr>
                <p:cNvSpPr>
                  <a:spLocks noEditPoints="1"/>
                </p:cNvSpPr>
                <p:nvPr/>
              </p:nvSpPr>
              <p:spPr bwMode="auto">
                <a:xfrm>
                  <a:off x="11685588" y="2576513"/>
                  <a:ext cx="2593975" cy="2592388"/>
                </a:xfrm>
                <a:custGeom>
                  <a:avLst/>
                  <a:gdLst>
                    <a:gd name="T0" fmla="*/ 1388 w 3266"/>
                    <a:gd name="T1" fmla="*/ 213 h 3265"/>
                    <a:gd name="T2" fmla="*/ 1046 w 3266"/>
                    <a:gd name="T3" fmla="*/ 318 h 3265"/>
                    <a:gd name="T4" fmla="*/ 745 w 3266"/>
                    <a:gd name="T5" fmla="*/ 500 h 3265"/>
                    <a:gd name="T6" fmla="*/ 500 w 3266"/>
                    <a:gd name="T7" fmla="*/ 745 h 3265"/>
                    <a:gd name="T8" fmla="*/ 317 w 3266"/>
                    <a:gd name="T9" fmla="*/ 1047 h 3265"/>
                    <a:gd name="T10" fmla="*/ 214 w 3266"/>
                    <a:gd name="T11" fmla="*/ 1387 h 3265"/>
                    <a:gd name="T12" fmla="*/ 198 w 3266"/>
                    <a:gd name="T13" fmla="*/ 1757 h 3265"/>
                    <a:gd name="T14" fmla="*/ 274 w 3266"/>
                    <a:gd name="T15" fmla="*/ 2111 h 3265"/>
                    <a:gd name="T16" fmla="*/ 431 w 3266"/>
                    <a:gd name="T17" fmla="*/ 2426 h 3265"/>
                    <a:gd name="T18" fmla="*/ 657 w 3266"/>
                    <a:gd name="T19" fmla="*/ 2691 h 3265"/>
                    <a:gd name="T20" fmla="*/ 942 w 3266"/>
                    <a:gd name="T21" fmla="*/ 2895 h 3265"/>
                    <a:gd name="T22" fmla="*/ 1270 w 3266"/>
                    <a:gd name="T23" fmla="*/ 3027 h 3265"/>
                    <a:gd name="T24" fmla="*/ 1633 w 3266"/>
                    <a:gd name="T25" fmla="*/ 3074 h 3265"/>
                    <a:gd name="T26" fmla="*/ 1998 w 3266"/>
                    <a:gd name="T27" fmla="*/ 3027 h 3265"/>
                    <a:gd name="T28" fmla="*/ 2326 w 3266"/>
                    <a:gd name="T29" fmla="*/ 2895 h 3265"/>
                    <a:gd name="T30" fmla="*/ 2609 w 3266"/>
                    <a:gd name="T31" fmla="*/ 2691 h 3265"/>
                    <a:gd name="T32" fmla="*/ 2837 w 3266"/>
                    <a:gd name="T33" fmla="*/ 2426 h 3265"/>
                    <a:gd name="T34" fmla="*/ 2994 w 3266"/>
                    <a:gd name="T35" fmla="*/ 2111 h 3265"/>
                    <a:gd name="T36" fmla="*/ 3070 w 3266"/>
                    <a:gd name="T37" fmla="*/ 1757 h 3265"/>
                    <a:gd name="T38" fmla="*/ 3053 w 3266"/>
                    <a:gd name="T39" fmla="*/ 1387 h 3265"/>
                    <a:gd name="T40" fmla="*/ 2949 w 3266"/>
                    <a:gd name="T41" fmla="*/ 1047 h 3265"/>
                    <a:gd name="T42" fmla="*/ 2768 w 3266"/>
                    <a:gd name="T43" fmla="*/ 745 h 3265"/>
                    <a:gd name="T44" fmla="*/ 2521 w 3266"/>
                    <a:gd name="T45" fmla="*/ 500 h 3265"/>
                    <a:gd name="T46" fmla="*/ 2221 w 3266"/>
                    <a:gd name="T47" fmla="*/ 318 h 3265"/>
                    <a:gd name="T48" fmla="*/ 1878 w 3266"/>
                    <a:gd name="T49" fmla="*/ 213 h 3265"/>
                    <a:gd name="T50" fmla="*/ 1633 w 3266"/>
                    <a:gd name="T51" fmla="*/ 0 h 3265"/>
                    <a:gd name="T52" fmla="*/ 2025 w 3266"/>
                    <a:gd name="T53" fmla="*/ 49 h 3265"/>
                    <a:gd name="T54" fmla="*/ 2384 w 3266"/>
                    <a:gd name="T55" fmla="*/ 184 h 3265"/>
                    <a:gd name="T56" fmla="*/ 2696 w 3266"/>
                    <a:gd name="T57" fmla="*/ 394 h 3265"/>
                    <a:gd name="T58" fmla="*/ 2951 w 3266"/>
                    <a:gd name="T59" fmla="*/ 670 h 3265"/>
                    <a:gd name="T60" fmla="*/ 3138 w 3266"/>
                    <a:gd name="T61" fmla="*/ 998 h 3265"/>
                    <a:gd name="T62" fmla="*/ 3245 w 3266"/>
                    <a:gd name="T63" fmla="*/ 1369 h 3265"/>
                    <a:gd name="T64" fmla="*/ 3261 w 3266"/>
                    <a:gd name="T65" fmla="*/ 1766 h 3265"/>
                    <a:gd name="T66" fmla="*/ 3183 w 3266"/>
                    <a:gd name="T67" fmla="*/ 2149 h 3265"/>
                    <a:gd name="T68" fmla="*/ 3021 w 3266"/>
                    <a:gd name="T69" fmla="*/ 2493 h 3265"/>
                    <a:gd name="T70" fmla="*/ 2788 w 3266"/>
                    <a:gd name="T71" fmla="*/ 2787 h 3265"/>
                    <a:gd name="T72" fmla="*/ 2494 w 3266"/>
                    <a:gd name="T73" fmla="*/ 3020 h 3265"/>
                    <a:gd name="T74" fmla="*/ 2149 w 3266"/>
                    <a:gd name="T75" fmla="*/ 3182 h 3265"/>
                    <a:gd name="T76" fmla="*/ 1767 w 3266"/>
                    <a:gd name="T77" fmla="*/ 3260 h 3265"/>
                    <a:gd name="T78" fmla="*/ 1369 w 3266"/>
                    <a:gd name="T79" fmla="*/ 3243 h 3265"/>
                    <a:gd name="T80" fmla="*/ 998 w 3266"/>
                    <a:gd name="T81" fmla="*/ 3137 h 3265"/>
                    <a:gd name="T82" fmla="*/ 669 w 3266"/>
                    <a:gd name="T83" fmla="*/ 2949 h 3265"/>
                    <a:gd name="T84" fmla="*/ 395 w 3266"/>
                    <a:gd name="T85" fmla="*/ 2695 h 3265"/>
                    <a:gd name="T86" fmla="*/ 184 w 3266"/>
                    <a:gd name="T87" fmla="*/ 2383 h 3265"/>
                    <a:gd name="T88" fmla="*/ 48 w 3266"/>
                    <a:gd name="T89" fmla="*/ 2024 h 3265"/>
                    <a:gd name="T90" fmla="*/ 0 w 3266"/>
                    <a:gd name="T91" fmla="*/ 1633 h 3265"/>
                    <a:gd name="T92" fmla="*/ 48 w 3266"/>
                    <a:gd name="T93" fmla="*/ 1241 h 3265"/>
                    <a:gd name="T94" fmla="*/ 184 w 3266"/>
                    <a:gd name="T95" fmla="*/ 884 h 3265"/>
                    <a:gd name="T96" fmla="*/ 395 w 3266"/>
                    <a:gd name="T97" fmla="*/ 572 h 3265"/>
                    <a:gd name="T98" fmla="*/ 669 w 3266"/>
                    <a:gd name="T99" fmla="*/ 316 h 3265"/>
                    <a:gd name="T100" fmla="*/ 998 w 3266"/>
                    <a:gd name="T101" fmla="*/ 130 h 3265"/>
                    <a:gd name="T102" fmla="*/ 1369 w 3266"/>
                    <a:gd name="T103" fmla="*/ 22 h 3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66" h="3265">
                      <a:moveTo>
                        <a:pt x="1633" y="193"/>
                      </a:moveTo>
                      <a:lnTo>
                        <a:pt x="1510" y="199"/>
                      </a:lnTo>
                      <a:lnTo>
                        <a:pt x="1388" y="213"/>
                      </a:lnTo>
                      <a:lnTo>
                        <a:pt x="1270" y="240"/>
                      </a:lnTo>
                      <a:lnTo>
                        <a:pt x="1156" y="275"/>
                      </a:lnTo>
                      <a:lnTo>
                        <a:pt x="1046" y="318"/>
                      </a:lnTo>
                      <a:lnTo>
                        <a:pt x="942" y="370"/>
                      </a:lnTo>
                      <a:lnTo>
                        <a:pt x="841" y="432"/>
                      </a:lnTo>
                      <a:lnTo>
                        <a:pt x="745" y="500"/>
                      </a:lnTo>
                      <a:lnTo>
                        <a:pt x="657" y="576"/>
                      </a:lnTo>
                      <a:lnTo>
                        <a:pt x="575" y="657"/>
                      </a:lnTo>
                      <a:lnTo>
                        <a:pt x="500" y="745"/>
                      </a:lnTo>
                      <a:lnTo>
                        <a:pt x="431" y="841"/>
                      </a:lnTo>
                      <a:lnTo>
                        <a:pt x="370" y="940"/>
                      </a:lnTo>
                      <a:lnTo>
                        <a:pt x="317" y="1047"/>
                      </a:lnTo>
                      <a:lnTo>
                        <a:pt x="274" y="1157"/>
                      </a:lnTo>
                      <a:lnTo>
                        <a:pt x="240" y="1270"/>
                      </a:lnTo>
                      <a:lnTo>
                        <a:pt x="214" y="1387"/>
                      </a:lnTo>
                      <a:lnTo>
                        <a:pt x="198" y="1508"/>
                      </a:lnTo>
                      <a:lnTo>
                        <a:pt x="193" y="1633"/>
                      </a:lnTo>
                      <a:lnTo>
                        <a:pt x="198" y="1757"/>
                      </a:lnTo>
                      <a:lnTo>
                        <a:pt x="214" y="1878"/>
                      </a:lnTo>
                      <a:lnTo>
                        <a:pt x="240" y="1997"/>
                      </a:lnTo>
                      <a:lnTo>
                        <a:pt x="274" y="2111"/>
                      </a:lnTo>
                      <a:lnTo>
                        <a:pt x="317" y="2221"/>
                      </a:lnTo>
                      <a:lnTo>
                        <a:pt x="370" y="2325"/>
                      </a:lnTo>
                      <a:lnTo>
                        <a:pt x="431" y="2426"/>
                      </a:lnTo>
                      <a:lnTo>
                        <a:pt x="500" y="2520"/>
                      </a:lnTo>
                      <a:lnTo>
                        <a:pt x="575" y="2609"/>
                      </a:lnTo>
                      <a:lnTo>
                        <a:pt x="657" y="2691"/>
                      </a:lnTo>
                      <a:lnTo>
                        <a:pt x="745" y="2767"/>
                      </a:lnTo>
                      <a:lnTo>
                        <a:pt x="841" y="2836"/>
                      </a:lnTo>
                      <a:lnTo>
                        <a:pt x="942" y="2895"/>
                      </a:lnTo>
                      <a:lnTo>
                        <a:pt x="1046" y="2948"/>
                      </a:lnTo>
                      <a:lnTo>
                        <a:pt x="1156" y="2993"/>
                      </a:lnTo>
                      <a:lnTo>
                        <a:pt x="1270" y="3027"/>
                      </a:lnTo>
                      <a:lnTo>
                        <a:pt x="1388" y="3052"/>
                      </a:lnTo>
                      <a:lnTo>
                        <a:pt x="1510" y="3068"/>
                      </a:lnTo>
                      <a:lnTo>
                        <a:pt x="1633" y="3074"/>
                      </a:lnTo>
                      <a:lnTo>
                        <a:pt x="1758" y="3068"/>
                      </a:lnTo>
                      <a:lnTo>
                        <a:pt x="1878" y="3052"/>
                      </a:lnTo>
                      <a:lnTo>
                        <a:pt x="1998" y="3027"/>
                      </a:lnTo>
                      <a:lnTo>
                        <a:pt x="2111" y="2993"/>
                      </a:lnTo>
                      <a:lnTo>
                        <a:pt x="2221" y="2948"/>
                      </a:lnTo>
                      <a:lnTo>
                        <a:pt x="2326" y="2895"/>
                      </a:lnTo>
                      <a:lnTo>
                        <a:pt x="2427" y="2836"/>
                      </a:lnTo>
                      <a:lnTo>
                        <a:pt x="2521" y="2767"/>
                      </a:lnTo>
                      <a:lnTo>
                        <a:pt x="2609" y="2691"/>
                      </a:lnTo>
                      <a:lnTo>
                        <a:pt x="2692" y="2609"/>
                      </a:lnTo>
                      <a:lnTo>
                        <a:pt x="2768" y="2520"/>
                      </a:lnTo>
                      <a:lnTo>
                        <a:pt x="2837" y="2426"/>
                      </a:lnTo>
                      <a:lnTo>
                        <a:pt x="2896" y="2325"/>
                      </a:lnTo>
                      <a:lnTo>
                        <a:pt x="2949" y="2221"/>
                      </a:lnTo>
                      <a:lnTo>
                        <a:pt x="2994" y="2111"/>
                      </a:lnTo>
                      <a:lnTo>
                        <a:pt x="3028" y="1997"/>
                      </a:lnTo>
                      <a:lnTo>
                        <a:pt x="3053" y="1878"/>
                      </a:lnTo>
                      <a:lnTo>
                        <a:pt x="3070" y="1757"/>
                      </a:lnTo>
                      <a:lnTo>
                        <a:pt x="3075" y="1633"/>
                      </a:lnTo>
                      <a:lnTo>
                        <a:pt x="3070" y="1508"/>
                      </a:lnTo>
                      <a:lnTo>
                        <a:pt x="3053" y="1387"/>
                      </a:lnTo>
                      <a:lnTo>
                        <a:pt x="3028" y="1270"/>
                      </a:lnTo>
                      <a:lnTo>
                        <a:pt x="2994" y="1157"/>
                      </a:lnTo>
                      <a:lnTo>
                        <a:pt x="2949" y="1047"/>
                      </a:lnTo>
                      <a:lnTo>
                        <a:pt x="2896" y="940"/>
                      </a:lnTo>
                      <a:lnTo>
                        <a:pt x="2837" y="841"/>
                      </a:lnTo>
                      <a:lnTo>
                        <a:pt x="2768" y="745"/>
                      </a:lnTo>
                      <a:lnTo>
                        <a:pt x="2692" y="657"/>
                      </a:lnTo>
                      <a:lnTo>
                        <a:pt x="2609" y="576"/>
                      </a:lnTo>
                      <a:lnTo>
                        <a:pt x="2521" y="500"/>
                      </a:lnTo>
                      <a:lnTo>
                        <a:pt x="2427" y="432"/>
                      </a:lnTo>
                      <a:lnTo>
                        <a:pt x="2326" y="370"/>
                      </a:lnTo>
                      <a:lnTo>
                        <a:pt x="2221" y="318"/>
                      </a:lnTo>
                      <a:lnTo>
                        <a:pt x="2111" y="275"/>
                      </a:lnTo>
                      <a:lnTo>
                        <a:pt x="1998" y="240"/>
                      </a:lnTo>
                      <a:lnTo>
                        <a:pt x="1878" y="213"/>
                      </a:lnTo>
                      <a:lnTo>
                        <a:pt x="1758" y="199"/>
                      </a:lnTo>
                      <a:lnTo>
                        <a:pt x="1633" y="193"/>
                      </a:lnTo>
                      <a:close/>
                      <a:moveTo>
                        <a:pt x="1633" y="0"/>
                      </a:moveTo>
                      <a:lnTo>
                        <a:pt x="1767" y="6"/>
                      </a:lnTo>
                      <a:lnTo>
                        <a:pt x="1898" y="22"/>
                      </a:lnTo>
                      <a:lnTo>
                        <a:pt x="2025" y="49"/>
                      </a:lnTo>
                      <a:lnTo>
                        <a:pt x="2149" y="85"/>
                      </a:lnTo>
                      <a:lnTo>
                        <a:pt x="2268" y="130"/>
                      </a:lnTo>
                      <a:lnTo>
                        <a:pt x="2384" y="184"/>
                      </a:lnTo>
                      <a:lnTo>
                        <a:pt x="2494" y="246"/>
                      </a:lnTo>
                      <a:lnTo>
                        <a:pt x="2597" y="316"/>
                      </a:lnTo>
                      <a:lnTo>
                        <a:pt x="2696" y="394"/>
                      </a:lnTo>
                      <a:lnTo>
                        <a:pt x="2788" y="480"/>
                      </a:lnTo>
                      <a:lnTo>
                        <a:pt x="2873" y="572"/>
                      </a:lnTo>
                      <a:lnTo>
                        <a:pt x="2951" y="670"/>
                      </a:lnTo>
                      <a:lnTo>
                        <a:pt x="3021" y="774"/>
                      </a:lnTo>
                      <a:lnTo>
                        <a:pt x="3084" y="884"/>
                      </a:lnTo>
                      <a:lnTo>
                        <a:pt x="3138" y="998"/>
                      </a:lnTo>
                      <a:lnTo>
                        <a:pt x="3183" y="1119"/>
                      </a:lnTo>
                      <a:lnTo>
                        <a:pt x="3220" y="1241"/>
                      </a:lnTo>
                      <a:lnTo>
                        <a:pt x="3245" y="1369"/>
                      </a:lnTo>
                      <a:lnTo>
                        <a:pt x="3261" y="1499"/>
                      </a:lnTo>
                      <a:lnTo>
                        <a:pt x="3266" y="1633"/>
                      </a:lnTo>
                      <a:lnTo>
                        <a:pt x="3261" y="1766"/>
                      </a:lnTo>
                      <a:lnTo>
                        <a:pt x="3245" y="1898"/>
                      </a:lnTo>
                      <a:lnTo>
                        <a:pt x="3220" y="2024"/>
                      </a:lnTo>
                      <a:lnTo>
                        <a:pt x="3183" y="2149"/>
                      </a:lnTo>
                      <a:lnTo>
                        <a:pt x="3138" y="2268"/>
                      </a:lnTo>
                      <a:lnTo>
                        <a:pt x="3084" y="2383"/>
                      </a:lnTo>
                      <a:lnTo>
                        <a:pt x="3021" y="2493"/>
                      </a:lnTo>
                      <a:lnTo>
                        <a:pt x="2951" y="2596"/>
                      </a:lnTo>
                      <a:lnTo>
                        <a:pt x="2873" y="2695"/>
                      </a:lnTo>
                      <a:lnTo>
                        <a:pt x="2788" y="2787"/>
                      </a:lnTo>
                      <a:lnTo>
                        <a:pt x="2696" y="2872"/>
                      </a:lnTo>
                      <a:lnTo>
                        <a:pt x="2597" y="2949"/>
                      </a:lnTo>
                      <a:lnTo>
                        <a:pt x="2494" y="3020"/>
                      </a:lnTo>
                      <a:lnTo>
                        <a:pt x="2384" y="3083"/>
                      </a:lnTo>
                      <a:lnTo>
                        <a:pt x="2268" y="3137"/>
                      </a:lnTo>
                      <a:lnTo>
                        <a:pt x="2149" y="3182"/>
                      </a:lnTo>
                      <a:lnTo>
                        <a:pt x="2025" y="3218"/>
                      </a:lnTo>
                      <a:lnTo>
                        <a:pt x="1898" y="3243"/>
                      </a:lnTo>
                      <a:lnTo>
                        <a:pt x="1767" y="3260"/>
                      </a:lnTo>
                      <a:lnTo>
                        <a:pt x="1633" y="3265"/>
                      </a:lnTo>
                      <a:lnTo>
                        <a:pt x="1499" y="3260"/>
                      </a:lnTo>
                      <a:lnTo>
                        <a:pt x="1369" y="3243"/>
                      </a:lnTo>
                      <a:lnTo>
                        <a:pt x="1241" y="3218"/>
                      </a:lnTo>
                      <a:lnTo>
                        <a:pt x="1119" y="3182"/>
                      </a:lnTo>
                      <a:lnTo>
                        <a:pt x="998" y="3137"/>
                      </a:lnTo>
                      <a:lnTo>
                        <a:pt x="884" y="3083"/>
                      </a:lnTo>
                      <a:lnTo>
                        <a:pt x="774" y="3020"/>
                      </a:lnTo>
                      <a:lnTo>
                        <a:pt x="669" y="2949"/>
                      </a:lnTo>
                      <a:lnTo>
                        <a:pt x="572" y="2872"/>
                      </a:lnTo>
                      <a:lnTo>
                        <a:pt x="480" y="2787"/>
                      </a:lnTo>
                      <a:lnTo>
                        <a:pt x="395" y="2695"/>
                      </a:lnTo>
                      <a:lnTo>
                        <a:pt x="315" y="2596"/>
                      </a:lnTo>
                      <a:lnTo>
                        <a:pt x="245" y="2493"/>
                      </a:lnTo>
                      <a:lnTo>
                        <a:pt x="184" y="2383"/>
                      </a:lnTo>
                      <a:lnTo>
                        <a:pt x="129" y="2268"/>
                      </a:lnTo>
                      <a:lnTo>
                        <a:pt x="84" y="2149"/>
                      </a:lnTo>
                      <a:lnTo>
                        <a:pt x="48" y="2024"/>
                      </a:lnTo>
                      <a:lnTo>
                        <a:pt x="21" y="1898"/>
                      </a:lnTo>
                      <a:lnTo>
                        <a:pt x="5" y="1766"/>
                      </a:lnTo>
                      <a:lnTo>
                        <a:pt x="0" y="1633"/>
                      </a:lnTo>
                      <a:lnTo>
                        <a:pt x="5" y="1499"/>
                      </a:lnTo>
                      <a:lnTo>
                        <a:pt x="21" y="1369"/>
                      </a:lnTo>
                      <a:lnTo>
                        <a:pt x="48" y="1241"/>
                      </a:lnTo>
                      <a:lnTo>
                        <a:pt x="84" y="1119"/>
                      </a:lnTo>
                      <a:lnTo>
                        <a:pt x="129" y="998"/>
                      </a:lnTo>
                      <a:lnTo>
                        <a:pt x="184" y="884"/>
                      </a:lnTo>
                      <a:lnTo>
                        <a:pt x="245" y="774"/>
                      </a:lnTo>
                      <a:lnTo>
                        <a:pt x="315" y="670"/>
                      </a:lnTo>
                      <a:lnTo>
                        <a:pt x="395" y="572"/>
                      </a:lnTo>
                      <a:lnTo>
                        <a:pt x="480" y="480"/>
                      </a:lnTo>
                      <a:lnTo>
                        <a:pt x="572" y="394"/>
                      </a:lnTo>
                      <a:lnTo>
                        <a:pt x="669" y="316"/>
                      </a:lnTo>
                      <a:lnTo>
                        <a:pt x="774" y="246"/>
                      </a:lnTo>
                      <a:lnTo>
                        <a:pt x="884" y="184"/>
                      </a:lnTo>
                      <a:lnTo>
                        <a:pt x="998" y="130"/>
                      </a:lnTo>
                      <a:lnTo>
                        <a:pt x="1119" y="85"/>
                      </a:lnTo>
                      <a:lnTo>
                        <a:pt x="1241" y="49"/>
                      </a:lnTo>
                      <a:lnTo>
                        <a:pt x="1369" y="22"/>
                      </a:lnTo>
                      <a:lnTo>
                        <a:pt x="1499" y="6"/>
                      </a:lnTo>
                      <a:lnTo>
                        <a:pt x="16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56" name="Freeform 38">
                  <a:extLst>
                    <a:ext uri="{FF2B5EF4-FFF2-40B4-BE49-F238E27FC236}">
                      <a16:creationId xmlns:a16="http://schemas.microsoft.com/office/drawing/2014/main" id="{F3FC78E6-C37F-542D-F48B-DEFD8DB7F852}"/>
                    </a:ext>
                  </a:extLst>
                </p:cNvPr>
                <p:cNvSpPr>
                  <a:spLocks/>
                </p:cNvSpPr>
                <p:nvPr/>
              </p:nvSpPr>
              <p:spPr bwMode="auto">
                <a:xfrm>
                  <a:off x="13395326" y="3046413"/>
                  <a:ext cx="558800" cy="1471613"/>
                </a:xfrm>
                <a:custGeom>
                  <a:avLst/>
                  <a:gdLst>
                    <a:gd name="T0" fmla="*/ 99 w 704"/>
                    <a:gd name="T1" fmla="*/ 0 h 1854"/>
                    <a:gd name="T2" fmla="*/ 124 w 704"/>
                    <a:gd name="T3" fmla="*/ 5 h 1854"/>
                    <a:gd name="T4" fmla="*/ 148 w 704"/>
                    <a:gd name="T5" fmla="*/ 16 h 1854"/>
                    <a:gd name="T6" fmla="*/ 233 w 704"/>
                    <a:gd name="T7" fmla="*/ 76 h 1854"/>
                    <a:gd name="T8" fmla="*/ 310 w 704"/>
                    <a:gd name="T9" fmla="*/ 143 h 1854"/>
                    <a:gd name="T10" fmla="*/ 381 w 704"/>
                    <a:gd name="T11" fmla="*/ 215 h 1854"/>
                    <a:gd name="T12" fmla="*/ 447 w 704"/>
                    <a:gd name="T13" fmla="*/ 290 h 1854"/>
                    <a:gd name="T14" fmla="*/ 505 w 704"/>
                    <a:gd name="T15" fmla="*/ 372 h 1854"/>
                    <a:gd name="T16" fmla="*/ 556 w 704"/>
                    <a:gd name="T17" fmla="*/ 458 h 1854"/>
                    <a:gd name="T18" fmla="*/ 601 w 704"/>
                    <a:gd name="T19" fmla="*/ 548 h 1854"/>
                    <a:gd name="T20" fmla="*/ 637 w 704"/>
                    <a:gd name="T21" fmla="*/ 642 h 1854"/>
                    <a:gd name="T22" fmla="*/ 666 w 704"/>
                    <a:gd name="T23" fmla="*/ 738 h 1854"/>
                    <a:gd name="T24" fmla="*/ 687 w 704"/>
                    <a:gd name="T25" fmla="*/ 837 h 1854"/>
                    <a:gd name="T26" fmla="*/ 700 w 704"/>
                    <a:gd name="T27" fmla="*/ 938 h 1854"/>
                    <a:gd name="T28" fmla="*/ 704 w 704"/>
                    <a:gd name="T29" fmla="*/ 1041 h 1854"/>
                    <a:gd name="T30" fmla="*/ 698 w 704"/>
                    <a:gd name="T31" fmla="*/ 1147 h 1854"/>
                    <a:gd name="T32" fmla="*/ 686 w 704"/>
                    <a:gd name="T33" fmla="*/ 1252 h 1854"/>
                    <a:gd name="T34" fmla="*/ 662 w 704"/>
                    <a:gd name="T35" fmla="*/ 1355 h 1854"/>
                    <a:gd name="T36" fmla="*/ 632 w 704"/>
                    <a:gd name="T37" fmla="*/ 1454 h 1854"/>
                    <a:gd name="T38" fmla="*/ 592 w 704"/>
                    <a:gd name="T39" fmla="*/ 1551 h 1854"/>
                    <a:gd name="T40" fmla="*/ 543 w 704"/>
                    <a:gd name="T41" fmla="*/ 1645 h 1854"/>
                    <a:gd name="T42" fmla="*/ 487 w 704"/>
                    <a:gd name="T43" fmla="*/ 1735 h 1854"/>
                    <a:gd name="T44" fmla="*/ 424 w 704"/>
                    <a:gd name="T45" fmla="*/ 1820 h 1854"/>
                    <a:gd name="T46" fmla="*/ 402 w 704"/>
                    <a:gd name="T47" fmla="*/ 1838 h 1854"/>
                    <a:gd name="T48" fmla="*/ 377 w 704"/>
                    <a:gd name="T49" fmla="*/ 1851 h 1854"/>
                    <a:gd name="T50" fmla="*/ 350 w 704"/>
                    <a:gd name="T51" fmla="*/ 1854 h 1854"/>
                    <a:gd name="T52" fmla="*/ 328 w 704"/>
                    <a:gd name="T53" fmla="*/ 1852 h 1854"/>
                    <a:gd name="T54" fmla="*/ 308 w 704"/>
                    <a:gd name="T55" fmla="*/ 1845 h 1854"/>
                    <a:gd name="T56" fmla="*/ 289 w 704"/>
                    <a:gd name="T57" fmla="*/ 1833 h 1854"/>
                    <a:gd name="T58" fmla="*/ 271 w 704"/>
                    <a:gd name="T59" fmla="*/ 1813 h 1854"/>
                    <a:gd name="T60" fmla="*/ 260 w 704"/>
                    <a:gd name="T61" fmla="*/ 1791 h 1854"/>
                    <a:gd name="T62" fmla="*/ 254 w 704"/>
                    <a:gd name="T63" fmla="*/ 1768 h 1854"/>
                    <a:gd name="T64" fmla="*/ 256 w 704"/>
                    <a:gd name="T65" fmla="*/ 1742 h 1854"/>
                    <a:gd name="T66" fmla="*/ 262 w 704"/>
                    <a:gd name="T67" fmla="*/ 1719 h 1854"/>
                    <a:gd name="T68" fmla="*/ 276 w 704"/>
                    <a:gd name="T69" fmla="*/ 1697 h 1854"/>
                    <a:gd name="T70" fmla="*/ 337 w 704"/>
                    <a:gd name="T71" fmla="*/ 1616 h 1854"/>
                    <a:gd name="T72" fmla="*/ 390 w 704"/>
                    <a:gd name="T73" fmla="*/ 1528 h 1854"/>
                    <a:gd name="T74" fmla="*/ 433 w 704"/>
                    <a:gd name="T75" fmla="*/ 1438 h 1854"/>
                    <a:gd name="T76" fmla="*/ 467 w 704"/>
                    <a:gd name="T77" fmla="*/ 1342 h 1854"/>
                    <a:gd name="T78" fmla="*/ 491 w 704"/>
                    <a:gd name="T79" fmla="*/ 1243 h 1854"/>
                    <a:gd name="T80" fmla="*/ 507 w 704"/>
                    <a:gd name="T81" fmla="*/ 1144 h 1854"/>
                    <a:gd name="T82" fmla="*/ 512 w 704"/>
                    <a:gd name="T83" fmla="*/ 1041 h 1854"/>
                    <a:gd name="T84" fmla="*/ 507 w 704"/>
                    <a:gd name="T85" fmla="*/ 947 h 1854"/>
                    <a:gd name="T86" fmla="*/ 494 w 704"/>
                    <a:gd name="T87" fmla="*/ 853 h 1854"/>
                    <a:gd name="T88" fmla="*/ 475 w 704"/>
                    <a:gd name="T89" fmla="*/ 763 h 1854"/>
                    <a:gd name="T90" fmla="*/ 446 w 704"/>
                    <a:gd name="T91" fmla="*/ 675 h 1854"/>
                    <a:gd name="T92" fmla="*/ 408 w 704"/>
                    <a:gd name="T93" fmla="*/ 590 h 1854"/>
                    <a:gd name="T94" fmla="*/ 364 w 704"/>
                    <a:gd name="T95" fmla="*/ 510 h 1854"/>
                    <a:gd name="T96" fmla="*/ 314 w 704"/>
                    <a:gd name="T97" fmla="*/ 433 h 1854"/>
                    <a:gd name="T98" fmla="*/ 256 w 704"/>
                    <a:gd name="T99" fmla="*/ 361 h 1854"/>
                    <a:gd name="T100" fmla="*/ 191 w 704"/>
                    <a:gd name="T101" fmla="*/ 294 h 1854"/>
                    <a:gd name="T102" fmla="*/ 119 w 704"/>
                    <a:gd name="T103" fmla="*/ 233 h 1854"/>
                    <a:gd name="T104" fmla="*/ 43 w 704"/>
                    <a:gd name="T105" fmla="*/ 177 h 1854"/>
                    <a:gd name="T106" fmla="*/ 23 w 704"/>
                    <a:gd name="T107" fmla="*/ 161 h 1854"/>
                    <a:gd name="T108" fmla="*/ 9 w 704"/>
                    <a:gd name="T109" fmla="*/ 139 h 1854"/>
                    <a:gd name="T110" fmla="*/ 2 w 704"/>
                    <a:gd name="T111" fmla="*/ 117 h 1854"/>
                    <a:gd name="T112" fmla="*/ 0 w 704"/>
                    <a:gd name="T113" fmla="*/ 92 h 1854"/>
                    <a:gd name="T114" fmla="*/ 3 w 704"/>
                    <a:gd name="T115" fmla="*/ 67 h 1854"/>
                    <a:gd name="T116" fmla="*/ 14 w 704"/>
                    <a:gd name="T117" fmla="*/ 45 h 1854"/>
                    <a:gd name="T118" fmla="*/ 32 w 704"/>
                    <a:gd name="T119" fmla="*/ 25 h 1854"/>
                    <a:gd name="T120" fmla="*/ 52 w 704"/>
                    <a:gd name="T121" fmla="*/ 11 h 1854"/>
                    <a:gd name="T122" fmla="*/ 76 w 704"/>
                    <a:gd name="T123" fmla="*/ 4 h 1854"/>
                    <a:gd name="T124" fmla="*/ 99 w 704"/>
                    <a:gd name="T125" fmla="*/ 0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4" h="1854">
                      <a:moveTo>
                        <a:pt x="99" y="0"/>
                      </a:moveTo>
                      <a:lnTo>
                        <a:pt x="124" y="5"/>
                      </a:lnTo>
                      <a:lnTo>
                        <a:pt x="148" y="16"/>
                      </a:lnTo>
                      <a:lnTo>
                        <a:pt x="233" y="76"/>
                      </a:lnTo>
                      <a:lnTo>
                        <a:pt x="310" y="143"/>
                      </a:lnTo>
                      <a:lnTo>
                        <a:pt x="381" y="215"/>
                      </a:lnTo>
                      <a:lnTo>
                        <a:pt x="447" y="290"/>
                      </a:lnTo>
                      <a:lnTo>
                        <a:pt x="505" y="372"/>
                      </a:lnTo>
                      <a:lnTo>
                        <a:pt x="556" y="458"/>
                      </a:lnTo>
                      <a:lnTo>
                        <a:pt x="601" y="548"/>
                      </a:lnTo>
                      <a:lnTo>
                        <a:pt x="637" y="642"/>
                      </a:lnTo>
                      <a:lnTo>
                        <a:pt x="666" y="738"/>
                      </a:lnTo>
                      <a:lnTo>
                        <a:pt x="687" y="837"/>
                      </a:lnTo>
                      <a:lnTo>
                        <a:pt x="700" y="938"/>
                      </a:lnTo>
                      <a:lnTo>
                        <a:pt x="704" y="1041"/>
                      </a:lnTo>
                      <a:lnTo>
                        <a:pt x="698" y="1147"/>
                      </a:lnTo>
                      <a:lnTo>
                        <a:pt x="686" y="1252"/>
                      </a:lnTo>
                      <a:lnTo>
                        <a:pt x="662" y="1355"/>
                      </a:lnTo>
                      <a:lnTo>
                        <a:pt x="632" y="1454"/>
                      </a:lnTo>
                      <a:lnTo>
                        <a:pt x="592" y="1551"/>
                      </a:lnTo>
                      <a:lnTo>
                        <a:pt x="543" y="1645"/>
                      </a:lnTo>
                      <a:lnTo>
                        <a:pt x="487" y="1735"/>
                      </a:lnTo>
                      <a:lnTo>
                        <a:pt x="424" y="1820"/>
                      </a:lnTo>
                      <a:lnTo>
                        <a:pt x="402" y="1838"/>
                      </a:lnTo>
                      <a:lnTo>
                        <a:pt x="377" y="1851"/>
                      </a:lnTo>
                      <a:lnTo>
                        <a:pt x="350" y="1854"/>
                      </a:lnTo>
                      <a:lnTo>
                        <a:pt x="328" y="1852"/>
                      </a:lnTo>
                      <a:lnTo>
                        <a:pt x="308" y="1845"/>
                      </a:lnTo>
                      <a:lnTo>
                        <a:pt x="289" y="1833"/>
                      </a:lnTo>
                      <a:lnTo>
                        <a:pt x="271" y="1813"/>
                      </a:lnTo>
                      <a:lnTo>
                        <a:pt x="260" y="1791"/>
                      </a:lnTo>
                      <a:lnTo>
                        <a:pt x="254" y="1768"/>
                      </a:lnTo>
                      <a:lnTo>
                        <a:pt x="256" y="1742"/>
                      </a:lnTo>
                      <a:lnTo>
                        <a:pt x="262" y="1719"/>
                      </a:lnTo>
                      <a:lnTo>
                        <a:pt x="276" y="1697"/>
                      </a:lnTo>
                      <a:lnTo>
                        <a:pt x="337" y="1616"/>
                      </a:lnTo>
                      <a:lnTo>
                        <a:pt x="390" y="1528"/>
                      </a:lnTo>
                      <a:lnTo>
                        <a:pt x="433" y="1438"/>
                      </a:lnTo>
                      <a:lnTo>
                        <a:pt x="467" y="1342"/>
                      </a:lnTo>
                      <a:lnTo>
                        <a:pt x="491" y="1243"/>
                      </a:lnTo>
                      <a:lnTo>
                        <a:pt x="507" y="1144"/>
                      </a:lnTo>
                      <a:lnTo>
                        <a:pt x="512" y="1041"/>
                      </a:lnTo>
                      <a:lnTo>
                        <a:pt x="507" y="947"/>
                      </a:lnTo>
                      <a:lnTo>
                        <a:pt x="494" y="853"/>
                      </a:lnTo>
                      <a:lnTo>
                        <a:pt x="475" y="763"/>
                      </a:lnTo>
                      <a:lnTo>
                        <a:pt x="446" y="675"/>
                      </a:lnTo>
                      <a:lnTo>
                        <a:pt x="408" y="590"/>
                      </a:lnTo>
                      <a:lnTo>
                        <a:pt x="364" y="510"/>
                      </a:lnTo>
                      <a:lnTo>
                        <a:pt x="314" y="433"/>
                      </a:lnTo>
                      <a:lnTo>
                        <a:pt x="256" y="361"/>
                      </a:lnTo>
                      <a:lnTo>
                        <a:pt x="191" y="294"/>
                      </a:lnTo>
                      <a:lnTo>
                        <a:pt x="119" y="233"/>
                      </a:lnTo>
                      <a:lnTo>
                        <a:pt x="43" y="177"/>
                      </a:lnTo>
                      <a:lnTo>
                        <a:pt x="23" y="161"/>
                      </a:lnTo>
                      <a:lnTo>
                        <a:pt x="9" y="139"/>
                      </a:lnTo>
                      <a:lnTo>
                        <a:pt x="2" y="117"/>
                      </a:lnTo>
                      <a:lnTo>
                        <a:pt x="0" y="92"/>
                      </a:lnTo>
                      <a:lnTo>
                        <a:pt x="3" y="67"/>
                      </a:lnTo>
                      <a:lnTo>
                        <a:pt x="14" y="45"/>
                      </a:lnTo>
                      <a:lnTo>
                        <a:pt x="32" y="25"/>
                      </a:lnTo>
                      <a:lnTo>
                        <a:pt x="52" y="11"/>
                      </a:lnTo>
                      <a:lnTo>
                        <a:pt x="76" y="4"/>
                      </a:lnTo>
                      <a:lnTo>
                        <a:pt x="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57" name="Freeform 39">
                  <a:extLst>
                    <a:ext uri="{FF2B5EF4-FFF2-40B4-BE49-F238E27FC236}">
                      <a16:creationId xmlns:a16="http://schemas.microsoft.com/office/drawing/2014/main" id="{03D83D71-9CB1-C92B-838C-42D50E5D62D1}"/>
                    </a:ext>
                  </a:extLst>
                </p:cNvPr>
                <p:cNvSpPr>
                  <a:spLocks/>
                </p:cNvSpPr>
                <p:nvPr/>
              </p:nvSpPr>
              <p:spPr bwMode="auto">
                <a:xfrm>
                  <a:off x="12906376" y="2901950"/>
                  <a:ext cx="315913" cy="166688"/>
                </a:xfrm>
                <a:custGeom>
                  <a:avLst/>
                  <a:gdLst>
                    <a:gd name="T0" fmla="*/ 96 w 397"/>
                    <a:gd name="T1" fmla="*/ 0 h 211"/>
                    <a:gd name="T2" fmla="*/ 208 w 397"/>
                    <a:gd name="T3" fmla="*/ 5 h 211"/>
                    <a:gd name="T4" fmla="*/ 318 w 397"/>
                    <a:gd name="T5" fmla="*/ 22 h 211"/>
                    <a:gd name="T6" fmla="*/ 349 w 397"/>
                    <a:gd name="T7" fmla="*/ 31 h 211"/>
                    <a:gd name="T8" fmla="*/ 372 w 397"/>
                    <a:gd name="T9" fmla="*/ 49 h 211"/>
                    <a:gd name="T10" fmla="*/ 388 w 397"/>
                    <a:gd name="T11" fmla="*/ 74 h 211"/>
                    <a:gd name="T12" fmla="*/ 397 w 397"/>
                    <a:gd name="T13" fmla="*/ 103 h 211"/>
                    <a:gd name="T14" fmla="*/ 396 w 397"/>
                    <a:gd name="T15" fmla="*/ 133 h 211"/>
                    <a:gd name="T16" fmla="*/ 387 w 397"/>
                    <a:gd name="T17" fmla="*/ 159 h 211"/>
                    <a:gd name="T18" fmla="*/ 372 w 397"/>
                    <a:gd name="T19" fmla="*/ 180 h 211"/>
                    <a:gd name="T20" fmla="*/ 352 w 397"/>
                    <a:gd name="T21" fmla="*/ 196 h 211"/>
                    <a:gd name="T22" fmla="*/ 329 w 397"/>
                    <a:gd name="T23" fmla="*/ 207 h 211"/>
                    <a:gd name="T24" fmla="*/ 302 w 397"/>
                    <a:gd name="T25" fmla="*/ 211 h 211"/>
                    <a:gd name="T26" fmla="*/ 284 w 397"/>
                    <a:gd name="T27" fmla="*/ 209 h 211"/>
                    <a:gd name="T28" fmla="*/ 192 w 397"/>
                    <a:gd name="T29" fmla="*/ 196 h 211"/>
                    <a:gd name="T30" fmla="*/ 96 w 397"/>
                    <a:gd name="T31" fmla="*/ 193 h 211"/>
                    <a:gd name="T32" fmla="*/ 65 w 397"/>
                    <a:gd name="T33" fmla="*/ 187 h 211"/>
                    <a:gd name="T34" fmla="*/ 40 w 397"/>
                    <a:gd name="T35" fmla="*/ 175 h 211"/>
                    <a:gd name="T36" fmla="*/ 18 w 397"/>
                    <a:gd name="T37" fmla="*/ 153 h 211"/>
                    <a:gd name="T38" fmla="*/ 6 w 397"/>
                    <a:gd name="T39" fmla="*/ 128 h 211"/>
                    <a:gd name="T40" fmla="*/ 0 w 397"/>
                    <a:gd name="T41" fmla="*/ 97 h 211"/>
                    <a:gd name="T42" fmla="*/ 6 w 397"/>
                    <a:gd name="T43" fmla="*/ 67 h 211"/>
                    <a:gd name="T44" fmla="*/ 18 w 397"/>
                    <a:gd name="T45" fmla="*/ 40 h 211"/>
                    <a:gd name="T46" fmla="*/ 40 w 397"/>
                    <a:gd name="T47" fmla="*/ 20 h 211"/>
                    <a:gd name="T48" fmla="*/ 65 w 397"/>
                    <a:gd name="T49" fmla="*/ 5 h 211"/>
                    <a:gd name="T50" fmla="*/ 96 w 397"/>
                    <a:gd name="T51"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7" h="211">
                      <a:moveTo>
                        <a:pt x="96" y="0"/>
                      </a:moveTo>
                      <a:lnTo>
                        <a:pt x="208" y="5"/>
                      </a:lnTo>
                      <a:lnTo>
                        <a:pt x="318" y="22"/>
                      </a:lnTo>
                      <a:lnTo>
                        <a:pt x="349" y="31"/>
                      </a:lnTo>
                      <a:lnTo>
                        <a:pt x="372" y="49"/>
                      </a:lnTo>
                      <a:lnTo>
                        <a:pt x="388" y="74"/>
                      </a:lnTo>
                      <a:lnTo>
                        <a:pt x="397" y="103"/>
                      </a:lnTo>
                      <a:lnTo>
                        <a:pt x="396" y="133"/>
                      </a:lnTo>
                      <a:lnTo>
                        <a:pt x="387" y="159"/>
                      </a:lnTo>
                      <a:lnTo>
                        <a:pt x="372" y="180"/>
                      </a:lnTo>
                      <a:lnTo>
                        <a:pt x="352" y="196"/>
                      </a:lnTo>
                      <a:lnTo>
                        <a:pt x="329" y="207"/>
                      </a:lnTo>
                      <a:lnTo>
                        <a:pt x="302" y="211"/>
                      </a:lnTo>
                      <a:lnTo>
                        <a:pt x="284" y="209"/>
                      </a:lnTo>
                      <a:lnTo>
                        <a:pt x="192" y="196"/>
                      </a:lnTo>
                      <a:lnTo>
                        <a:pt x="96" y="193"/>
                      </a:lnTo>
                      <a:lnTo>
                        <a:pt x="65" y="187"/>
                      </a:lnTo>
                      <a:lnTo>
                        <a:pt x="40" y="175"/>
                      </a:lnTo>
                      <a:lnTo>
                        <a:pt x="18" y="153"/>
                      </a:lnTo>
                      <a:lnTo>
                        <a:pt x="6" y="128"/>
                      </a:lnTo>
                      <a:lnTo>
                        <a:pt x="0" y="97"/>
                      </a:lnTo>
                      <a:lnTo>
                        <a:pt x="6" y="67"/>
                      </a:lnTo>
                      <a:lnTo>
                        <a:pt x="18" y="40"/>
                      </a:lnTo>
                      <a:lnTo>
                        <a:pt x="40" y="20"/>
                      </a:lnTo>
                      <a:lnTo>
                        <a:pt x="65" y="5"/>
                      </a:lnTo>
                      <a:lnTo>
                        <a:pt x="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grpSp>
        </p:grpSp>
        <p:sp>
          <p:nvSpPr>
            <p:cNvPr id="22" name="TextBox 21">
              <a:extLst>
                <a:ext uri="{FF2B5EF4-FFF2-40B4-BE49-F238E27FC236}">
                  <a16:creationId xmlns:a16="http://schemas.microsoft.com/office/drawing/2014/main" id="{538A366F-650B-AD2A-3792-D01598348B21}"/>
                </a:ext>
              </a:extLst>
            </p:cNvPr>
            <p:cNvSpPr txBox="1"/>
            <p:nvPr/>
          </p:nvSpPr>
          <p:spPr>
            <a:xfrm>
              <a:off x="1209561" y="3872139"/>
              <a:ext cx="2727791" cy="600164"/>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Staffing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amp;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Strategic Consulting  </a:t>
              </a:r>
              <a:endParaRPr kumimoji="0" lang="en-IN"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endParaRPr>
            </a:p>
          </p:txBody>
        </p:sp>
        <p:grpSp>
          <p:nvGrpSpPr>
            <p:cNvPr id="23" name="Group 22">
              <a:extLst>
                <a:ext uri="{FF2B5EF4-FFF2-40B4-BE49-F238E27FC236}">
                  <a16:creationId xmlns:a16="http://schemas.microsoft.com/office/drawing/2014/main" id="{A7472520-BD43-C0D3-D15A-A56EAC2B9DDB}"/>
                </a:ext>
              </a:extLst>
            </p:cNvPr>
            <p:cNvGrpSpPr/>
            <p:nvPr/>
          </p:nvGrpSpPr>
          <p:grpSpPr>
            <a:xfrm>
              <a:off x="3866075" y="3843419"/>
              <a:ext cx="1126906" cy="1099203"/>
              <a:chOff x="2465264" y="4656578"/>
              <a:chExt cx="1083597" cy="1083596"/>
            </a:xfrm>
          </p:grpSpPr>
          <p:sp>
            <p:nvSpPr>
              <p:cNvPr id="50" name="Freeform 18">
                <a:extLst>
                  <a:ext uri="{FF2B5EF4-FFF2-40B4-BE49-F238E27FC236}">
                    <a16:creationId xmlns:a16="http://schemas.microsoft.com/office/drawing/2014/main" id="{3E835A03-4528-D706-98BF-2C8112C54678}"/>
                  </a:ext>
                </a:extLst>
              </p:cNvPr>
              <p:cNvSpPr>
                <a:spLocks/>
              </p:cNvSpPr>
              <p:nvPr/>
            </p:nvSpPr>
            <p:spPr bwMode="auto">
              <a:xfrm>
                <a:off x="2465264" y="4656578"/>
                <a:ext cx="1083597" cy="1083596"/>
              </a:xfrm>
              <a:custGeom>
                <a:avLst/>
                <a:gdLst>
                  <a:gd name="T0" fmla="*/ 453 w 954"/>
                  <a:gd name="T1" fmla="*/ 0 h 954"/>
                  <a:gd name="T2" fmla="*/ 505 w 954"/>
                  <a:gd name="T3" fmla="*/ 0 h 954"/>
                  <a:gd name="T4" fmla="*/ 557 w 954"/>
                  <a:gd name="T5" fmla="*/ 6 h 954"/>
                  <a:gd name="T6" fmla="*/ 608 w 954"/>
                  <a:gd name="T7" fmla="*/ 18 h 954"/>
                  <a:gd name="T8" fmla="*/ 657 w 954"/>
                  <a:gd name="T9" fmla="*/ 35 h 954"/>
                  <a:gd name="T10" fmla="*/ 705 w 954"/>
                  <a:gd name="T11" fmla="*/ 57 h 954"/>
                  <a:gd name="T12" fmla="*/ 750 w 954"/>
                  <a:gd name="T13" fmla="*/ 85 h 954"/>
                  <a:gd name="T14" fmla="*/ 792 w 954"/>
                  <a:gd name="T15" fmla="*/ 118 h 954"/>
                  <a:gd name="T16" fmla="*/ 830 w 954"/>
                  <a:gd name="T17" fmla="*/ 156 h 954"/>
                  <a:gd name="T18" fmla="*/ 864 w 954"/>
                  <a:gd name="T19" fmla="*/ 197 h 954"/>
                  <a:gd name="T20" fmla="*/ 894 w 954"/>
                  <a:gd name="T21" fmla="*/ 245 h 954"/>
                  <a:gd name="T22" fmla="*/ 918 w 954"/>
                  <a:gd name="T23" fmla="*/ 296 h 954"/>
                  <a:gd name="T24" fmla="*/ 935 w 954"/>
                  <a:gd name="T25" fmla="*/ 347 h 954"/>
                  <a:gd name="T26" fmla="*/ 947 w 954"/>
                  <a:gd name="T27" fmla="*/ 399 h 954"/>
                  <a:gd name="T28" fmla="*/ 954 w 954"/>
                  <a:gd name="T29" fmla="*/ 451 h 954"/>
                  <a:gd name="T30" fmla="*/ 954 w 954"/>
                  <a:gd name="T31" fmla="*/ 505 h 954"/>
                  <a:gd name="T32" fmla="*/ 947 w 954"/>
                  <a:gd name="T33" fmla="*/ 557 h 954"/>
                  <a:gd name="T34" fmla="*/ 935 w 954"/>
                  <a:gd name="T35" fmla="*/ 608 h 954"/>
                  <a:gd name="T36" fmla="*/ 918 w 954"/>
                  <a:gd name="T37" fmla="*/ 657 h 954"/>
                  <a:gd name="T38" fmla="*/ 896 w 954"/>
                  <a:gd name="T39" fmla="*/ 705 h 954"/>
                  <a:gd name="T40" fmla="*/ 869 w 954"/>
                  <a:gd name="T41" fmla="*/ 750 h 954"/>
                  <a:gd name="T42" fmla="*/ 836 w 954"/>
                  <a:gd name="T43" fmla="*/ 792 h 954"/>
                  <a:gd name="T44" fmla="*/ 798 w 954"/>
                  <a:gd name="T45" fmla="*/ 830 h 954"/>
                  <a:gd name="T46" fmla="*/ 756 w 954"/>
                  <a:gd name="T47" fmla="*/ 864 h 954"/>
                  <a:gd name="T48" fmla="*/ 709 w 954"/>
                  <a:gd name="T49" fmla="*/ 894 h 954"/>
                  <a:gd name="T50" fmla="*/ 658 w 954"/>
                  <a:gd name="T51" fmla="*/ 919 h 954"/>
                  <a:gd name="T52" fmla="*/ 607 w 954"/>
                  <a:gd name="T53" fmla="*/ 936 h 954"/>
                  <a:gd name="T54" fmla="*/ 555 w 954"/>
                  <a:gd name="T55" fmla="*/ 948 h 954"/>
                  <a:gd name="T56" fmla="*/ 501 w 954"/>
                  <a:gd name="T57" fmla="*/ 954 h 954"/>
                  <a:gd name="T58" fmla="*/ 449 w 954"/>
                  <a:gd name="T59" fmla="*/ 953 h 954"/>
                  <a:gd name="T60" fmla="*/ 396 w 954"/>
                  <a:gd name="T61" fmla="*/ 948 h 954"/>
                  <a:gd name="T62" fmla="*/ 345 w 954"/>
                  <a:gd name="T63" fmla="*/ 936 h 954"/>
                  <a:gd name="T64" fmla="*/ 297 w 954"/>
                  <a:gd name="T65" fmla="*/ 919 h 954"/>
                  <a:gd name="T66" fmla="*/ 249 w 954"/>
                  <a:gd name="T67" fmla="*/ 896 h 954"/>
                  <a:gd name="T68" fmla="*/ 204 w 954"/>
                  <a:gd name="T69" fmla="*/ 869 h 954"/>
                  <a:gd name="T70" fmla="*/ 162 w 954"/>
                  <a:gd name="T71" fmla="*/ 836 h 954"/>
                  <a:gd name="T72" fmla="*/ 124 w 954"/>
                  <a:gd name="T73" fmla="*/ 798 h 954"/>
                  <a:gd name="T74" fmla="*/ 90 w 954"/>
                  <a:gd name="T75" fmla="*/ 755 h 954"/>
                  <a:gd name="T76" fmla="*/ 60 w 954"/>
                  <a:gd name="T77" fmla="*/ 708 h 954"/>
                  <a:gd name="T78" fmla="*/ 35 w 954"/>
                  <a:gd name="T79" fmla="*/ 658 h 954"/>
                  <a:gd name="T80" fmla="*/ 18 w 954"/>
                  <a:gd name="T81" fmla="*/ 607 h 954"/>
                  <a:gd name="T82" fmla="*/ 7 w 954"/>
                  <a:gd name="T83" fmla="*/ 555 h 954"/>
                  <a:gd name="T84" fmla="*/ 0 w 954"/>
                  <a:gd name="T85" fmla="*/ 501 h 954"/>
                  <a:gd name="T86" fmla="*/ 0 w 954"/>
                  <a:gd name="T87" fmla="*/ 449 h 954"/>
                  <a:gd name="T88" fmla="*/ 7 w 954"/>
                  <a:gd name="T89" fmla="*/ 396 h 954"/>
                  <a:gd name="T90" fmla="*/ 18 w 954"/>
                  <a:gd name="T91" fmla="*/ 345 h 954"/>
                  <a:gd name="T92" fmla="*/ 35 w 954"/>
                  <a:gd name="T93" fmla="*/ 296 h 954"/>
                  <a:gd name="T94" fmla="*/ 58 w 954"/>
                  <a:gd name="T95" fmla="*/ 248 h 954"/>
                  <a:gd name="T96" fmla="*/ 85 w 954"/>
                  <a:gd name="T97" fmla="*/ 204 h 954"/>
                  <a:gd name="T98" fmla="*/ 118 w 954"/>
                  <a:gd name="T99" fmla="*/ 162 h 954"/>
                  <a:gd name="T100" fmla="*/ 156 w 954"/>
                  <a:gd name="T101" fmla="*/ 124 h 954"/>
                  <a:gd name="T102" fmla="*/ 198 w 954"/>
                  <a:gd name="T103" fmla="*/ 89 h 954"/>
                  <a:gd name="T104" fmla="*/ 245 w 954"/>
                  <a:gd name="T105" fmla="*/ 60 h 954"/>
                  <a:gd name="T106" fmla="*/ 296 w 954"/>
                  <a:gd name="T107" fmla="*/ 35 h 954"/>
                  <a:gd name="T108" fmla="*/ 347 w 954"/>
                  <a:gd name="T109" fmla="*/ 17 h 954"/>
                  <a:gd name="T110" fmla="*/ 399 w 954"/>
                  <a:gd name="T111" fmla="*/ 5 h 954"/>
                  <a:gd name="T112" fmla="*/ 453 w 954"/>
                  <a:gd name="T113" fmla="*/ 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4" h="954">
                    <a:moveTo>
                      <a:pt x="453" y="0"/>
                    </a:moveTo>
                    <a:lnTo>
                      <a:pt x="505" y="0"/>
                    </a:lnTo>
                    <a:lnTo>
                      <a:pt x="557" y="6"/>
                    </a:lnTo>
                    <a:lnTo>
                      <a:pt x="608" y="18"/>
                    </a:lnTo>
                    <a:lnTo>
                      <a:pt x="657" y="35"/>
                    </a:lnTo>
                    <a:lnTo>
                      <a:pt x="705" y="57"/>
                    </a:lnTo>
                    <a:lnTo>
                      <a:pt x="750" y="85"/>
                    </a:lnTo>
                    <a:lnTo>
                      <a:pt x="792" y="118"/>
                    </a:lnTo>
                    <a:lnTo>
                      <a:pt x="830" y="156"/>
                    </a:lnTo>
                    <a:lnTo>
                      <a:pt x="864" y="197"/>
                    </a:lnTo>
                    <a:lnTo>
                      <a:pt x="894" y="245"/>
                    </a:lnTo>
                    <a:lnTo>
                      <a:pt x="918" y="296"/>
                    </a:lnTo>
                    <a:lnTo>
                      <a:pt x="935" y="347"/>
                    </a:lnTo>
                    <a:lnTo>
                      <a:pt x="947" y="399"/>
                    </a:lnTo>
                    <a:lnTo>
                      <a:pt x="954" y="451"/>
                    </a:lnTo>
                    <a:lnTo>
                      <a:pt x="954" y="505"/>
                    </a:lnTo>
                    <a:lnTo>
                      <a:pt x="947" y="557"/>
                    </a:lnTo>
                    <a:lnTo>
                      <a:pt x="935" y="608"/>
                    </a:lnTo>
                    <a:lnTo>
                      <a:pt x="918" y="657"/>
                    </a:lnTo>
                    <a:lnTo>
                      <a:pt x="896" y="705"/>
                    </a:lnTo>
                    <a:lnTo>
                      <a:pt x="869" y="750"/>
                    </a:lnTo>
                    <a:lnTo>
                      <a:pt x="836" y="792"/>
                    </a:lnTo>
                    <a:lnTo>
                      <a:pt x="798" y="830"/>
                    </a:lnTo>
                    <a:lnTo>
                      <a:pt x="756" y="864"/>
                    </a:lnTo>
                    <a:lnTo>
                      <a:pt x="709" y="894"/>
                    </a:lnTo>
                    <a:lnTo>
                      <a:pt x="658" y="919"/>
                    </a:lnTo>
                    <a:lnTo>
                      <a:pt x="607" y="936"/>
                    </a:lnTo>
                    <a:lnTo>
                      <a:pt x="555" y="948"/>
                    </a:lnTo>
                    <a:lnTo>
                      <a:pt x="501" y="954"/>
                    </a:lnTo>
                    <a:lnTo>
                      <a:pt x="449" y="953"/>
                    </a:lnTo>
                    <a:lnTo>
                      <a:pt x="396" y="948"/>
                    </a:lnTo>
                    <a:lnTo>
                      <a:pt x="345" y="936"/>
                    </a:lnTo>
                    <a:lnTo>
                      <a:pt x="297" y="919"/>
                    </a:lnTo>
                    <a:lnTo>
                      <a:pt x="249" y="896"/>
                    </a:lnTo>
                    <a:lnTo>
                      <a:pt x="204" y="869"/>
                    </a:lnTo>
                    <a:lnTo>
                      <a:pt x="162" y="836"/>
                    </a:lnTo>
                    <a:lnTo>
                      <a:pt x="124" y="798"/>
                    </a:lnTo>
                    <a:lnTo>
                      <a:pt x="90" y="755"/>
                    </a:lnTo>
                    <a:lnTo>
                      <a:pt x="60" y="708"/>
                    </a:lnTo>
                    <a:lnTo>
                      <a:pt x="35" y="658"/>
                    </a:lnTo>
                    <a:lnTo>
                      <a:pt x="18" y="607"/>
                    </a:lnTo>
                    <a:lnTo>
                      <a:pt x="7" y="555"/>
                    </a:lnTo>
                    <a:lnTo>
                      <a:pt x="0" y="501"/>
                    </a:lnTo>
                    <a:lnTo>
                      <a:pt x="0" y="449"/>
                    </a:lnTo>
                    <a:lnTo>
                      <a:pt x="7" y="396"/>
                    </a:lnTo>
                    <a:lnTo>
                      <a:pt x="18" y="345"/>
                    </a:lnTo>
                    <a:lnTo>
                      <a:pt x="35" y="296"/>
                    </a:lnTo>
                    <a:lnTo>
                      <a:pt x="58" y="248"/>
                    </a:lnTo>
                    <a:lnTo>
                      <a:pt x="85" y="204"/>
                    </a:lnTo>
                    <a:lnTo>
                      <a:pt x="118" y="162"/>
                    </a:lnTo>
                    <a:lnTo>
                      <a:pt x="156" y="124"/>
                    </a:lnTo>
                    <a:lnTo>
                      <a:pt x="198" y="89"/>
                    </a:lnTo>
                    <a:lnTo>
                      <a:pt x="245" y="60"/>
                    </a:lnTo>
                    <a:lnTo>
                      <a:pt x="296" y="35"/>
                    </a:lnTo>
                    <a:lnTo>
                      <a:pt x="347" y="17"/>
                    </a:lnTo>
                    <a:lnTo>
                      <a:pt x="399" y="5"/>
                    </a:lnTo>
                    <a:lnTo>
                      <a:pt x="453" y="0"/>
                    </a:lnTo>
                    <a:close/>
                  </a:path>
                </a:pathLst>
              </a:custGeom>
              <a:solidFill>
                <a:schemeClr val="tx2">
                  <a:lumMod val="75000"/>
                </a:schemeClr>
              </a:solid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pic>
            <p:nvPicPr>
              <p:cNvPr id="51" name="Graphic 50" descr="Signal">
                <a:extLst>
                  <a:ext uri="{FF2B5EF4-FFF2-40B4-BE49-F238E27FC236}">
                    <a16:creationId xmlns:a16="http://schemas.microsoft.com/office/drawing/2014/main" id="{ED445429-63A6-CAC6-594D-823580FA88AF}"/>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620534" y="4819810"/>
                <a:ext cx="736422" cy="736422"/>
              </a:xfrm>
              <a:prstGeom prst="rect">
                <a:avLst/>
              </a:prstGeom>
            </p:spPr>
          </p:pic>
        </p:grpSp>
        <p:grpSp>
          <p:nvGrpSpPr>
            <p:cNvPr id="24" name="Group 23">
              <a:extLst>
                <a:ext uri="{FF2B5EF4-FFF2-40B4-BE49-F238E27FC236}">
                  <a16:creationId xmlns:a16="http://schemas.microsoft.com/office/drawing/2014/main" id="{C149E3FC-2637-B45E-0329-62B27EBF6EA2}"/>
                </a:ext>
              </a:extLst>
            </p:cNvPr>
            <p:cNvGrpSpPr/>
            <p:nvPr/>
          </p:nvGrpSpPr>
          <p:grpSpPr>
            <a:xfrm>
              <a:off x="1628237" y="2340794"/>
              <a:ext cx="3710585" cy="1150342"/>
              <a:chOff x="1628805" y="2770236"/>
              <a:chExt cx="3710585" cy="1150342"/>
            </a:xfrm>
          </p:grpSpPr>
          <p:grpSp>
            <p:nvGrpSpPr>
              <p:cNvPr id="36" name="Group 35">
                <a:extLst>
                  <a:ext uri="{FF2B5EF4-FFF2-40B4-BE49-F238E27FC236}">
                    <a16:creationId xmlns:a16="http://schemas.microsoft.com/office/drawing/2014/main" id="{182D2416-625F-3ED9-95E2-60F76C1029EB}"/>
                  </a:ext>
                </a:extLst>
              </p:cNvPr>
              <p:cNvGrpSpPr/>
              <p:nvPr/>
            </p:nvGrpSpPr>
            <p:grpSpPr>
              <a:xfrm>
                <a:off x="4213665" y="2821375"/>
                <a:ext cx="1125725" cy="1099203"/>
                <a:chOff x="2497691" y="2809652"/>
                <a:chExt cx="1082461" cy="1083596"/>
              </a:xfrm>
            </p:grpSpPr>
            <p:sp>
              <p:nvSpPr>
                <p:cNvPr id="38" name="Freeform 19">
                  <a:extLst>
                    <a:ext uri="{FF2B5EF4-FFF2-40B4-BE49-F238E27FC236}">
                      <a16:creationId xmlns:a16="http://schemas.microsoft.com/office/drawing/2014/main" id="{7E5F3899-7573-A7DD-69D5-F3BA96B3FC4D}"/>
                    </a:ext>
                  </a:extLst>
                </p:cNvPr>
                <p:cNvSpPr>
                  <a:spLocks/>
                </p:cNvSpPr>
                <p:nvPr/>
              </p:nvSpPr>
              <p:spPr bwMode="auto">
                <a:xfrm>
                  <a:off x="2497691" y="2809652"/>
                  <a:ext cx="1082461" cy="1083596"/>
                </a:xfrm>
                <a:custGeom>
                  <a:avLst/>
                  <a:gdLst>
                    <a:gd name="T0" fmla="*/ 460 w 953"/>
                    <a:gd name="T1" fmla="*/ 0 h 954"/>
                    <a:gd name="T2" fmla="*/ 513 w 953"/>
                    <a:gd name="T3" fmla="*/ 0 h 954"/>
                    <a:gd name="T4" fmla="*/ 565 w 953"/>
                    <a:gd name="T5" fmla="*/ 8 h 954"/>
                    <a:gd name="T6" fmla="*/ 617 w 953"/>
                    <a:gd name="T7" fmla="*/ 21 h 954"/>
                    <a:gd name="T8" fmla="*/ 668 w 953"/>
                    <a:gd name="T9" fmla="*/ 39 h 954"/>
                    <a:gd name="T10" fmla="*/ 718 w 953"/>
                    <a:gd name="T11" fmla="*/ 64 h 954"/>
                    <a:gd name="T12" fmla="*/ 764 w 953"/>
                    <a:gd name="T13" fmla="*/ 95 h 954"/>
                    <a:gd name="T14" fmla="*/ 806 w 953"/>
                    <a:gd name="T15" fmla="*/ 131 h 954"/>
                    <a:gd name="T16" fmla="*/ 842 w 953"/>
                    <a:gd name="T17" fmla="*/ 170 h 954"/>
                    <a:gd name="T18" fmla="*/ 875 w 953"/>
                    <a:gd name="T19" fmla="*/ 212 h 954"/>
                    <a:gd name="T20" fmla="*/ 901 w 953"/>
                    <a:gd name="T21" fmla="*/ 258 h 954"/>
                    <a:gd name="T22" fmla="*/ 922 w 953"/>
                    <a:gd name="T23" fmla="*/ 306 h 954"/>
                    <a:gd name="T24" fmla="*/ 939 w 953"/>
                    <a:gd name="T25" fmla="*/ 356 h 954"/>
                    <a:gd name="T26" fmla="*/ 950 w 953"/>
                    <a:gd name="T27" fmla="*/ 407 h 954"/>
                    <a:gd name="T28" fmla="*/ 953 w 953"/>
                    <a:gd name="T29" fmla="*/ 459 h 954"/>
                    <a:gd name="T30" fmla="*/ 953 w 953"/>
                    <a:gd name="T31" fmla="*/ 512 h 954"/>
                    <a:gd name="T32" fmla="*/ 946 w 953"/>
                    <a:gd name="T33" fmla="*/ 564 h 954"/>
                    <a:gd name="T34" fmla="*/ 933 w 953"/>
                    <a:gd name="T35" fmla="*/ 616 h 954"/>
                    <a:gd name="T36" fmla="*/ 914 w 953"/>
                    <a:gd name="T37" fmla="*/ 667 h 954"/>
                    <a:gd name="T38" fmla="*/ 888 w 953"/>
                    <a:gd name="T39" fmla="*/ 717 h 954"/>
                    <a:gd name="T40" fmla="*/ 858 w 953"/>
                    <a:gd name="T41" fmla="*/ 764 h 954"/>
                    <a:gd name="T42" fmla="*/ 823 w 953"/>
                    <a:gd name="T43" fmla="*/ 806 h 954"/>
                    <a:gd name="T44" fmla="*/ 783 w 953"/>
                    <a:gd name="T45" fmla="*/ 843 h 954"/>
                    <a:gd name="T46" fmla="*/ 740 w 953"/>
                    <a:gd name="T47" fmla="*/ 874 h 954"/>
                    <a:gd name="T48" fmla="*/ 696 w 953"/>
                    <a:gd name="T49" fmla="*/ 900 h 954"/>
                    <a:gd name="T50" fmla="*/ 647 w 953"/>
                    <a:gd name="T51" fmla="*/ 923 h 954"/>
                    <a:gd name="T52" fmla="*/ 598 w 953"/>
                    <a:gd name="T53" fmla="*/ 938 h 954"/>
                    <a:gd name="T54" fmla="*/ 547 w 953"/>
                    <a:gd name="T55" fmla="*/ 949 h 954"/>
                    <a:gd name="T56" fmla="*/ 494 w 953"/>
                    <a:gd name="T57" fmla="*/ 954 h 954"/>
                    <a:gd name="T58" fmla="*/ 442 w 953"/>
                    <a:gd name="T59" fmla="*/ 953 h 954"/>
                    <a:gd name="T60" fmla="*/ 388 w 953"/>
                    <a:gd name="T61" fmla="*/ 946 h 954"/>
                    <a:gd name="T62" fmla="*/ 337 w 953"/>
                    <a:gd name="T63" fmla="*/ 933 h 954"/>
                    <a:gd name="T64" fmla="*/ 285 w 953"/>
                    <a:gd name="T65" fmla="*/ 913 h 954"/>
                    <a:gd name="T66" fmla="*/ 236 w 953"/>
                    <a:gd name="T67" fmla="*/ 889 h 954"/>
                    <a:gd name="T68" fmla="*/ 189 w 953"/>
                    <a:gd name="T69" fmla="*/ 857 h 954"/>
                    <a:gd name="T70" fmla="*/ 147 w 953"/>
                    <a:gd name="T71" fmla="*/ 822 h 954"/>
                    <a:gd name="T72" fmla="*/ 111 w 953"/>
                    <a:gd name="T73" fmla="*/ 783 h 954"/>
                    <a:gd name="T74" fmla="*/ 79 w 953"/>
                    <a:gd name="T75" fmla="*/ 741 h 954"/>
                    <a:gd name="T76" fmla="*/ 53 w 953"/>
                    <a:gd name="T77" fmla="*/ 695 h 954"/>
                    <a:gd name="T78" fmla="*/ 31 w 953"/>
                    <a:gd name="T79" fmla="*/ 648 h 954"/>
                    <a:gd name="T80" fmla="*/ 15 w 953"/>
                    <a:gd name="T81" fmla="*/ 597 h 954"/>
                    <a:gd name="T82" fmla="*/ 5 w 953"/>
                    <a:gd name="T83" fmla="*/ 546 h 954"/>
                    <a:gd name="T84" fmla="*/ 0 w 953"/>
                    <a:gd name="T85" fmla="*/ 493 h 954"/>
                    <a:gd name="T86" fmla="*/ 1 w 953"/>
                    <a:gd name="T87" fmla="*/ 441 h 954"/>
                    <a:gd name="T88" fmla="*/ 7 w 953"/>
                    <a:gd name="T89" fmla="*/ 388 h 954"/>
                    <a:gd name="T90" fmla="*/ 21 w 953"/>
                    <a:gd name="T91" fmla="*/ 336 h 954"/>
                    <a:gd name="T92" fmla="*/ 40 w 953"/>
                    <a:gd name="T93" fmla="*/ 285 h 954"/>
                    <a:gd name="T94" fmla="*/ 65 w 953"/>
                    <a:gd name="T95" fmla="*/ 235 h 954"/>
                    <a:gd name="T96" fmla="*/ 96 w 953"/>
                    <a:gd name="T97" fmla="*/ 188 h 954"/>
                    <a:gd name="T98" fmla="*/ 132 w 953"/>
                    <a:gd name="T99" fmla="*/ 148 h 954"/>
                    <a:gd name="T100" fmla="*/ 171 w 953"/>
                    <a:gd name="T101" fmla="*/ 111 h 954"/>
                    <a:gd name="T102" fmla="*/ 213 w 953"/>
                    <a:gd name="T103" fmla="*/ 78 h 954"/>
                    <a:gd name="T104" fmla="*/ 259 w 953"/>
                    <a:gd name="T105" fmla="*/ 52 h 954"/>
                    <a:gd name="T106" fmla="*/ 306 w 953"/>
                    <a:gd name="T107" fmla="*/ 31 h 954"/>
                    <a:gd name="T108" fmla="*/ 356 w 953"/>
                    <a:gd name="T109" fmla="*/ 14 h 954"/>
                    <a:gd name="T110" fmla="*/ 408 w 953"/>
                    <a:gd name="T111" fmla="*/ 4 h 954"/>
                    <a:gd name="T112" fmla="*/ 460 w 953"/>
                    <a:gd name="T113" fmla="*/ 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3" h="954">
                      <a:moveTo>
                        <a:pt x="460" y="0"/>
                      </a:moveTo>
                      <a:lnTo>
                        <a:pt x="513" y="0"/>
                      </a:lnTo>
                      <a:lnTo>
                        <a:pt x="565" y="8"/>
                      </a:lnTo>
                      <a:lnTo>
                        <a:pt x="617" y="21"/>
                      </a:lnTo>
                      <a:lnTo>
                        <a:pt x="668" y="39"/>
                      </a:lnTo>
                      <a:lnTo>
                        <a:pt x="718" y="64"/>
                      </a:lnTo>
                      <a:lnTo>
                        <a:pt x="764" y="95"/>
                      </a:lnTo>
                      <a:lnTo>
                        <a:pt x="806" y="131"/>
                      </a:lnTo>
                      <a:lnTo>
                        <a:pt x="842" y="170"/>
                      </a:lnTo>
                      <a:lnTo>
                        <a:pt x="875" y="212"/>
                      </a:lnTo>
                      <a:lnTo>
                        <a:pt x="901" y="258"/>
                      </a:lnTo>
                      <a:lnTo>
                        <a:pt x="922" y="306"/>
                      </a:lnTo>
                      <a:lnTo>
                        <a:pt x="939" y="356"/>
                      </a:lnTo>
                      <a:lnTo>
                        <a:pt x="950" y="407"/>
                      </a:lnTo>
                      <a:lnTo>
                        <a:pt x="953" y="459"/>
                      </a:lnTo>
                      <a:lnTo>
                        <a:pt x="953" y="512"/>
                      </a:lnTo>
                      <a:lnTo>
                        <a:pt x="946" y="564"/>
                      </a:lnTo>
                      <a:lnTo>
                        <a:pt x="933" y="616"/>
                      </a:lnTo>
                      <a:lnTo>
                        <a:pt x="914" y="667"/>
                      </a:lnTo>
                      <a:lnTo>
                        <a:pt x="888" y="717"/>
                      </a:lnTo>
                      <a:lnTo>
                        <a:pt x="858" y="764"/>
                      </a:lnTo>
                      <a:lnTo>
                        <a:pt x="823" y="806"/>
                      </a:lnTo>
                      <a:lnTo>
                        <a:pt x="783" y="843"/>
                      </a:lnTo>
                      <a:lnTo>
                        <a:pt x="740" y="874"/>
                      </a:lnTo>
                      <a:lnTo>
                        <a:pt x="696" y="900"/>
                      </a:lnTo>
                      <a:lnTo>
                        <a:pt x="647" y="923"/>
                      </a:lnTo>
                      <a:lnTo>
                        <a:pt x="598" y="938"/>
                      </a:lnTo>
                      <a:lnTo>
                        <a:pt x="547" y="949"/>
                      </a:lnTo>
                      <a:lnTo>
                        <a:pt x="494" y="954"/>
                      </a:lnTo>
                      <a:lnTo>
                        <a:pt x="442" y="953"/>
                      </a:lnTo>
                      <a:lnTo>
                        <a:pt x="388" y="946"/>
                      </a:lnTo>
                      <a:lnTo>
                        <a:pt x="337" y="933"/>
                      </a:lnTo>
                      <a:lnTo>
                        <a:pt x="285" y="913"/>
                      </a:lnTo>
                      <a:lnTo>
                        <a:pt x="236" y="889"/>
                      </a:lnTo>
                      <a:lnTo>
                        <a:pt x="189" y="857"/>
                      </a:lnTo>
                      <a:lnTo>
                        <a:pt x="147" y="822"/>
                      </a:lnTo>
                      <a:lnTo>
                        <a:pt x="111" y="783"/>
                      </a:lnTo>
                      <a:lnTo>
                        <a:pt x="79" y="741"/>
                      </a:lnTo>
                      <a:lnTo>
                        <a:pt x="53" y="695"/>
                      </a:lnTo>
                      <a:lnTo>
                        <a:pt x="31" y="648"/>
                      </a:lnTo>
                      <a:lnTo>
                        <a:pt x="15" y="597"/>
                      </a:lnTo>
                      <a:lnTo>
                        <a:pt x="5" y="546"/>
                      </a:lnTo>
                      <a:lnTo>
                        <a:pt x="0" y="493"/>
                      </a:lnTo>
                      <a:lnTo>
                        <a:pt x="1" y="441"/>
                      </a:lnTo>
                      <a:lnTo>
                        <a:pt x="7" y="388"/>
                      </a:lnTo>
                      <a:lnTo>
                        <a:pt x="21" y="336"/>
                      </a:lnTo>
                      <a:lnTo>
                        <a:pt x="40" y="285"/>
                      </a:lnTo>
                      <a:lnTo>
                        <a:pt x="65" y="235"/>
                      </a:lnTo>
                      <a:lnTo>
                        <a:pt x="96" y="188"/>
                      </a:lnTo>
                      <a:lnTo>
                        <a:pt x="132" y="148"/>
                      </a:lnTo>
                      <a:lnTo>
                        <a:pt x="171" y="111"/>
                      </a:lnTo>
                      <a:lnTo>
                        <a:pt x="213" y="78"/>
                      </a:lnTo>
                      <a:lnTo>
                        <a:pt x="259" y="52"/>
                      </a:lnTo>
                      <a:lnTo>
                        <a:pt x="306" y="31"/>
                      </a:lnTo>
                      <a:lnTo>
                        <a:pt x="356" y="14"/>
                      </a:lnTo>
                      <a:lnTo>
                        <a:pt x="408" y="4"/>
                      </a:lnTo>
                      <a:lnTo>
                        <a:pt x="460" y="0"/>
                      </a:lnTo>
                      <a:close/>
                    </a:path>
                  </a:pathLst>
                </a:custGeom>
                <a:solidFill>
                  <a:schemeClr val="tx2">
                    <a:lumMod val="75000"/>
                  </a:schemeClr>
                </a:solid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grpSp>
              <p:nvGrpSpPr>
                <p:cNvPr id="39" name="Group 38">
                  <a:extLst>
                    <a:ext uri="{FF2B5EF4-FFF2-40B4-BE49-F238E27FC236}">
                      <a16:creationId xmlns:a16="http://schemas.microsoft.com/office/drawing/2014/main" id="{1BE63417-C02F-BDAE-05C6-46C6B01627CF}"/>
                    </a:ext>
                  </a:extLst>
                </p:cNvPr>
                <p:cNvGrpSpPr/>
                <p:nvPr/>
              </p:nvGrpSpPr>
              <p:grpSpPr>
                <a:xfrm>
                  <a:off x="2809815" y="3098432"/>
                  <a:ext cx="454584" cy="496213"/>
                  <a:chOff x="10285413" y="2884488"/>
                  <a:chExt cx="4767263" cy="5203825"/>
                </a:xfrm>
                <a:solidFill>
                  <a:schemeClr val="bg1"/>
                </a:solidFill>
              </p:grpSpPr>
              <p:sp>
                <p:nvSpPr>
                  <p:cNvPr id="40" name="Freeform 58">
                    <a:extLst>
                      <a:ext uri="{FF2B5EF4-FFF2-40B4-BE49-F238E27FC236}">
                        <a16:creationId xmlns:a16="http://schemas.microsoft.com/office/drawing/2014/main" id="{71FC338D-6650-F185-438C-DAFAB678FAB9}"/>
                      </a:ext>
                    </a:extLst>
                  </p:cNvPr>
                  <p:cNvSpPr>
                    <a:spLocks noEditPoints="1"/>
                  </p:cNvSpPr>
                  <p:nvPr/>
                </p:nvSpPr>
                <p:spPr bwMode="auto">
                  <a:xfrm>
                    <a:off x="10285413" y="2884488"/>
                    <a:ext cx="4767263" cy="5203825"/>
                  </a:xfrm>
                  <a:custGeom>
                    <a:avLst/>
                    <a:gdLst>
                      <a:gd name="T0" fmla="*/ 205 w 6006"/>
                      <a:gd name="T1" fmla="*/ 4918 h 6556"/>
                      <a:gd name="T2" fmla="*/ 205 w 6006"/>
                      <a:gd name="T3" fmla="*/ 5258 h 6556"/>
                      <a:gd name="T4" fmla="*/ 1775 w 6006"/>
                      <a:gd name="T5" fmla="*/ 5258 h 6556"/>
                      <a:gd name="T6" fmla="*/ 1775 w 6006"/>
                      <a:gd name="T7" fmla="*/ 4918 h 6556"/>
                      <a:gd name="T8" fmla="*/ 205 w 6006"/>
                      <a:gd name="T9" fmla="*/ 4918 h 6556"/>
                      <a:gd name="T10" fmla="*/ 1980 w 6006"/>
                      <a:gd name="T11" fmla="*/ 3688 h 6556"/>
                      <a:gd name="T12" fmla="*/ 1980 w 6006"/>
                      <a:gd name="T13" fmla="*/ 4029 h 6556"/>
                      <a:gd name="T14" fmla="*/ 3548 w 6006"/>
                      <a:gd name="T15" fmla="*/ 4029 h 6556"/>
                      <a:gd name="T16" fmla="*/ 3548 w 6006"/>
                      <a:gd name="T17" fmla="*/ 3688 h 6556"/>
                      <a:gd name="T18" fmla="*/ 1980 w 6006"/>
                      <a:gd name="T19" fmla="*/ 3688 h 6556"/>
                      <a:gd name="T20" fmla="*/ 3753 w 6006"/>
                      <a:gd name="T21" fmla="*/ 3006 h 6556"/>
                      <a:gd name="T22" fmla="*/ 3753 w 6006"/>
                      <a:gd name="T23" fmla="*/ 4951 h 6556"/>
                      <a:gd name="T24" fmla="*/ 3548 w 6006"/>
                      <a:gd name="T25" fmla="*/ 4951 h 6556"/>
                      <a:gd name="T26" fmla="*/ 3548 w 6006"/>
                      <a:gd name="T27" fmla="*/ 4234 h 6556"/>
                      <a:gd name="T28" fmla="*/ 1980 w 6006"/>
                      <a:gd name="T29" fmla="*/ 4234 h 6556"/>
                      <a:gd name="T30" fmla="*/ 1980 w 6006"/>
                      <a:gd name="T31" fmla="*/ 5908 h 6556"/>
                      <a:gd name="T32" fmla="*/ 1775 w 6006"/>
                      <a:gd name="T33" fmla="*/ 5908 h 6556"/>
                      <a:gd name="T34" fmla="*/ 1775 w 6006"/>
                      <a:gd name="T35" fmla="*/ 5464 h 6556"/>
                      <a:gd name="T36" fmla="*/ 205 w 6006"/>
                      <a:gd name="T37" fmla="*/ 5464 h 6556"/>
                      <a:gd name="T38" fmla="*/ 205 w 6006"/>
                      <a:gd name="T39" fmla="*/ 6351 h 6556"/>
                      <a:gd name="T40" fmla="*/ 5323 w 6006"/>
                      <a:gd name="T41" fmla="*/ 6351 h 6556"/>
                      <a:gd name="T42" fmla="*/ 5323 w 6006"/>
                      <a:gd name="T43" fmla="*/ 3006 h 6556"/>
                      <a:gd name="T44" fmla="*/ 3753 w 6006"/>
                      <a:gd name="T45" fmla="*/ 3006 h 6556"/>
                      <a:gd name="T46" fmla="*/ 3753 w 6006"/>
                      <a:gd name="T47" fmla="*/ 2460 h 6556"/>
                      <a:gd name="T48" fmla="*/ 3753 w 6006"/>
                      <a:gd name="T49" fmla="*/ 2801 h 6556"/>
                      <a:gd name="T50" fmla="*/ 5323 w 6006"/>
                      <a:gd name="T51" fmla="*/ 2801 h 6556"/>
                      <a:gd name="T52" fmla="*/ 5323 w 6006"/>
                      <a:gd name="T53" fmla="*/ 2460 h 6556"/>
                      <a:gd name="T54" fmla="*/ 3753 w 6006"/>
                      <a:gd name="T55" fmla="*/ 2460 h 6556"/>
                      <a:gd name="T56" fmla="*/ 4163 w 6006"/>
                      <a:gd name="T57" fmla="*/ 205 h 6556"/>
                      <a:gd name="T58" fmla="*/ 4163 w 6006"/>
                      <a:gd name="T59" fmla="*/ 1230 h 6556"/>
                      <a:gd name="T60" fmla="*/ 5801 w 6006"/>
                      <a:gd name="T61" fmla="*/ 1230 h 6556"/>
                      <a:gd name="T62" fmla="*/ 5801 w 6006"/>
                      <a:gd name="T63" fmla="*/ 205 h 6556"/>
                      <a:gd name="T64" fmla="*/ 4163 w 6006"/>
                      <a:gd name="T65" fmla="*/ 205 h 6556"/>
                      <a:gd name="T66" fmla="*/ 3958 w 6006"/>
                      <a:gd name="T67" fmla="*/ 0 h 6556"/>
                      <a:gd name="T68" fmla="*/ 6006 w 6006"/>
                      <a:gd name="T69" fmla="*/ 0 h 6556"/>
                      <a:gd name="T70" fmla="*/ 6006 w 6006"/>
                      <a:gd name="T71" fmla="*/ 1435 h 6556"/>
                      <a:gd name="T72" fmla="*/ 4163 w 6006"/>
                      <a:gd name="T73" fmla="*/ 1435 h 6556"/>
                      <a:gd name="T74" fmla="*/ 4163 w 6006"/>
                      <a:gd name="T75" fmla="*/ 2254 h 6556"/>
                      <a:gd name="T76" fmla="*/ 5528 w 6006"/>
                      <a:gd name="T77" fmla="*/ 2254 h 6556"/>
                      <a:gd name="T78" fmla="*/ 5528 w 6006"/>
                      <a:gd name="T79" fmla="*/ 6556 h 6556"/>
                      <a:gd name="T80" fmla="*/ 0 w 6006"/>
                      <a:gd name="T81" fmla="*/ 6556 h 6556"/>
                      <a:gd name="T82" fmla="*/ 0 w 6006"/>
                      <a:gd name="T83" fmla="*/ 4712 h 6556"/>
                      <a:gd name="T84" fmla="*/ 1775 w 6006"/>
                      <a:gd name="T85" fmla="*/ 4712 h 6556"/>
                      <a:gd name="T86" fmla="*/ 1775 w 6006"/>
                      <a:gd name="T87" fmla="*/ 3482 h 6556"/>
                      <a:gd name="T88" fmla="*/ 3548 w 6006"/>
                      <a:gd name="T89" fmla="*/ 3482 h 6556"/>
                      <a:gd name="T90" fmla="*/ 3548 w 6006"/>
                      <a:gd name="T91" fmla="*/ 2254 h 6556"/>
                      <a:gd name="T92" fmla="*/ 3958 w 6006"/>
                      <a:gd name="T93" fmla="*/ 2254 h 6556"/>
                      <a:gd name="T94" fmla="*/ 3958 w 6006"/>
                      <a:gd name="T95" fmla="*/ 0 h 6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006" h="6556">
                        <a:moveTo>
                          <a:pt x="205" y="4918"/>
                        </a:moveTo>
                        <a:lnTo>
                          <a:pt x="205" y="5258"/>
                        </a:lnTo>
                        <a:lnTo>
                          <a:pt x="1775" y="5258"/>
                        </a:lnTo>
                        <a:lnTo>
                          <a:pt x="1775" y="4918"/>
                        </a:lnTo>
                        <a:lnTo>
                          <a:pt x="205" y="4918"/>
                        </a:lnTo>
                        <a:close/>
                        <a:moveTo>
                          <a:pt x="1980" y="3688"/>
                        </a:moveTo>
                        <a:lnTo>
                          <a:pt x="1980" y="4029"/>
                        </a:lnTo>
                        <a:lnTo>
                          <a:pt x="3548" y="4029"/>
                        </a:lnTo>
                        <a:lnTo>
                          <a:pt x="3548" y="3688"/>
                        </a:lnTo>
                        <a:lnTo>
                          <a:pt x="1980" y="3688"/>
                        </a:lnTo>
                        <a:close/>
                        <a:moveTo>
                          <a:pt x="3753" y="3006"/>
                        </a:moveTo>
                        <a:lnTo>
                          <a:pt x="3753" y="4951"/>
                        </a:lnTo>
                        <a:lnTo>
                          <a:pt x="3548" y="4951"/>
                        </a:lnTo>
                        <a:lnTo>
                          <a:pt x="3548" y="4234"/>
                        </a:lnTo>
                        <a:lnTo>
                          <a:pt x="1980" y="4234"/>
                        </a:lnTo>
                        <a:lnTo>
                          <a:pt x="1980" y="5908"/>
                        </a:lnTo>
                        <a:lnTo>
                          <a:pt x="1775" y="5908"/>
                        </a:lnTo>
                        <a:lnTo>
                          <a:pt x="1775" y="5464"/>
                        </a:lnTo>
                        <a:lnTo>
                          <a:pt x="205" y="5464"/>
                        </a:lnTo>
                        <a:lnTo>
                          <a:pt x="205" y="6351"/>
                        </a:lnTo>
                        <a:lnTo>
                          <a:pt x="5323" y="6351"/>
                        </a:lnTo>
                        <a:lnTo>
                          <a:pt x="5323" y="3006"/>
                        </a:lnTo>
                        <a:lnTo>
                          <a:pt x="3753" y="3006"/>
                        </a:lnTo>
                        <a:close/>
                        <a:moveTo>
                          <a:pt x="3753" y="2460"/>
                        </a:moveTo>
                        <a:lnTo>
                          <a:pt x="3753" y="2801"/>
                        </a:lnTo>
                        <a:lnTo>
                          <a:pt x="5323" y="2801"/>
                        </a:lnTo>
                        <a:lnTo>
                          <a:pt x="5323" y="2460"/>
                        </a:lnTo>
                        <a:lnTo>
                          <a:pt x="3753" y="2460"/>
                        </a:lnTo>
                        <a:close/>
                        <a:moveTo>
                          <a:pt x="4163" y="205"/>
                        </a:moveTo>
                        <a:lnTo>
                          <a:pt x="4163" y="1230"/>
                        </a:lnTo>
                        <a:lnTo>
                          <a:pt x="5801" y="1230"/>
                        </a:lnTo>
                        <a:lnTo>
                          <a:pt x="5801" y="205"/>
                        </a:lnTo>
                        <a:lnTo>
                          <a:pt x="4163" y="205"/>
                        </a:lnTo>
                        <a:close/>
                        <a:moveTo>
                          <a:pt x="3958" y="0"/>
                        </a:moveTo>
                        <a:lnTo>
                          <a:pt x="6006" y="0"/>
                        </a:lnTo>
                        <a:lnTo>
                          <a:pt x="6006" y="1435"/>
                        </a:lnTo>
                        <a:lnTo>
                          <a:pt x="4163" y="1435"/>
                        </a:lnTo>
                        <a:lnTo>
                          <a:pt x="4163" y="2254"/>
                        </a:lnTo>
                        <a:lnTo>
                          <a:pt x="5528" y="2254"/>
                        </a:lnTo>
                        <a:lnTo>
                          <a:pt x="5528" y="6556"/>
                        </a:lnTo>
                        <a:lnTo>
                          <a:pt x="0" y="6556"/>
                        </a:lnTo>
                        <a:lnTo>
                          <a:pt x="0" y="4712"/>
                        </a:lnTo>
                        <a:lnTo>
                          <a:pt x="1775" y="4712"/>
                        </a:lnTo>
                        <a:lnTo>
                          <a:pt x="1775" y="3482"/>
                        </a:lnTo>
                        <a:lnTo>
                          <a:pt x="3548" y="3482"/>
                        </a:lnTo>
                        <a:lnTo>
                          <a:pt x="3548" y="2254"/>
                        </a:lnTo>
                        <a:lnTo>
                          <a:pt x="3958" y="2254"/>
                        </a:lnTo>
                        <a:lnTo>
                          <a:pt x="39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1" name="Rectangle 59">
                    <a:extLst>
                      <a:ext uri="{FF2B5EF4-FFF2-40B4-BE49-F238E27FC236}">
                        <a16:creationId xmlns:a16="http://schemas.microsoft.com/office/drawing/2014/main" id="{4E8BFD86-4C84-E07D-DD61-C3A645655C0F}"/>
                      </a:ext>
                    </a:extLst>
                  </p:cNvPr>
                  <p:cNvSpPr>
                    <a:spLocks noChangeArrowheads="1"/>
                  </p:cNvSpPr>
                  <p:nvPr/>
                </p:nvSpPr>
                <p:spPr bwMode="auto">
                  <a:xfrm>
                    <a:off x="14266863" y="3209926"/>
                    <a:ext cx="379413" cy="16351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2" name="Rectangle 60">
                    <a:extLst>
                      <a:ext uri="{FF2B5EF4-FFF2-40B4-BE49-F238E27FC236}">
                        <a16:creationId xmlns:a16="http://schemas.microsoft.com/office/drawing/2014/main" id="{83CD87D9-F89B-6F7D-2685-22D1E77EBC54}"/>
                      </a:ext>
                    </a:extLst>
                  </p:cNvPr>
                  <p:cNvSpPr>
                    <a:spLocks noChangeArrowheads="1"/>
                  </p:cNvSpPr>
                  <p:nvPr/>
                </p:nvSpPr>
                <p:spPr bwMode="auto">
                  <a:xfrm>
                    <a:off x="13833476" y="3535363"/>
                    <a:ext cx="812800" cy="16192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3" name="Freeform 61">
                    <a:extLst>
                      <a:ext uri="{FF2B5EF4-FFF2-40B4-BE49-F238E27FC236}">
                        <a16:creationId xmlns:a16="http://schemas.microsoft.com/office/drawing/2014/main" id="{63581AF9-FF7B-3043-6D6A-1B331090F9EB}"/>
                      </a:ext>
                    </a:extLst>
                  </p:cNvPr>
                  <p:cNvSpPr>
                    <a:spLocks/>
                  </p:cNvSpPr>
                  <p:nvPr/>
                </p:nvSpPr>
                <p:spPr bwMode="auto">
                  <a:xfrm>
                    <a:off x="10472738" y="3481388"/>
                    <a:ext cx="2305050" cy="2306638"/>
                  </a:xfrm>
                  <a:custGeom>
                    <a:avLst/>
                    <a:gdLst>
                      <a:gd name="T0" fmla="*/ 1982 w 2904"/>
                      <a:gd name="T1" fmla="*/ 0 h 2907"/>
                      <a:gd name="T2" fmla="*/ 2904 w 2904"/>
                      <a:gd name="T3" fmla="*/ 0 h 2907"/>
                      <a:gd name="T4" fmla="*/ 2904 w 2904"/>
                      <a:gd name="T5" fmla="*/ 786 h 2907"/>
                      <a:gd name="T6" fmla="*/ 2699 w 2904"/>
                      <a:gd name="T7" fmla="*/ 786 h 2907"/>
                      <a:gd name="T8" fmla="*/ 2699 w 2904"/>
                      <a:gd name="T9" fmla="*/ 349 h 2907"/>
                      <a:gd name="T10" fmla="*/ 145 w 2904"/>
                      <a:gd name="T11" fmla="*/ 2907 h 2907"/>
                      <a:gd name="T12" fmla="*/ 0 w 2904"/>
                      <a:gd name="T13" fmla="*/ 2761 h 2907"/>
                      <a:gd name="T14" fmla="*/ 2554 w 2904"/>
                      <a:gd name="T15" fmla="*/ 206 h 2907"/>
                      <a:gd name="T16" fmla="*/ 1982 w 2904"/>
                      <a:gd name="T17" fmla="*/ 206 h 2907"/>
                      <a:gd name="T18" fmla="*/ 1982 w 2904"/>
                      <a:gd name="T19" fmla="*/ 0 h 2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04" h="2907">
                        <a:moveTo>
                          <a:pt x="1982" y="0"/>
                        </a:moveTo>
                        <a:lnTo>
                          <a:pt x="2904" y="0"/>
                        </a:lnTo>
                        <a:lnTo>
                          <a:pt x="2904" y="786"/>
                        </a:lnTo>
                        <a:lnTo>
                          <a:pt x="2699" y="786"/>
                        </a:lnTo>
                        <a:lnTo>
                          <a:pt x="2699" y="349"/>
                        </a:lnTo>
                        <a:lnTo>
                          <a:pt x="145" y="2907"/>
                        </a:lnTo>
                        <a:lnTo>
                          <a:pt x="0" y="2761"/>
                        </a:lnTo>
                        <a:lnTo>
                          <a:pt x="2554" y="206"/>
                        </a:lnTo>
                        <a:lnTo>
                          <a:pt x="1982" y="206"/>
                        </a:lnTo>
                        <a:lnTo>
                          <a:pt x="19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4" name="Rectangle 62">
                    <a:extLst>
                      <a:ext uri="{FF2B5EF4-FFF2-40B4-BE49-F238E27FC236}">
                        <a16:creationId xmlns:a16="http://schemas.microsoft.com/office/drawing/2014/main" id="{B1BB4CA0-E2D8-0DA4-EEFB-EAE45D3F3CAF}"/>
                      </a:ext>
                    </a:extLst>
                  </p:cNvPr>
                  <p:cNvSpPr>
                    <a:spLocks noChangeArrowheads="1"/>
                  </p:cNvSpPr>
                  <p:nvPr/>
                </p:nvSpPr>
                <p:spPr bwMode="auto">
                  <a:xfrm>
                    <a:off x="10582276" y="7385051"/>
                    <a:ext cx="219075" cy="1603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5" name="Rectangle 63">
                    <a:extLst>
                      <a:ext uri="{FF2B5EF4-FFF2-40B4-BE49-F238E27FC236}">
                        <a16:creationId xmlns:a16="http://schemas.microsoft.com/office/drawing/2014/main" id="{9B2716D5-3592-0864-ECD8-9800A37A04F0}"/>
                      </a:ext>
                    </a:extLst>
                  </p:cNvPr>
                  <p:cNvSpPr>
                    <a:spLocks noChangeArrowheads="1"/>
                  </p:cNvSpPr>
                  <p:nvPr/>
                </p:nvSpPr>
                <p:spPr bwMode="auto">
                  <a:xfrm>
                    <a:off x="11341101" y="7385051"/>
                    <a:ext cx="217488" cy="1603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6" name="Rectangle 64">
                    <a:extLst>
                      <a:ext uri="{FF2B5EF4-FFF2-40B4-BE49-F238E27FC236}">
                        <a16:creationId xmlns:a16="http://schemas.microsoft.com/office/drawing/2014/main" id="{D24CEAFA-054A-5E0C-E140-AA33809381D0}"/>
                      </a:ext>
                    </a:extLst>
                  </p:cNvPr>
                  <p:cNvSpPr>
                    <a:spLocks noChangeArrowheads="1"/>
                  </p:cNvSpPr>
                  <p:nvPr/>
                </p:nvSpPr>
                <p:spPr bwMode="auto">
                  <a:xfrm>
                    <a:off x="11991976" y="6408738"/>
                    <a:ext cx="215900" cy="16192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7" name="Rectangle 65">
                    <a:extLst>
                      <a:ext uri="{FF2B5EF4-FFF2-40B4-BE49-F238E27FC236}">
                        <a16:creationId xmlns:a16="http://schemas.microsoft.com/office/drawing/2014/main" id="{3997741C-ECA0-349D-3299-A9DE16F8A0C4}"/>
                      </a:ext>
                    </a:extLst>
                  </p:cNvPr>
                  <p:cNvSpPr>
                    <a:spLocks noChangeArrowheads="1"/>
                  </p:cNvSpPr>
                  <p:nvPr/>
                </p:nvSpPr>
                <p:spPr bwMode="auto">
                  <a:xfrm>
                    <a:off x="12750801" y="6408738"/>
                    <a:ext cx="215900" cy="16192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8" name="Rectangle 66">
                    <a:extLst>
                      <a:ext uri="{FF2B5EF4-FFF2-40B4-BE49-F238E27FC236}">
                        <a16:creationId xmlns:a16="http://schemas.microsoft.com/office/drawing/2014/main" id="{023624FF-6286-64E7-B027-689C8D440EE7}"/>
                      </a:ext>
                    </a:extLst>
                  </p:cNvPr>
                  <p:cNvSpPr>
                    <a:spLocks noChangeArrowheads="1"/>
                  </p:cNvSpPr>
                  <p:nvPr/>
                </p:nvSpPr>
                <p:spPr bwMode="auto">
                  <a:xfrm>
                    <a:off x="13400088" y="5432426"/>
                    <a:ext cx="217488" cy="16192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9" name="Rectangle 67">
                    <a:extLst>
                      <a:ext uri="{FF2B5EF4-FFF2-40B4-BE49-F238E27FC236}">
                        <a16:creationId xmlns:a16="http://schemas.microsoft.com/office/drawing/2014/main" id="{B0972ECB-85E0-6BF9-F4BD-9DC011FD0BE6}"/>
                      </a:ext>
                    </a:extLst>
                  </p:cNvPr>
                  <p:cNvSpPr>
                    <a:spLocks noChangeArrowheads="1"/>
                  </p:cNvSpPr>
                  <p:nvPr/>
                </p:nvSpPr>
                <p:spPr bwMode="auto">
                  <a:xfrm>
                    <a:off x="14157326" y="5432426"/>
                    <a:ext cx="219075" cy="16192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grpSp>
          </p:grpSp>
          <p:sp>
            <p:nvSpPr>
              <p:cNvPr id="37" name="TextBox 36">
                <a:extLst>
                  <a:ext uri="{FF2B5EF4-FFF2-40B4-BE49-F238E27FC236}">
                    <a16:creationId xmlns:a16="http://schemas.microsoft.com/office/drawing/2014/main" id="{B4BFE5D8-F9FB-EDA5-5389-2DD2F09FC1C7}"/>
                  </a:ext>
                </a:extLst>
              </p:cNvPr>
              <p:cNvSpPr txBox="1"/>
              <p:nvPr/>
            </p:nvSpPr>
            <p:spPr>
              <a:xfrm>
                <a:off x="1628805" y="2770236"/>
                <a:ext cx="2636902" cy="600163"/>
              </a:xfrm>
              <a:custGeom>
                <a:avLst/>
                <a:gdLst>
                  <a:gd name="connsiteX0" fmla="*/ 0 w 2185605"/>
                  <a:gd name="connsiteY0" fmla="*/ 0 h 1035249"/>
                  <a:gd name="connsiteX1" fmla="*/ 2185605 w 2185605"/>
                  <a:gd name="connsiteY1" fmla="*/ 0 h 1035249"/>
                  <a:gd name="connsiteX2" fmla="*/ 2185605 w 2185605"/>
                  <a:gd name="connsiteY2" fmla="*/ 1035249 h 1035249"/>
                  <a:gd name="connsiteX3" fmla="*/ 0 w 2185605"/>
                  <a:gd name="connsiteY3" fmla="*/ 1035249 h 1035249"/>
                  <a:gd name="connsiteX4" fmla="*/ 0 w 2185605"/>
                  <a:gd name="connsiteY4" fmla="*/ 0 h 1035249"/>
                  <a:gd name="connsiteX0" fmla="*/ 0 w 2185605"/>
                  <a:gd name="connsiteY0" fmla="*/ 0 h 1035249"/>
                  <a:gd name="connsiteX1" fmla="*/ 2185605 w 2185605"/>
                  <a:gd name="connsiteY1" fmla="*/ 0 h 1035249"/>
                  <a:gd name="connsiteX2" fmla="*/ 1983474 w 2185605"/>
                  <a:gd name="connsiteY2" fmla="*/ 717615 h 1035249"/>
                  <a:gd name="connsiteX3" fmla="*/ 0 w 2185605"/>
                  <a:gd name="connsiteY3" fmla="*/ 1035249 h 1035249"/>
                  <a:gd name="connsiteX4" fmla="*/ 0 w 2185605"/>
                  <a:gd name="connsiteY4" fmla="*/ 0 h 1035249"/>
                  <a:gd name="connsiteX0" fmla="*/ 0 w 2185605"/>
                  <a:gd name="connsiteY0" fmla="*/ 0 h 717615"/>
                  <a:gd name="connsiteX1" fmla="*/ 2185605 w 2185605"/>
                  <a:gd name="connsiteY1" fmla="*/ 0 h 717615"/>
                  <a:gd name="connsiteX2" fmla="*/ 1983474 w 2185605"/>
                  <a:gd name="connsiteY2" fmla="*/ 717615 h 717615"/>
                  <a:gd name="connsiteX3" fmla="*/ 57751 w 2185605"/>
                  <a:gd name="connsiteY3" fmla="*/ 669489 h 717615"/>
                  <a:gd name="connsiteX4" fmla="*/ 0 w 2185605"/>
                  <a:gd name="connsiteY4" fmla="*/ 0 h 717615"/>
                  <a:gd name="connsiteX0" fmla="*/ 0 w 2185605"/>
                  <a:gd name="connsiteY0" fmla="*/ 0 h 669489"/>
                  <a:gd name="connsiteX1" fmla="*/ 2185605 w 2185605"/>
                  <a:gd name="connsiteY1" fmla="*/ 0 h 669489"/>
                  <a:gd name="connsiteX2" fmla="*/ 2070101 w 2185605"/>
                  <a:gd name="connsiteY2" fmla="*/ 592487 h 669489"/>
                  <a:gd name="connsiteX3" fmla="*/ 57751 w 2185605"/>
                  <a:gd name="connsiteY3" fmla="*/ 669489 h 669489"/>
                  <a:gd name="connsiteX4" fmla="*/ 0 w 2185605"/>
                  <a:gd name="connsiteY4" fmla="*/ 0 h 66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605" h="669489">
                    <a:moveTo>
                      <a:pt x="0" y="0"/>
                    </a:moveTo>
                    <a:lnTo>
                      <a:pt x="2185605" y="0"/>
                    </a:lnTo>
                    <a:lnTo>
                      <a:pt x="2070101" y="592487"/>
                    </a:lnTo>
                    <a:lnTo>
                      <a:pt x="57751" y="669489"/>
                    </a:lnTo>
                    <a:lnTo>
                      <a:pt x="0" y="0"/>
                    </a:lnTo>
                    <a:close/>
                  </a:path>
                </a:pathLst>
              </a:cu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PMO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amp;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Compliance Services</a:t>
                </a:r>
                <a:endParaRPr kumimoji="0" lang="en-IN"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endParaRPr>
              </a:p>
            </p:txBody>
          </p:sp>
        </p:grpSp>
        <p:grpSp>
          <p:nvGrpSpPr>
            <p:cNvPr id="25" name="Group 24">
              <a:extLst>
                <a:ext uri="{FF2B5EF4-FFF2-40B4-BE49-F238E27FC236}">
                  <a16:creationId xmlns:a16="http://schemas.microsoft.com/office/drawing/2014/main" id="{BC54A668-3B83-1215-020A-A154A9EFC9F0}"/>
                </a:ext>
              </a:extLst>
            </p:cNvPr>
            <p:cNvGrpSpPr/>
            <p:nvPr/>
          </p:nvGrpSpPr>
          <p:grpSpPr>
            <a:xfrm>
              <a:off x="4717683" y="5201265"/>
              <a:ext cx="1125725" cy="1099203"/>
              <a:chOff x="4064024" y="5652669"/>
              <a:chExt cx="1082461" cy="1083596"/>
            </a:xfrm>
          </p:grpSpPr>
          <p:sp>
            <p:nvSpPr>
              <p:cNvPr id="31" name="Freeform 17">
                <a:extLst>
                  <a:ext uri="{FF2B5EF4-FFF2-40B4-BE49-F238E27FC236}">
                    <a16:creationId xmlns:a16="http://schemas.microsoft.com/office/drawing/2014/main" id="{DF01EF0D-67E0-A501-4DD1-769E5A89E88B}"/>
                  </a:ext>
                </a:extLst>
              </p:cNvPr>
              <p:cNvSpPr>
                <a:spLocks/>
              </p:cNvSpPr>
              <p:nvPr/>
            </p:nvSpPr>
            <p:spPr bwMode="auto">
              <a:xfrm>
                <a:off x="4064024" y="5652669"/>
                <a:ext cx="1082461" cy="1083596"/>
              </a:xfrm>
              <a:custGeom>
                <a:avLst/>
                <a:gdLst>
                  <a:gd name="T0" fmla="*/ 482 w 953"/>
                  <a:gd name="T1" fmla="*/ 0 h 954"/>
                  <a:gd name="T2" fmla="*/ 543 w 953"/>
                  <a:gd name="T3" fmla="*/ 4 h 954"/>
                  <a:gd name="T4" fmla="*/ 600 w 953"/>
                  <a:gd name="T5" fmla="*/ 15 h 954"/>
                  <a:gd name="T6" fmla="*/ 654 w 953"/>
                  <a:gd name="T7" fmla="*/ 34 h 954"/>
                  <a:gd name="T8" fmla="*/ 706 w 953"/>
                  <a:gd name="T9" fmla="*/ 59 h 954"/>
                  <a:gd name="T10" fmla="*/ 753 w 953"/>
                  <a:gd name="T11" fmla="*/ 89 h 954"/>
                  <a:gd name="T12" fmla="*/ 798 w 953"/>
                  <a:gd name="T13" fmla="*/ 124 h 954"/>
                  <a:gd name="T14" fmla="*/ 837 w 953"/>
                  <a:gd name="T15" fmla="*/ 165 h 954"/>
                  <a:gd name="T16" fmla="*/ 871 w 953"/>
                  <a:gd name="T17" fmla="*/ 209 h 954"/>
                  <a:gd name="T18" fmla="*/ 900 w 953"/>
                  <a:gd name="T19" fmla="*/ 258 h 954"/>
                  <a:gd name="T20" fmla="*/ 923 w 953"/>
                  <a:gd name="T21" fmla="*/ 310 h 954"/>
                  <a:gd name="T22" fmla="*/ 940 w 953"/>
                  <a:gd name="T23" fmla="*/ 365 h 954"/>
                  <a:gd name="T24" fmla="*/ 951 w 953"/>
                  <a:gd name="T25" fmla="*/ 423 h 954"/>
                  <a:gd name="T26" fmla="*/ 953 w 953"/>
                  <a:gd name="T27" fmla="*/ 483 h 954"/>
                  <a:gd name="T28" fmla="*/ 950 w 953"/>
                  <a:gd name="T29" fmla="*/ 543 h 954"/>
                  <a:gd name="T30" fmla="*/ 938 w 953"/>
                  <a:gd name="T31" fmla="*/ 599 h 954"/>
                  <a:gd name="T32" fmla="*/ 919 w 953"/>
                  <a:gd name="T33" fmla="*/ 654 h 954"/>
                  <a:gd name="T34" fmla="*/ 895 w 953"/>
                  <a:gd name="T35" fmla="*/ 707 h 954"/>
                  <a:gd name="T36" fmla="*/ 864 w 953"/>
                  <a:gd name="T37" fmla="*/ 754 h 954"/>
                  <a:gd name="T38" fmla="*/ 829 w 953"/>
                  <a:gd name="T39" fmla="*/ 798 h 954"/>
                  <a:gd name="T40" fmla="*/ 789 w 953"/>
                  <a:gd name="T41" fmla="*/ 837 h 954"/>
                  <a:gd name="T42" fmla="*/ 744 w 953"/>
                  <a:gd name="T43" fmla="*/ 872 h 954"/>
                  <a:gd name="T44" fmla="*/ 696 w 953"/>
                  <a:gd name="T45" fmla="*/ 900 h 954"/>
                  <a:gd name="T46" fmla="*/ 643 w 953"/>
                  <a:gd name="T47" fmla="*/ 924 h 954"/>
                  <a:gd name="T48" fmla="*/ 588 w 953"/>
                  <a:gd name="T49" fmla="*/ 941 h 954"/>
                  <a:gd name="T50" fmla="*/ 531 w 953"/>
                  <a:gd name="T51" fmla="*/ 951 h 954"/>
                  <a:gd name="T52" fmla="*/ 471 w 953"/>
                  <a:gd name="T53" fmla="*/ 954 h 954"/>
                  <a:gd name="T54" fmla="*/ 410 w 953"/>
                  <a:gd name="T55" fmla="*/ 950 h 954"/>
                  <a:gd name="T56" fmla="*/ 353 w 953"/>
                  <a:gd name="T57" fmla="*/ 938 h 954"/>
                  <a:gd name="T58" fmla="*/ 298 w 953"/>
                  <a:gd name="T59" fmla="*/ 920 h 954"/>
                  <a:gd name="T60" fmla="*/ 247 w 953"/>
                  <a:gd name="T61" fmla="*/ 895 h 954"/>
                  <a:gd name="T62" fmla="*/ 199 w 953"/>
                  <a:gd name="T63" fmla="*/ 865 h 954"/>
                  <a:gd name="T64" fmla="*/ 155 w 953"/>
                  <a:gd name="T65" fmla="*/ 830 h 954"/>
                  <a:gd name="T66" fmla="*/ 116 w 953"/>
                  <a:gd name="T67" fmla="*/ 789 h 954"/>
                  <a:gd name="T68" fmla="*/ 82 w 953"/>
                  <a:gd name="T69" fmla="*/ 745 h 954"/>
                  <a:gd name="T70" fmla="*/ 52 w 953"/>
                  <a:gd name="T71" fmla="*/ 696 h 954"/>
                  <a:gd name="T72" fmla="*/ 30 w 953"/>
                  <a:gd name="T73" fmla="*/ 644 h 954"/>
                  <a:gd name="T74" fmla="*/ 13 w 953"/>
                  <a:gd name="T75" fmla="*/ 589 h 954"/>
                  <a:gd name="T76" fmla="*/ 2 w 953"/>
                  <a:gd name="T77" fmla="*/ 531 h 954"/>
                  <a:gd name="T78" fmla="*/ 0 w 953"/>
                  <a:gd name="T79" fmla="*/ 471 h 954"/>
                  <a:gd name="T80" fmla="*/ 4 w 953"/>
                  <a:gd name="T81" fmla="*/ 411 h 954"/>
                  <a:gd name="T82" fmla="*/ 15 w 953"/>
                  <a:gd name="T83" fmla="*/ 353 h 954"/>
                  <a:gd name="T84" fmla="*/ 34 w 953"/>
                  <a:gd name="T85" fmla="*/ 298 h 954"/>
                  <a:gd name="T86" fmla="*/ 59 w 953"/>
                  <a:gd name="T87" fmla="*/ 247 h 954"/>
                  <a:gd name="T88" fmla="*/ 89 w 953"/>
                  <a:gd name="T89" fmla="*/ 199 h 954"/>
                  <a:gd name="T90" fmla="*/ 124 w 953"/>
                  <a:gd name="T91" fmla="*/ 155 h 954"/>
                  <a:gd name="T92" fmla="*/ 165 w 953"/>
                  <a:gd name="T93" fmla="*/ 116 h 954"/>
                  <a:gd name="T94" fmla="*/ 209 w 953"/>
                  <a:gd name="T95" fmla="*/ 81 h 954"/>
                  <a:gd name="T96" fmla="*/ 257 w 953"/>
                  <a:gd name="T97" fmla="*/ 52 h 954"/>
                  <a:gd name="T98" fmla="*/ 310 w 953"/>
                  <a:gd name="T99" fmla="*/ 30 h 954"/>
                  <a:gd name="T100" fmla="*/ 365 w 953"/>
                  <a:gd name="T101" fmla="*/ 13 h 954"/>
                  <a:gd name="T102" fmla="*/ 422 w 953"/>
                  <a:gd name="T103" fmla="*/ 2 h 954"/>
                  <a:gd name="T104" fmla="*/ 482 w 953"/>
                  <a:gd name="T105" fmla="*/ 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3" h="954">
                    <a:moveTo>
                      <a:pt x="482" y="0"/>
                    </a:moveTo>
                    <a:lnTo>
                      <a:pt x="543" y="4"/>
                    </a:lnTo>
                    <a:lnTo>
                      <a:pt x="600" y="15"/>
                    </a:lnTo>
                    <a:lnTo>
                      <a:pt x="654" y="34"/>
                    </a:lnTo>
                    <a:lnTo>
                      <a:pt x="706" y="59"/>
                    </a:lnTo>
                    <a:lnTo>
                      <a:pt x="753" y="89"/>
                    </a:lnTo>
                    <a:lnTo>
                      <a:pt x="798" y="124"/>
                    </a:lnTo>
                    <a:lnTo>
                      <a:pt x="837" y="165"/>
                    </a:lnTo>
                    <a:lnTo>
                      <a:pt x="871" y="209"/>
                    </a:lnTo>
                    <a:lnTo>
                      <a:pt x="900" y="258"/>
                    </a:lnTo>
                    <a:lnTo>
                      <a:pt x="923" y="310"/>
                    </a:lnTo>
                    <a:lnTo>
                      <a:pt x="940" y="365"/>
                    </a:lnTo>
                    <a:lnTo>
                      <a:pt x="951" y="423"/>
                    </a:lnTo>
                    <a:lnTo>
                      <a:pt x="953" y="483"/>
                    </a:lnTo>
                    <a:lnTo>
                      <a:pt x="950" y="543"/>
                    </a:lnTo>
                    <a:lnTo>
                      <a:pt x="938" y="599"/>
                    </a:lnTo>
                    <a:lnTo>
                      <a:pt x="919" y="654"/>
                    </a:lnTo>
                    <a:lnTo>
                      <a:pt x="895" y="707"/>
                    </a:lnTo>
                    <a:lnTo>
                      <a:pt x="864" y="754"/>
                    </a:lnTo>
                    <a:lnTo>
                      <a:pt x="829" y="798"/>
                    </a:lnTo>
                    <a:lnTo>
                      <a:pt x="789" y="837"/>
                    </a:lnTo>
                    <a:lnTo>
                      <a:pt x="744" y="872"/>
                    </a:lnTo>
                    <a:lnTo>
                      <a:pt x="696" y="900"/>
                    </a:lnTo>
                    <a:lnTo>
                      <a:pt x="643" y="924"/>
                    </a:lnTo>
                    <a:lnTo>
                      <a:pt x="588" y="941"/>
                    </a:lnTo>
                    <a:lnTo>
                      <a:pt x="531" y="951"/>
                    </a:lnTo>
                    <a:lnTo>
                      <a:pt x="471" y="954"/>
                    </a:lnTo>
                    <a:lnTo>
                      <a:pt x="410" y="950"/>
                    </a:lnTo>
                    <a:lnTo>
                      <a:pt x="353" y="938"/>
                    </a:lnTo>
                    <a:lnTo>
                      <a:pt x="298" y="920"/>
                    </a:lnTo>
                    <a:lnTo>
                      <a:pt x="247" y="895"/>
                    </a:lnTo>
                    <a:lnTo>
                      <a:pt x="199" y="865"/>
                    </a:lnTo>
                    <a:lnTo>
                      <a:pt x="155" y="830"/>
                    </a:lnTo>
                    <a:lnTo>
                      <a:pt x="116" y="789"/>
                    </a:lnTo>
                    <a:lnTo>
                      <a:pt x="82" y="745"/>
                    </a:lnTo>
                    <a:lnTo>
                      <a:pt x="52" y="696"/>
                    </a:lnTo>
                    <a:lnTo>
                      <a:pt x="30" y="644"/>
                    </a:lnTo>
                    <a:lnTo>
                      <a:pt x="13" y="589"/>
                    </a:lnTo>
                    <a:lnTo>
                      <a:pt x="2" y="531"/>
                    </a:lnTo>
                    <a:lnTo>
                      <a:pt x="0" y="471"/>
                    </a:lnTo>
                    <a:lnTo>
                      <a:pt x="4" y="411"/>
                    </a:lnTo>
                    <a:lnTo>
                      <a:pt x="15" y="353"/>
                    </a:lnTo>
                    <a:lnTo>
                      <a:pt x="34" y="298"/>
                    </a:lnTo>
                    <a:lnTo>
                      <a:pt x="59" y="247"/>
                    </a:lnTo>
                    <a:lnTo>
                      <a:pt x="89" y="199"/>
                    </a:lnTo>
                    <a:lnTo>
                      <a:pt x="124" y="155"/>
                    </a:lnTo>
                    <a:lnTo>
                      <a:pt x="165" y="116"/>
                    </a:lnTo>
                    <a:lnTo>
                      <a:pt x="209" y="81"/>
                    </a:lnTo>
                    <a:lnTo>
                      <a:pt x="257" y="52"/>
                    </a:lnTo>
                    <a:lnTo>
                      <a:pt x="310" y="30"/>
                    </a:lnTo>
                    <a:lnTo>
                      <a:pt x="365" y="13"/>
                    </a:lnTo>
                    <a:lnTo>
                      <a:pt x="422" y="2"/>
                    </a:lnTo>
                    <a:lnTo>
                      <a:pt x="482" y="0"/>
                    </a:lnTo>
                    <a:close/>
                  </a:path>
                </a:pathLst>
              </a:custGeom>
              <a:solidFill>
                <a:schemeClr val="tx2">
                  <a:lumMod val="75000"/>
                </a:schemeClr>
              </a:solid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grpSp>
            <p:nvGrpSpPr>
              <p:cNvPr id="32" name="Group 31">
                <a:extLst>
                  <a:ext uri="{FF2B5EF4-FFF2-40B4-BE49-F238E27FC236}">
                    <a16:creationId xmlns:a16="http://schemas.microsoft.com/office/drawing/2014/main" id="{A880AF4A-2612-44FF-8344-6FEF2236F794}"/>
                  </a:ext>
                </a:extLst>
              </p:cNvPr>
              <p:cNvGrpSpPr/>
              <p:nvPr/>
            </p:nvGrpSpPr>
            <p:grpSpPr>
              <a:xfrm>
                <a:off x="4336129" y="5939486"/>
                <a:ext cx="529715" cy="526678"/>
                <a:chOff x="-1419225" y="1751013"/>
                <a:chExt cx="3598863" cy="3578225"/>
              </a:xfrm>
              <a:solidFill>
                <a:schemeClr val="bg1"/>
              </a:solidFill>
            </p:grpSpPr>
            <p:sp>
              <p:nvSpPr>
                <p:cNvPr id="33" name="Freeform 72">
                  <a:extLst>
                    <a:ext uri="{FF2B5EF4-FFF2-40B4-BE49-F238E27FC236}">
                      <a16:creationId xmlns:a16="http://schemas.microsoft.com/office/drawing/2014/main" id="{39F62F82-CD2D-5A10-90D0-4DB92889C715}"/>
                    </a:ext>
                  </a:extLst>
                </p:cNvPr>
                <p:cNvSpPr>
                  <a:spLocks noEditPoints="1"/>
                </p:cNvSpPr>
                <p:nvPr/>
              </p:nvSpPr>
              <p:spPr bwMode="auto">
                <a:xfrm>
                  <a:off x="-554038" y="2611438"/>
                  <a:ext cx="1866900" cy="1855788"/>
                </a:xfrm>
                <a:custGeom>
                  <a:avLst/>
                  <a:gdLst>
                    <a:gd name="T0" fmla="*/ 995 w 2351"/>
                    <a:gd name="T1" fmla="*/ 184 h 2338"/>
                    <a:gd name="T2" fmla="*/ 744 w 2351"/>
                    <a:gd name="T3" fmla="*/ 265 h 2338"/>
                    <a:gd name="T4" fmla="*/ 527 w 2351"/>
                    <a:gd name="T5" fmla="*/ 403 h 2338"/>
                    <a:gd name="T6" fmla="*/ 354 w 2351"/>
                    <a:gd name="T7" fmla="*/ 592 h 2338"/>
                    <a:gd name="T8" fmla="*/ 232 w 2351"/>
                    <a:gd name="T9" fmla="*/ 820 h 2338"/>
                    <a:gd name="T10" fmla="*/ 173 w 2351"/>
                    <a:gd name="T11" fmla="*/ 1079 h 2338"/>
                    <a:gd name="T12" fmla="*/ 185 w 2351"/>
                    <a:gd name="T13" fmla="*/ 1349 h 2338"/>
                    <a:gd name="T14" fmla="*/ 266 w 2351"/>
                    <a:gd name="T15" fmla="*/ 1598 h 2338"/>
                    <a:gd name="T16" fmla="*/ 405 w 2351"/>
                    <a:gd name="T17" fmla="*/ 1815 h 2338"/>
                    <a:gd name="T18" fmla="*/ 596 w 2351"/>
                    <a:gd name="T19" fmla="*/ 1988 h 2338"/>
                    <a:gd name="T20" fmla="*/ 825 w 2351"/>
                    <a:gd name="T21" fmla="*/ 2109 h 2338"/>
                    <a:gd name="T22" fmla="*/ 1085 w 2351"/>
                    <a:gd name="T23" fmla="*/ 2168 h 2338"/>
                    <a:gd name="T24" fmla="*/ 1357 w 2351"/>
                    <a:gd name="T25" fmla="*/ 2155 h 2338"/>
                    <a:gd name="T26" fmla="*/ 1607 w 2351"/>
                    <a:gd name="T27" fmla="*/ 2075 h 2338"/>
                    <a:gd name="T28" fmla="*/ 1825 w 2351"/>
                    <a:gd name="T29" fmla="*/ 1936 h 2338"/>
                    <a:gd name="T30" fmla="*/ 1999 w 2351"/>
                    <a:gd name="T31" fmla="*/ 1746 h 2338"/>
                    <a:gd name="T32" fmla="*/ 2121 w 2351"/>
                    <a:gd name="T33" fmla="*/ 1519 h 2338"/>
                    <a:gd name="T34" fmla="*/ 2180 w 2351"/>
                    <a:gd name="T35" fmla="*/ 1261 h 2338"/>
                    <a:gd name="T36" fmla="*/ 2167 w 2351"/>
                    <a:gd name="T37" fmla="*/ 989 h 2338"/>
                    <a:gd name="T38" fmla="*/ 2087 w 2351"/>
                    <a:gd name="T39" fmla="*/ 740 h 2338"/>
                    <a:gd name="T40" fmla="*/ 1946 w 2351"/>
                    <a:gd name="T41" fmla="*/ 524 h 2338"/>
                    <a:gd name="T42" fmla="*/ 1756 w 2351"/>
                    <a:gd name="T43" fmla="*/ 352 h 2338"/>
                    <a:gd name="T44" fmla="*/ 1527 w 2351"/>
                    <a:gd name="T45" fmla="*/ 231 h 2338"/>
                    <a:gd name="T46" fmla="*/ 1268 w 2351"/>
                    <a:gd name="T47" fmla="*/ 172 h 2338"/>
                    <a:gd name="T48" fmla="*/ 1278 w 2351"/>
                    <a:gd name="T49" fmla="*/ 5 h 2338"/>
                    <a:gd name="T50" fmla="*/ 1566 w 2351"/>
                    <a:gd name="T51" fmla="*/ 67 h 2338"/>
                    <a:gd name="T52" fmla="*/ 1823 w 2351"/>
                    <a:gd name="T53" fmla="*/ 194 h 2338"/>
                    <a:gd name="T54" fmla="*/ 2039 w 2351"/>
                    <a:gd name="T55" fmla="*/ 377 h 2338"/>
                    <a:gd name="T56" fmla="*/ 2207 w 2351"/>
                    <a:gd name="T57" fmla="*/ 608 h 2338"/>
                    <a:gd name="T58" fmla="*/ 2314 w 2351"/>
                    <a:gd name="T59" fmla="*/ 875 h 2338"/>
                    <a:gd name="T60" fmla="*/ 2351 w 2351"/>
                    <a:gd name="T61" fmla="*/ 1170 h 2338"/>
                    <a:gd name="T62" fmla="*/ 2314 w 2351"/>
                    <a:gd name="T63" fmla="*/ 1465 h 2338"/>
                    <a:gd name="T64" fmla="*/ 2207 w 2351"/>
                    <a:gd name="T65" fmla="*/ 1732 h 2338"/>
                    <a:gd name="T66" fmla="*/ 2039 w 2351"/>
                    <a:gd name="T67" fmla="*/ 1961 h 2338"/>
                    <a:gd name="T68" fmla="*/ 1823 w 2351"/>
                    <a:gd name="T69" fmla="*/ 2145 h 2338"/>
                    <a:gd name="T70" fmla="*/ 1566 w 2351"/>
                    <a:gd name="T71" fmla="*/ 2273 h 2338"/>
                    <a:gd name="T72" fmla="*/ 1278 w 2351"/>
                    <a:gd name="T73" fmla="*/ 2334 h 2338"/>
                    <a:gd name="T74" fmla="*/ 976 w 2351"/>
                    <a:gd name="T75" fmla="*/ 2321 h 2338"/>
                    <a:gd name="T76" fmla="*/ 697 w 2351"/>
                    <a:gd name="T77" fmla="*/ 2237 h 2338"/>
                    <a:gd name="T78" fmla="*/ 452 w 2351"/>
                    <a:gd name="T79" fmla="*/ 2089 h 2338"/>
                    <a:gd name="T80" fmla="*/ 251 w 2351"/>
                    <a:gd name="T81" fmla="*/ 1890 h 2338"/>
                    <a:gd name="T82" fmla="*/ 103 w 2351"/>
                    <a:gd name="T83" fmla="*/ 1647 h 2338"/>
                    <a:gd name="T84" fmla="*/ 17 w 2351"/>
                    <a:gd name="T85" fmla="*/ 1369 h 2338"/>
                    <a:gd name="T86" fmla="*/ 5 w 2351"/>
                    <a:gd name="T87" fmla="*/ 1069 h 2338"/>
                    <a:gd name="T88" fmla="*/ 68 w 2351"/>
                    <a:gd name="T89" fmla="*/ 783 h 2338"/>
                    <a:gd name="T90" fmla="*/ 195 w 2351"/>
                    <a:gd name="T91" fmla="*/ 527 h 2338"/>
                    <a:gd name="T92" fmla="*/ 380 w 2351"/>
                    <a:gd name="T93" fmla="*/ 311 h 2338"/>
                    <a:gd name="T94" fmla="*/ 611 w 2351"/>
                    <a:gd name="T95" fmla="*/ 145 h 2338"/>
                    <a:gd name="T96" fmla="*/ 880 w 2351"/>
                    <a:gd name="T97" fmla="*/ 39 h 2338"/>
                    <a:gd name="T98" fmla="*/ 1177 w 2351"/>
                    <a:gd name="T99" fmla="*/ 0 h 2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51" h="2338">
                      <a:moveTo>
                        <a:pt x="1177" y="168"/>
                      </a:moveTo>
                      <a:lnTo>
                        <a:pt x="1085" y="172"/>
                      </a:lnTo>
                      <a:lnTo>
                        <a:pt x="995" y="184"/>
                      </a:lnTo>
                      <a:lnTo>
                        <a:pt x="909" y="204"/>
                      </a:lnTo>
                      <a:lnTo>
                        <a:pt x="825" y="231"/>
                      </a:lnTo>
                      <a:lnTo>
                        <a:pt x="744" y="265"/>
                      </a:lnTo>
                      <a:lnTo>
                        <a:pt x="669" y="305"/>
                      </a:lnTo>
                      <a:lnTo>
                        <a:pt x="596" y="352"/>
                      </a:lnTo>
                      <a:lnTo>
                        <a:pt x="527" y="403"/>
                      </a:lnTo>
                      <a:lnTo>
                        <a:pt x="464" y="461"/>
                      </a:lnTo>
                      <a:lnTo>
                        <a:pt x="405" y="524"/>
                      </a:lnTo>
                      <a:lnTo>
                        <a:pt x="354" y="592"/>
                      </a:lnTo>
                      <a:lnTo>
                        <a:pt x="307" y="665"/>
                      </a:lnTo>
                      <a:lnTo>
                        <a:pt x="266" y="740"/>
                      </a:lnTo>
                      <a:lnTo>
                        <a:pt x="232" y="820"/>
                      </a:lnTo>
                      <a:lnTo>
                        <a:pt x="205" y="904"/>
                      </a:lnTo>
                      <a:lnTo>
                        <a:pt x="185" y="989"/>
                      </a:lnTo>
                      <a:lnTo>
                        <a:pt x="173" y="1079"/>
                      </a:lnTo>
                      <a:lnTo>
                        <a:pt x="169" y="1170"/>
                      </a:lnTo>
                      <a:lnTo>
                        <a:pt x="173" y="1261"/>
                      </a:lnTo>
                      <a:lnTo>
                        <a:pt x="185" y="1349"/>
                      </a:lnTo>
                      <a:lnTo>
                        <a:pt x="205" y="1436"/>
                      </a:lnTo>
                      <a:lnTo>
                        <a:pt x="232" y="1519"/>
                      </a:lnTo>
                      <a:lnTo>
                        <a:pt x="266" y="1598"/>
                      </a:lnTo>
                      <a:lnTo>
                        <a:pt x="307" y="1675"/>
                      </a:lnTo>
                      <a:lnTo>
                        <a:pt x="354" y="1746"/>
                      </a:lnTo>
                      <a:lnTo>
                        <a:pt x="405" y="1815"/>
                      </a:lnTo>
                      <a:lnTo>
                        <a:pt x="464" y="1877"/>
                      </a:lnTo>
                      <a:lnTo>
                        <a:pt x="527" y="1936"/>
                      </a:lnTo>
                      <a:lnTo>
                        <a:pt x="596" y="1988"/>
                      </a:lnTo>
                      <a:lnTo>
                        <a:pt x="669" y="2034"/>
                      </a:lnTo>
                      <a:lnTo>
                        <a:pt x="744" y="2075"/>
                      </a:lnTo>
                      <a:lnTo>
                        <a:pt x="825" y="2109"/>
                      </a:lnTo>
                      <a:lnTo>
                        <a:pt x="909" y="2135"/>
                      </a:lnTo>
                      <a:lnTo>
                        <a:pt x="995" y="2155"/>
                      </a:lnTo>
                      <a:lnTo>
                        <a:pt x="1085" y="2168"/>
                      </a:lnTo>
                      <a:lnTo>
                        <a:pt x="1177" y="2172"/>
                      </a:lnTo>
                      <a:lnTo>
                        <a:pt x="1268" y="2168"/>
                      </a:lnTo>
                      <a:lnTo>
                        <a:pt x="1357" y="2155"/>
                      </a:lnTo>
                      <a:lnTo>
                        <a:pt x="1444" y="2135"/>
                      </a:lnTo>
                      <a:lnTo>
                        <a:pt x="1527" y="2109"/>
                      </a:lnTo>
                      <a:lnTo>
                        <a:pt x="1607" y="2075"/>
                      </a:lnTo>
                      <a:lnTo>
                        <a:pt x="1684" y="2034"/>
                      </a:lnTo>
                      <a:lnTo>
                        <a:pt x="1756" y="1988"/>
                      </a:lnTo>
                      <a:lnTo>
                        <a:pt x="1825" y="1936"/>
                      </a:lnTo>
                      <a:lnTo>
                        <a:pt x="1888" y="1877"/>
                      </a:lnTo>
                      <a:lnTo>
                        <a:pt x="1946" y="1815"/>
                      </a:lnTo>
                      <a:lnTo>
                        <a:pt x="1999" y="1746"/>
                      </a:lnTo>
                      <a:lnTo>
                        <a:pt x="2045" y="1675"/>
                      </a:lnTo>
                      <a:lnTo>
                        <a:pt x="2087" y="1598"/>
                      </a:lnTo>
                      <a:lnTo>
                        <a:pt x="2121" y="1519"/>
                      </a:lnTo>
                      <a:lnTo>
                        <a:pt x="2147" y="1436"/>
                      </a:lnTo>
                      <a:lnTo>
                        <a:pt x="2167" y="1349"/>
                      </a:lnTo>
                      <a:lnTo>
                        <a:pt x="2180" y="1261"/>
                      </a:lnTo>
                      <a:lnTo>
                        <a:pt x="2184" y="1170"/>
                      </a:lnTo>
                      <a:lnTo>
                        <a:pt x="2180" y="1079"/>
                      </a:lnTo>
                      <a:lnTo>
                        <a:pt x="2167" y="989"/>
                      </a:lnTo>
                      <a:lnTo>
                        <a:pt x="2147" y="904"/>
                      </a:lnTo>
                      <a:lnTo>
                        <a:pt x="2121" y="820"/>
                      </a:lnTo>
                      <a:lnTo>
                        <a:pt x="2087" y="740"/>
                      </a:lnTo>
                      <a:lnTo>
                        <a:pt x="2045" y="665"/>
                      </a:lnTo>
                      <a:lnTo>
                        <a:pt x="1999" y="592"/>
                      </a:lnTo>
                      <a:lnTo>
                        <a:pt x="1946" y="524"/>
                      </a:lnTo>
                      <a:lnTo>
                        <a:pt x="1888" y="461"/>
                      </a:lnTo>
                      <a:lnTo>
                        <a:pt x="1825" y="403"/>
                      </a:lnTo>
                      <a:lnTo>
                        <a:pt x="1756" y="352"/>
                      </a:lnTo>
                      <a:lnTo>
                        <a:pt x="1684" y="305"/>
                      </a:lnTo>
                      <a:lnTo>
                        <a:pt x="1607" y="265"/>
                      </a:lnTo>
                      <a:lnTo>
                        <a:pt x="1527" y="231"/>
                      </a:lnTo>
                      <a:lnTo>
                        <a:pt x="1444" y="204"/>
                      </a:lnTo>
                      <a:lnTo>
                        <a:pt x="1357" y="184"/>
                      </a:lnTo>
                      <a:lnTo>
                        <a:pt x="1268" y="172"/>
                      </a:lnTo>
                      <a:lnTo>
                        <a:pt x="1177" y="168"/>
                      </a:lnTo>
                      <a:close/>
                      <a:moveTo>
                        <a:pt x="1177" y="0"/>
                      </a:moveTo>
                      <a:lnTo>
                        <a:pt x="1278" y="5"/>
                      </a:lnTo>
                      <a:lnTo>
                        <a:pt x="1377" y="17"/>
                      </a:lnTo>
                      <a:lnTo>
                        <a:pt x="1473" y="39"/>
                      </a:lnTo>
                      <a:lnTo>
                        <a:pt x="1566" y="67"/>
                      </a:lnTo>
                      <a:lnTo>
                        <a:pt x="1656" y="103"/>
                      </a:lnTo>
                      <a:lnTo>
                        <a:pt x="1742" y="145"/>
                      </a:lnTo>
                      <a:lnTo>
                        <a:pt x="1823" y="194"/>
                      </a:lnTo>
                      <a:lnTo>
                        <a:pt x="1901" y="249"/>
                      </a:lnTo>
                      <a:lnTo>
                        <a:pt x="1972" y="311"/>
                      </a:lnTo>
                      <a:lnTo>
                        <a:pt x="2039" y="377"/>
                      </a:lnTo>
                      <a:lnTo>
                        <a:pt x="2101" y="450"/>
                      </a:lnTo>
                      <a:lnTo>
                        <a:pt x="2157" y="527"/>
                      </a:lnTo>
                      <a:lnTo>
                        <a:pt x="2207" y="608"/>
                      </a:lnTo>
                      <a:lnTo>
                        <a:pt x="2250" y="693"/>
                      </a:lnTo>
                      <a:lnTo>
                        <a:pt x="2285" y="783"/>
                      </a:lnTo>
                      <a:lnTo>
                        <a:pt x="2314" y="875"/>
                      </a:lnTo>
                      <a:lnTo>
                        <a:pt x="2334" y="971"/>
                      </a:lnTo>
                      <a:lnTo>
                        <a:pt x="2347" y="1069"/>
                      </a:lnTo>
                      <a:lnTo>
                        <a:pt x="2351" y="1170"/>
                      </a:lnTo>
                      <a:lnTo>
                        <a:pt x="2347" y="1271"/>
                      </a:lnTo>
                      <a:lnTo>
                        <a:pt x="2334" y="1369"/>
                      </a:lnTo>
                      <a:lnTo>
                        <a:pt x="2314" y="1465"/>
                      </a:lnTo>
                      <a:lnTo>
                        <a:pt x="2285" y="1557"/>
                      </a:lnTo>
                      <a:lnTo>
                        <a:pt x="2250" y="1647"/>
                      </a:lnTo>
                      <a:lnTo>
                        <a:pt x="2207" y="1732"/>
                      </a:lnTo>
                      <a:lnTo>
                        <a:pt x="2157" y="1813"/>
                      </a:lnTo>
                      <a:lnTo>
                        <a:pt x="2101" y="1890"/>
                      </a:lnTo>
                      <a:lnTo>
                        <a:pt x="2039" y="1961"/>
                      </a:lnTo>
                      <a:lnTo>
                        <a:pt x="1972" y="2028"/>
                      </a:lnTo>
                      <a:lnTo>
                        <a:pt x="1901" y="2089"/>
                      </a:lnTo>
                      <a:lnTo>
                        <a:pt x="1823" y="2145"/>
                      </a:lnTo>
                      <a:lnTo>
                        <a:pt x="1742" y="2195"/>
                      </a:lnTo>
                      <a:lnTo>
                        <a:pt x="1656" y="2237"/>
                      </a:lnTo>
                      <a:lnTo>
                        <a:pt x="1566" y="2273"/>
                      </a:lnTo>
                      <a:lnTo>
                        <a:pt x="1473" y="2301"/>
                      </a:lnTo>
                      <a:lnTo>
                        <a:pt x="1377" y="2321"/>
                      </a:lnTo>
                      <a:lnTo>
                        <a:pt x="1278" y="2334"/>
                      </a:lnTo>
                      <a:lnTo>
                        <a:pt x="1177" y="2338"/>
                      </a:lnTo>
                      <a:lnTo>
                        <a:pt x="1075" y="2334"/>
                      </a:lnTo>
                      <a:lnTo>
                        <a:pt x="976" y="2321"/>
                      </a:lnTo>
                      <a:lnTo>
                        <a:pt x="880" y="2301"/>
                      </a:lnTo>
                      <a:lnTo>
                        <a:pt x="787" y="2273"/>
                      </a:lnTo>
                      <a:lnTo>
                        <a:pt x="697" y="2237"/>
                      </a:lnTo>
                      <a:lnTo>
                        <a:pt x="611" y="2195"/>
                      </a:lnTo>
                      <a:lnTo>
                        <a:pt x="530" y="2145"/>
                      </a:lnTo>
                      <a:lnTo>
                        <a:pt x="452" y="2089"/>
                      </a:lnTo>
                      <a:lnTo>
                        <a:pt x="380" y="2028"/>
                      </a:lnTo>
                      <a:lnTo>
                        <a:pt x="312" y="1961"/>
                      </a:lnTo>
                      <a:lnTo>
                        <a:pt x="251" y="1890"/>
                      </a:lnTo>
                      <a:lnTo>
                        <a:pt x="195" y="1813"/>
                      </a:lnTo>
                      <a:lnTo>
                        <a:pt x="146" y="1732"/>
                      </a:lnTo>
                      <a:lnTo>
                        <a:pt x="103" y="1647"/>
                      </a:lnTo>
                      <a:lnTo>
                        <a:pt x="68" y="1557"/>
                      </a:lnTo>
                      <a:lnTo>
                        <a:pt x="39" y="1465"/>
                      </a:lnTo>
                      <a:lnTo>
                        <a:pt x="17" y="1369"/>
                      </a:lnTo>
                      <a:lnTo>
                        <a:pt x="5" y="1271"/>
                      </a:lnTo>
                      <a:lnTo>
                        <a:pt x="0" y="1170"/>
                      </a:lnTo>
                      <a:lnTo>
                        <a:pt x="5" y="1069"/>
                      </a:lnTo>
                      <a:lnTo>
                        <a:pt x="17" y="971"/>
                      </a:lnTo>
                      <a:lnTo>
                        <a:pt x="39" y="875"/>
                      </a:lnTo>
                      <a:lnTo>
                        <a:pt x="68" y="783"/>
                      </a:lnTo>
                      <a:lnTo>
                        <a:pt x="103" y="693"/>
                      </a:lnTo>
                      <a:lnTo>
                        <a:pt x="146" y="608"/>
                      </a:lnTo>
                      <a:lnTo>
                        <a:pt x="195" y="527"/>
                      </a:lnTo>
                      <a:lnTo>
                        <a:pt x="251" y="450"/>
                      </a:lnTo>
                      <a:lnTo>
                        <a:pt x="312" y="377"/>
                      </a:lnTo>
                      <a:lnTo>
                        <a:pt x="380" y="311"/>
                      </a:lnTo>
                      <a:lnTo>
                        <a:pt x="452" y="249"/>
                      </a:lnTo>
                      <a:lnTo>
                        <a:pt x="530" y="194"/>
                      </a:lnTo>
                      <a:lnTo>
                        <a:pt x="611" y="145"/>
                      </a:lnTo>
                      <a:lnTo>
                        <a:pt x="697" y="103"/>
                      </a:lnTo>
                      <a:lnTo>
                        <a:pt x="787" y="67"/>
                      </a:lnTo>
                      <a:lnTo>
                        <a:pt x="880" y="39"/>
                      </a:lnTo>
                      <a:lnTo>
                        <a:pt x="976" y="17"/>
                      </a:lnTo>
                      <a:lnTo>
                        <a:pt x="1075" y="5"/>
                      </a:lnTo>
                      <a:lnTo>
                        <a:pt x="1177"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34" name="Freeform 73">
                  <a:extLst>
                    <a:ext uri="{FF2B5EF4-FFF2-40B4-BE49-F238E27FC236}">
                      <a16:creationId xmlns:a16="http://schemas.microsoft.com/office/drawing/2014/main" id="{5538269C-064F-0C92-08CD-506D5F1196E7}"/>
                    </a:ext>
                  </a:extLst>
                </p:cNvPr>
                <p:cNvSpPr>
                  <a:spLocks noEditPoints="1"/>
                </p:cNvSpPr>
                <p:nvPr/>
              </p:nvSpPr>
              <p:spPr bwMode="auto">
                <a:xfrm>
                  <a:off x="-1419225" y="1751013"/>
                  <a:ext cx="3598863" cy="3578225"/>
                </a:xfrm>
                <a:custGeom>
                  <a:avLst/>
                  <a:gdLst>
                    <a:gd name="T0" fmla="*/ 1930 w 4533"/>
                    <a:gd name="T1" fmla="*/ 232 h 4508"/>
                    <a:gd name="T2" fmla="*/ 1435 w 4533"/>
                    <a:gd name="T3" fmla="*/ 707 h 4508"/>
                    <a:gd name="T4" fmla="*/ 1009 w 4533"/>
                    <a:gd name="T5" fmla="*/ 569 h 4508"/>
                    <a:gd name="T6" fmla="*/ 572 w 4533"/>
                    <a:gd name="T7" fmla="*/ 1025 h 4508"/>
                    <a:gd name="T8" fmla="*/ 660 w 4533"/>
                    <a:gd name="T9" fmla="*/ 1530 h 4508"/>
                    <a:gd name="T10" fmla="*/ 212 w 4533"/>
                    <a:gd name="T11" fmla="*/ 1922 h 4508"/>
                    <a:gd name="T12" fmla="*/ 170 w 4533"/>
                    <a:gd name="T13" fmla="*/ 2543 h 4508"/>
                    <a:gd name="T14" fmla="*/ 549 w 4533"/>
                    <a:gd name="T15" fmla="*/ 2652 h 4508"/>
                    <a:gd name="T16" fmla="*/ 804 w 4533"/>
                    <a:gd name="T17" fmla="*/ 3236 h 4508"/>
                    <a:gd name="T18" fmla="*/ 591 w 4533"/>
                    <a:gd name="T19" fmla="*/ 3539 h 4508"/>
                    <a:gd name="T20" fmla="*/ 1066 w 4533"/>
                    <a:gd name="T21" fmla="*/ 3919 h 4508"/>
                    <a:gd name="T22" fmla="*/ 1754 w 4533"/>
                    <a:gd name="T23" fmla="*/ 3930 h 4508"/>
                    <a:gd name="T24" fmla="*/ 1957 w 4533"/>
                    <a:gd name="T25" fmla="*/ 4329 h 4508"/>
                    <a:gd name="T26" fmla="*/ 2590 w 4533"/>
                    <a:gd name="T27" fmla="*/ 4315 h 4508"/>
                    <a:gd name="T28" fmla="*/ 2888 w 4533"/>
                    <a:gd name="T29" fmla="*/ 3895 h 4508"/>
                    <a:gd name="T30" fmla="*/ 3483 w 4533"/>
                    <a:gd name="T31" fmla="*/ 3932 h 4508"/>
                    <a:gd name="T32" fmla="*/ 3954 w 4533"/>
                    <a:gd name="T33" fmla="*/ 3522 h 4508"/>
                    <a:gd name="T34" fmla="*/ 3763 w 4533"/>
                    <a:gd name="T35" fmla="*/ 3179 h 4508"/>
                    <a:gd name="T36" fmla="*/ 3998 w 4533"/>
                    <a:gd name="T37" fmla="*/ 2587 h 4508"/>
                    <a:gd name="T38" fmla="*/ 4364 w 4533"/>
                    <a:gd name="T39" fmla="*/ 2523 h 4508"/>
                    <a:gd name="T40" fmla="*/ 4300 w 4533"/>
                    <a:gd name="T41" fmla="*/ 1920 h 4508"/>
                    <a:gd name="T42" fmla="*/ 3820 w 4533"/>
                    <a:gd name="T43" fmla="*/ 1427 h 4508"/>
                    <a:gd name="T44" fmla="*/ 3959 w 4533"/>
                    <a:gd name="T45" fmla="*/ 1003 h 4508"/>
                    <a:gd name="T46" fmla="*/ 3503 w 4533"/>
                    <a:gd name="T47" fmla="*/ 569 h 4508"/>
                    <a:gd name="T48" fmla="*/ 2993 w 4533"/>
                    <a:gd name="T49" fmla="*/ 656 h 4508"/>
                    <a:gd name="T50" fmla="*/ 2598 w 4533"/>
                    <a:gd name="T51" fmla="*/ 211 h 4508"/>
                    <a:gd name="T52" fmla="*/ 1996 w 4533"/>
                    <a:gd name="T53" fmla="*/ 0 h 4508"/>
                    <a:gd name="T54" fmla="*/ 2714 w 4533"/>
                    <a:gd name="T55" fmla="*/ 82 h 4508"/>
                    <a:gd name="T56" fmla="*/ 2889 w 4533"/>
                    <a:gd name="T57" fmla="*/ 435 h 4508"/>
                    <a:gd name="T58" fmla="*/ 3414 w 4533"/>
                    <a:gd name="T59" fmla="*/ 424 h 4508"/>
                    <a:gd name="T60" fmla="*/ 3646 w 4533"/>
                    <a:gd name="T61" fmla="*/ 444 h 4508"/>
                    <a:gd name="T62" fmla="*/ 4125 w 4533"/>
                    <a:gd name="T63" fmla="*/ 978 h 4508"/>
                    <a:gd name="T64" fmla="*/ 4059 w 4533"/>
                    <a:gd name="T65" fmla="*/ 1178 h 4508"/>
                    <a:gd name="T66" fmla="*/ 4300 w 4533"/>
                    <a:gd name="T67" fmla="*/ 1753 h 4508"/>
                    <a:gd name="T68" fmla="*/ 4500 w 4533"/>
                    <a:gd name="T69" fmla="*/ 1867 h 4508"/>
                    <a:gd name="T70" fmla="*/ 4517 w 4533"/>
                    <a:gd name="T71" fmla="*/ 2603 h 4508"/>
                    <a:gd name="T72" fmla="*/ 4341 w 4533"/>
                    <a:gd name="T73" fmla="*/ 2751 h 4508"/>
                    <a:gd name="T74" fmla="*/ 3941 w 4533"/>
                    <a:gd name="T75" fmla="*/ 3210 h 4508"/>
                    <a:gd name="T76" fmla="*/ 4128 w 4533"/>
                    <a:gd name="T77" fmla="*/ 3493 h 4508"/>
                    <a:gd name="T78" fmla="*/ 3677 w 4533"/>
                    <a:gd name="T79" fmla="*/ 4037 h 4508"/>
                    <a:gd name="T80" fmla="*/ 3453 w 4533"/>
                    <a:gd name="T81" fmla="*/ 4095 h 4508"/>
                    <a:gd name="T82" fmla="*/ 3005 w 4533"/>
                    <a:gd name="T83" fmla="*/ 4027 h 4508"/>
                    <a:gd name="T84" fmla="*/ 2737 w 4533"/>
                    <a:gd name="T85" fmla="*/ 4393 h 4508"/>
                    <a:gd name="T86" fmla="*/ 2537 w 4533"/>
                    <a:gd name="T87" fmla="*/ 4508 h 4508"/>
                    <a:gd name="T88" fmla="*/ 1817 w 4533"/>
                    <a:gd name="T89" fmla="*/ 4426 h 4508"/>
                    <a:gd name="T90" fmla="*/ 1644 w 4533"/>
                    <a:gd name="T91" fmla="*/ 4071 h 4508"/>
                    <a:gd name="T92" fmla="*/ 1118 w 4533"/>
                    <a:gd name="T93" fmla="*/ 4083 h 4508"/>
                    <a:gd name="T94" fmla="*/ 886 w 4533"/>
                    <a:gd name="T95" fmla="*/ 4064 h 4508"/>
                    <a:gd name="T96" fmla="*/ 406 w 4533"/>
                    <a:gd name="T97" fmla="*/ 3530 h 4508"/>
                    <a:gd name="T98" fmla="*/ 472 w 4533"/>
                    <a:gd name="T99" fmla="*/ 3328 h 4508"/>
                    <a:gd name="T100" fmla="*/ 233 w 4533"/>
                    <a:gd name="T101" fmla="*/ 2755 h 4508"/>
                    <a:gd name="T102" fmla="*/ 31 w 4533"/>
                    <a:gd name="T103" fmla="*/ 2640 h 4508"/>
                    <a:gd name="T104" fmla="*/ 14 w 4533"/>
                    <a:gd name="T105" fmla="*/ 1904 h 4508"/>
                    <a:gd name="T106" fmla="*/ 190 w 4533"/>
                    <a:gd name="T107" fmla="*/ 1756 h 4508"/>
                    <a:gd name="T108" fmla="*/ 592 w 4533"/>
                    <a:gd name="T109" fmla="*/ 1296 h 4508"/>
                    <a:gd name="T110" fmla="*/ 404 w 4533"/>
                    <a:gd name="T111" fmla="*/ 1015 h 4508"/>
                    <a:gd name="T112" fmla="*/ 854 w 4533"/>
                    <a:gd name="T113" fmla="*/ 470 h 4508"/>
                    <a:gd name="T114" fmla="*/ 1079 w 4533"/>
                    <a:gd name="T115" fmla="*/ 411 h 4508"/>
                    <a:gd name="T116" fmla="*/ 1527 w 4533"/>
                    <a:gd name="T117" fmla="*/ 480 h 4508"/>
                    <a:gd name="T118" fmla="*/ 1794 w 4533"/>
                    <a:gd name="T119" fmla="*/ 114 h 4508"/>
                    <a:gd name="T120" fmla="*/ 1996 w 4533"/>
                    <a:gd name="T121" fmla="*/ 0 h 4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33" h="4508">
                      <a:moveTo>
                        <a:pt x="1996" y="166"/>
                      </a:moveTo>
                      <a:lnTo>
                        <a:pt x="1975" y="169"/>
                      </a:lnTo>
                      <a:lnTo>
                        <a:pt x="1957" y="179"/>
                      </a:lnTo>
                      <a:lnTo>
                        <a:pt x="1943" y="193"/>
                      </a:lnTo>
                      <a:lnTo>
                        <a:pt x="1933" y="211"/>
                      </a:lnTo>
                      <a:lnTo>
                        <a:pt x="1930" y="232"/>
                      </a:lnTo>
                      <a:lnTo>
                        <a:pt x="1930" y="532"/>
                      </a:lnTo>
                      <a:lnTo>
                        <a:pt x="1866" y="546"/>
                      </a:lnTo>
                      <a:lnTo>
                        <a:pt x="1754" y="576"/>
                      </a:lnTo>
                      <a:lnTo>
                        <a:pt x="1646" y="613"/>
                      </a:lnTo>
                      <a:lnTo>
                        <a:pt x="1538" y="656"/>
                      </a:lnTo>
                      <a:lnTo>
                        <a:pt x="1435" y="707"/>
                      </a:lnTo>
                      <a:lnTo>
                        <a:pt x="1335" y="764"/>
                      </a:lnTo>
                      <a:lnTo>
                        <a:pt x="1279" y="800"/>
                      </a:lnTo>
                      <a:lnTo>
                        <a:pt x="1066" y="588"/>
                      </a:lnTo>
                      <a:lnTo>
                        <a:pt x="1049" y="575"/>
                      </a:lnTo>
                      <a:lnTo>
                        <a:pt x="1030" y="569"/>
                      </a:lnTo>
                      <a:lnTo>
                        <a:pt x="1009" y="569"/>
                      </a:lnTo>
                      <a:lnTo>
                        <a:pt x="990" y="575"/>
                      </a:lnTo>
                      <a:lnTo>
                        <a:pt x="973" y="588"/>
                      </a:lnTo>
                      <a:lnTo>
                        <a:pt x="591" y="968"/>
                      </a:lnTo>
                      <a:lnTo>
                        <a:pt x="580" y="985"/>
                      </a:lnTo>
                      <a:lnTo>
                        <a:pt x="572" y="1003"/>
                      </a:lnTo>
                      <a:lnTo>
                        <a:pt x="572" y="1025"/>
                      </a:lnTo>
                      <a:lnTo>
                        <a:pt x="580" y="1043"/>
                      </a:lnTo>
                      <a:lnTo>
                        <a:pt x="591" y="1060"/>
                      </a:lnTo>
                      <a:lnTo>
                        <a:pt x="804" y="1272"/>
                      </a:lnTo>
                      <a:lnTo>
                        <a:pt x="768" y="1328"/>
                      </a:lnTo>
                      <a:lnTo>
                        <a:pt x="711" y="1427"/>
                      </a:lnTo>
                      <a:lnTo>
                        <a:pt x="660" y="1530"/>
                      </a:lnTo>
                      <a:lnTo>
                        <a:pt x="617" y="1636"/>
                      </a:lnTo>
                      <a:lnTo>
                        <a:pt x="580" y="1745"/>
                      </a:lnTo>
                      <a:lnTo>
                        <a:pt x="549" y="1856"/>
                      </a:lnTo>
                      <a:lnTo>
                        <a:pt x="535" y="1920"/>
                      </a:lnTo>
                      <a:lnTo>
                        <a:pt x="233" y="1920"/>
                      </a:lnTo>
                      <a:lnTo>
                        <a:pt x="212" y="1922"/>
                      </a:lnTo>
                      <a:lnTo>
                        <a:pt x="195" y="1932"/>
                      </a:lnTo>
                      <a:lnTo>
                        <a:pt x="180" y="1947"/>
                      </a:lnTo>
                      <a:lnTo>
                        <a:pt x="170" y="1964"/>
                      </a:lnTo>
                      <a:lnTo>
                        <a:pt x="167" y="1985"/>
                      </a:lnTo>
                      <a:lnTo>
                        <a:pt x="167" y="2523"/>
                      </a:lnTo>
                      <a:lnTo>
                        <a:pt x="170" y="2543"/>
                      </a:lnTo>
                      <a:lnTo>
                        <a:pt x="180" y="2561"/>
                      </a:lnTo>
                      <a:lnTo>
                        <a:pt x="195" y="2576"/>
                      </a:lnTo>
                      <a:lnTo>
                        <a:pt x="212" y="2584"/>
                      </a:lnTo>
                      <a:lnTo>
                        <a:pt x="233" y="2587"/>
                      </a:lnTo>
                      <a:lnTo>
                        <a:pt x="535" y="2587"/>
                      </a:lnTo>
                      <a:lnTo>
                        <a:pt x="549" y="2652"/>
                      </a:lnTo>
                      <a:lnTo>
                        <a:pt x="580" y="2763"/>
                      </a:lnTo>
                      <a:lnTo>
                        <a:pt x="617" y="2872"/>
                      </a:lnTo>
                      <a:lnTo>
                        <a:pt x="660" y="2977"/>
                      </a:lnTo>
                      <a:lnTo>
                        <a:pt x="711" y="3079"/>
                      </a:lnTo>
                      <a:lnTo>
                        <a:pt x="768" y="3179"/>
                      </a:lnTo>
                      <a:lnTo>
                        <a:pt x="804" y="3236"/>
                      </a:lnTo>
                      <a:lnTo>
                        <a:pt x="591" y="3448"/>
                      </a:lnTo>
                      <a:lnTo>
                        <a:pt x="580" y="3464"/>
                      </a:lnTo>
                      <a:lnTo>
                        <a:pt x="572" y="3484"/>
                      </a:lnTo>
                      <a:lnTo>
                        <a:pt x="572" y="3503"/>
                      </a:lnTo>
                      <a:lnTo>
                        <a:pt x="580" y="3522"/>
                      </a:lnTo>
                      <a:lnTo>
                        <a:pt x="591" y="3539"/>
                      </a:lnTo>
                      <a:lnTo>
                        <a:pt x="973" y="3919"/>
                      </a:lnTo>
                      <a:lnTo>
                        <a:pt x="990" y="3932"/>
                      </a:lnTo>
                      <a:lnTo>
                        <a:pt x="1009" y="3937"/>
                      </a:lnTo>
                      <a:lnTo>
                        <a:pt x="1030" y="3937"/>
                      </a:lnTo>
                      <a:lnTo>
                        <a:pt x="1049" y="3932"/>
                      </a:lnTo>
                      <a:lnTo>
                        <a:pt x="1066" y="3919"/>
                      </a:lnTo>
                      <a:lnTo>
                        <a:pt x="1279" y="3707"/>
                      </a:lnTo>
                      <a:lnTo>
                        <a:pt x="1335" y="3743"/>
                      </a:lnTo>
                      <a:lnTo>
                        <a:pt x="1435" y="3799"/>
                      </a:lnTo>
                      <a:lnTo>
                        <a:pt x="1538" y="3851"/>
                      </a:lnTo>
                      <a:lnTo>
                        <a:pt x="1646" y="3895"/>
                      </a:lnTo>
                      <a:lnTo>
                        <a:pt x="1754" y="3930"/>
                      </a:lnTo>
                      <a:lnTo>
                        <a:pt x="1866" y="3960"/>
                      </a:lnTo>
                      <a:lnTo>
                        <a:pt x="1930" y="3976"/>
                      </a:lnTo>
                      <a:lnTo>
                        <a:pt x="1930" y="4276"/>
                      </a:lnTo>
                      <a:lnTo>
                        <a:pt x="1933" y="4296"/>
                      </a:lnTo>
                      <a:lnTo>
                        <a:pt x="1943" y="4315"/>
                      </a:lnTo>
                      <a:lnTo>
                        <a:pt x="1957" y="4329"/>
                      </a:lnTo>
                      <a:lnTo>
                        <a:pt x="1975" y="4337"/>
                      </a:lnTo>
                      <a:lnTo>
                        <a:pt x="1996" y="4340"/>
                      </a:lnTo>
                      <a:lnTo>
                        <a:pt x="2537" y="4340"/>
                      </a:lnTo>
                      <a:lnTo>
                        <a:pt x="2557" y="4337"/>
                      </a:lnTo>
                      <a:lnTo>
                        <a:pt x="2576" y="4329"/>
                      </a:lnTo>
                      <a:lnTo>
                        <a:pt x="2590" y="4315"/>
                      </a:lnTo>
                      <a:lnTo>
                        <a:pt x="2598" y="4296"/>
                      </a:lnTo>
                      <a:lnTo>
                        <a:pt x="2601" y="4276"/>
                      </a:lnTo>
                      <a:lnTo>
                        <a:pt x="2601" y="3976"/>
                      </a:lnTo>
                      <a:lnTo>
                        <a:pt x="2667" y="3960"/>
                      </a:lnTo>
                      <a:lnTo>
                        <a:pt x="2779" y="3930"/>
                      </a:lnTo>
                      <a:lnTo>
                        <a:pt x="2888" y="3895"/>
                      </a:lnTo>
                      <a:lnTo>
                        <a:pt x="2993" y="3851"/>
                      </a:lnTo>
                      <a:lnTo>
                        <a:pt x="3096" y="3799"/>
                      </a:lnTo>
                      <a:lnTo>
                        <a:pt x="3197" y="3743"/>
                      </a:lnTo>
                      <a:lnTo>
                        <a:pt x="3254" y="3707"/>
                      </a:lnTo>
                      <a:lnTo>
                        <a:pt x="3467" y="3919"/>
                      </a:lnTo>
                      <a:lnTo>
                        <a:pt x="3483" y="3932"/>
                      </a:lnTo>
                      <a:lnTo>
                        <a:pt x="3503" y="3937"/>
                      </a:lnTo>
                      <a:lnTo>
                        <a:pt x="3523" y="3937"/>
                      </a:lnTo>
                      <a:lnTo>
                        <a:pt x="3541" y="3932"/>
                      </a:lnTo>
                      <a:lnTo>
                        <a:pt x="3559" y="3919"/>
                      </a:lnTo>
                      <a:lnTo>
                        <a:pt x="3941" y="3539"/>
                      </a:lnTo>
                      <a:lnTo>
                        <a:pt x="3954" y="3522"/>
                      </a:lnTo>
                      <a:lnTo>
                        <a:pt x="3959" y="3503"/>
                      </a:lnTo>
                      <a:lnTo>
                        <a:pt x="3959" y="3484"/>
                      </a:lnTo>
                      <a:lnTo>
                        <a:pt x="3954" y="3464"/>
                      </a:lnTo>
                      <a:lnTo>
                        <a:pt x="3941" y="3448"/>
                      </a:lnTo>
                      <a:lnTo>
                        <a:pt x="3727" y="3236"/>
                      </a:lnTo>
                      <a:lnTo>
                        <a:pt x="3763" y="3179"/>
                      </a:lnTo>
                      <a:lnTo>
                        <a:pt x="3820" y="3079"/>
                      </a:lnTo>
                      <a:lnTo>
                        <a:pt x="3872" y="2977"/>
                      </a:lnTo>
                      <a:lnTo>
                        <a:pt x="3916" y="2872"/>
                      </a:lnTo>
                      <a:lnTo>
                        <a:pt x="3952" y="2763"/>
                      </a:lnTo>
                      <a:lnTo>
                        <a:pt x="3982" y="2652"/>
                      </a:lnTo>
                      <a:lnTo>
                        <a:pt x="3998" y="2587"/>
                      </a:lnTo>
                      <a:lnTo>
                        <a:pt x="4300" y="2587"/>
                      </a:lnTo>
                      <a:lnTo>
                        <a:pt x="4320" y="2584"/>
                      </a:lnTo>
                      <a:lnTo>
                        <a:pt x="4338" y="2576"/>
                      </a:lnTo>
                      <a:lnTo>
                        <a:pt x="4353" y="2561"/>
                      </a:lnTo>
                      <a:lnTo>
                        <a:pt x="4361" y="2543"/>
                      </a:lnTo>
                      <a:lnTo>
                        <a:pt x="4364" y="2523"/>
                      </a:lnTo>
                      <a:lnTo>
                        <a:pt x="4364" y="1985"/>
                      </a:lnTo>
                      <a:lnTo>
                        <a:pt x="4361" y="1964"/>
                      </a:lnTo>
                      <a:lnTo>
                        <a:pt x="4353" y="1947"/>
                      </a:lnTo>
                      <a:lnTo>
                        <a:pt x="4338" y="1932"/>
                      </a:lnTo>
                      <a:lnTo>
                        <a:pt x="4320" y="1922"/>
                      </a:lnTo>
                      <a:lnTo>
                        <a:pt x="4300" y="1920"/>
                      </a:lnTo>
                      <a:lnTo>
                        <a:pt x="3998" y="1920"/>
                      </a:lnTo>
                      <a:lnTo>
                        <a:pt x="3982" y="1856"/>
                      </a:lnTo>
                      <a:lnTo>
                        <a:pt x="3952" y="1745"/>
                      </a:lnTo>
                      <a:lnTo>
                        <a:pt x="3916" y="1636"/>
                      </a:lnTo>
                      <a:lnTo>
                        <a:pt x="3872" y="1530"/>
                      </a:lnTo>
                      <a:lnTo>
                        <a:pt x="3820" y="1427"/>
                      </a:lnTo>
                      <a:lnTo>
                        <a:pt x="3763" y="1328"/>
                      </a:lnTo>
                      <a:lnTo>
                        <a:pt x="3727" y="1272"/>
                      </a:lnTo>
                      <a:lnTo>
                        <a:pt x="3941" y="1060"/>
                      </a:lnTo>
                      <a:lnTo>
                        <a:pt x="3954" y="1043"/>
                      </a:lnTo>
                      <a:lnTo>
                        <a:pt x="3959" y="1025"/>
                      </a:lnTo>
                      <a:lnTo>
                        <a:pt x="3959" y="1003"/>
                      </a:lnTo>
                      <a:lnTo>
                        <a:pt x="3954" y="985"/>
                      </a:lnTo>
                      <a:lnTo>
                        <a:pt x="3941" y="968"/>
                      </a:lnTo>
                      <a:lnTo>
                        <a:pt x="3559" y="588"/>
                      </a:lnTo>
                      <a:lnTo>
                        <a:pt x="3541" y="575"/>
                      </a:lnTo>
                      <a:lnTo>
                        <a:pt x="3523" y="569"/>
                      </a:lnTo>
                      <a:lnTo>
                        <a:pt x="3503" y="569"/>
                      </a:lnTo>
                      <a:lnTo>
                        <a:pt x="3483" y="575"/>
                      </a:lnTo>
                      <a:lnTo>
                        <a:pt x="3467" y="588"/>
                      </a:lnTo>
                      <a:lnTo>
                        <a:pt x="3254" y="800"/>
                      </a:lnTo>
                      <a:lnTo>
                        <a:pt x="3197" y="764"/>
                      </a:lnTo>
                      <a:lnTo>
                        <a:pt x="3096" y="707"/>
                      </a:lnTo>
                      <a:lnTo>
                        <a:pt x="2993" y="656"/>
                      </a:lnTo>
                      <a:lnTo>
                        <a:pt x="2888" y="613"/>
                      </a:lnTo>
                      <a:lnTo>
                        <a:pt x="2779" y="576"/>
                      </a:lnTo>
                      <a:lnTo>
                        <a:pt x="2667" y="546"/>
                      </a:lnTo>
                      <a:lnTo>
                        <a:pt x="2601" y="532"/>
                      </a:lnTo>
                      <a:lnTo>
                        <a:pt x="2601" y="232"/>
                      </a:lnTo>
                      <a:lnTo>
                        <a:pt x="2598" y="211"/>
                      </a:lnTo>
                      <a:lnTo>
                        <a:pt x="2590" y="193"/>
                      </a:lnTo>
                      <a:lnTo>
                        <a:pt x="2576" y="179"/>
                      </a:lnTo>
                      <a:lnTo>
                        <a:pt x="2557" y="169"/>
                      </a:lnTo>
                      <a:lnTo>
                        <a:pt x="2537" y="166"/>
                      </a:lnTo>
                      <a:lnTo>
                        <a:pt x="1996" y="166"/>
                      </a:lnTo>
                      <a:close/>
                      <a:moveTo>
                        <a:pt x="1996" y="0"/>
                      </a:moveTo>
                      <a:lnTo>
                        <a:pt x="2537" y="0"/>
                      </a:lnTo>
                      <a:lnTo>
                        <a:pt x="2578" y="3"/>
                      </a:lnTo>
                      <a:lnTo>
                        <a:pt x="2617" y="14"/>
                      </a:lnTo>
                      <a:lnTo>
                        <a:pt x="2654" y="31"/>
                      </a:lnTo>
                      <a:lnTo>
                        <a:pt x="2687" y="54"/>
                      </a:lnTo>
                      <a:lnTo>
                        <a:pt x="2714" y="82"/>
                      </a:lnTo>
                      <a:lnTo>
                        <a:pt x="2737" y="114"/>
                      </a:lnTo>
                      <a:lnTo>
                        <a:pt x="2754" y="151"/>
                      </a:lnTo>
                      <a:lnTo>
                        <a:pt x="2766" y="189"/>
                      </a:lnTo>
                      <a:lnTo>
                        <a:pt x="2770" y="232"/>
                      </a:lnTo>
                      <a:lnTo>
                        <a:pt x="2770" y="400"/>
                      </a:lnTo>
                      <a:lnTo>
                        <a:pt x="2889" y="435"/>
                      </a:lnTo>
                      <a:lnTo>
                        <a:pt x="3005" y="480"/>
                      </a:lnTo>
                      <a:lnTo>
                        <a:pt x="3118" y="531"/>
                      </a:lnTo>
                      <a:lnTo>
                        <a:pt x="3228" y="589"/>
                      </a:lnTo>
                      <a:lnTo>
                        <a:pt x="3347" y="470"/>
                      </a:lnTo>
                      <a:lnTo>
                        <a:pt x="3380" y="444"/>
                      </a:lnTo>
                      <a:lnTo>
                        <a:pt x="3414" y="424"/>
                      </a:lnTo>
                      <a:lnTo>
                        <a:pt x="3453" y="411"/>
                      </a:lnTo>
                      <a:lnTo>
                        <a:pt x="3493" y="404"/>
                      </a:lnTo>
                      <a:lnTo>
                        <a:pt x="3533" y="404"/>
                      </a:lnTo>
                      <a:lnTo>
                        <a:pt x="3573" y="411"/>
                      </a:lnTo>
                      <a:lnTo>
                        <a:pt x="3610" y="424"/>
                      </a:lnTo>
                      <a:lnTo>
                        <a:pt x="3646" y="444"/>
                      </a:lnTo>
                      <a:lnTo>
                        <a:pt x="3677" y="470"/>
                      </a:lnTo>
                      <a:lnTo>
                        <a:pt x="4059" y="850"/>
                      </a:lnTo>
                      <a:lnTo>
                        <a:pt x="4084" y="878"/>
                      </a:lnTo>
                      <a:lnTo>
                        <a:pt x="4102" y="908"/>
                      </a:lnTo>
                      <a:lnTo>
                        <a:pt x="4117" y="942"/>
                      </a:lnTo>
                      <a:lnTo>
                        <a:pt x="4125" y="978"/>
                      </a:lnTo>
                      <a:lnTo>
                        <a:pt x="4128" y="1015"/>
                      </a:lnTo>
                      <a:lnTo>
                        <a:pt x="4125" y="1050"/>
                      </a:lnTo>
                      <a:lnTo>
                        <a:pt x="4117" y="1086"/>
                      </a:lnTo>
                      <a:lnTo>
                        <a:pt x="4102" y="1118"/>
                      </a:lnTo>
                      <a:lnTo>
                        <a:pt x="4084" y="1150"/>
                      </a:lnTo>
                      <a:lnTo>
                        <a:pt x="4059" y="1178"/>
                      </a:lnTo>
                      <a:lnTo>
                        <a:pt x="3941" y="1296"/>
                      </a:lnTo>
                      <a:lnTo>
                        <a:pt x="3999" y="1406"/>
                      </a:lnTo>
                      <a:lnTo>
                        <a:pt x="4049" y="1518"/>
                      </a:lnTo>
                      <a:lnTo>
                        <a:pt x="4094" y="1634"/>
                      </a:lnTo>
                      <a:lnTo>
                        <a:pt x="4130" y="1753"/>
                      </a:lnTo>
                      <a:lnTo>
                        <a:pt x="4300" y="1753"/>
                      </a:lnTo>
                      <a:lnTo>
                        <a:pt x="4341" y="1756"/>
                      </a:lnTo>
                      <a:lnTo>
                        <a:pt x="4380" y="1767"/>
                      </a:lnTo>
                      <a:lnTo>
                        <a:pt x="4417" y="1784"/>
                      </a:lnTo>
                      <a:lnTo>
                        <a:pt x="4450" y="1807"/>
                      </a:lnTo>
                      <a:lnTo>
                        <a:pt x="4477" y="1836"/>
                      </a:lnTo>
                      <a:lnTo>
                        <a:pt x="4500" y="1867"/>
                      </a:lnTo>
                      <a:lnTo>
                        <a:pt x="4517" y="1904"/>
                      </a:lnTo>
                      <a:lnTo>
                        <a:pt x="4529" y="1942"/>
                      </a:lnTo>
                      <a:lnTo>
                        <a:pt x="4533" y="1985"/>
                      </a:lnTo>
                      <a:lnTo>
                        <a:pt x="4533" y="2523"/>
                      </a:lnTo>
                      <a:lnTo>
                        <a:pt x="4529" y="2564"/>
                      </a:lnTo>
                      <a:lnTo>
                        <a:pt x="4517" y="2603"/>
                      </a:lnTo>
                      <a:lnTo>
                        <a:pt x="4500" y="2640"/>
                      </a:lnTo>
                      <a:lnTo>
                        <a:pt x="4477" y="2672"/>
                      </a:lnTo>
                      <a:lnTo>
                        <a:pt x="4450" y="2699"/>
                      </a:lnTo>
                      <a:lnTo>
                        <a:pt x="4417" y="2722"/>
                      </a:lnTo>
                      <a:lnTo>
                        <a:pt x="4380" y="2739"/>
                      </a:lnTo>
                      <a:lnTo>
                        <a:pt x="4341" y="2751"/>
                      </a:lnTo>
                      <a:lnTo>
                        <a:pt x="4300" y="2755"/>
                      </a:lnTo>
                      <a:lnTo>
                        <a:pt x="4130" y="2755"/>
                      </a:lnTo>
                      <a:lnTo>
                        <a:pt x="4094" y="2873"/>
                      </a:lnTo>
                      <a:lnTo>
                        <a:pt x="4049" y="2988"/>
                      </a:lnTo>
                      <a:lnTo>
                        <a:pt x="3999" y="3101"/>
                      </a:lnTo>
                      <a:lnTo>
                        <a:pt x="3941" y="3210"/>
                      </a:lnTo>
                      <a:lnTo>
                        <a:pt x="4059" y="3328"/>
                      </a:lnTo>
                      <a:lnTo>
                        <a:pt x="4084" y="3357"/>
                      </a:lnTo>
                      <a:lnTo>
                        <a:pt x="4102" y="3388"/>
                      </a:lnTo>
                      <a:lnTo>
                        <a:pt x="4117" y="3421"/>
                      </a:lnTo>
                      <a:lnTo>
                        <a:pt x="4125" y="3456"/>
                      </a:lnTo>
                      <a:lnTo>
                        <a:pt x="4128" y="3493"/>
                      </a:lnTo>
                      <a:lnTo>
                        <a:pt x="4125" y="3530"/>
                      </a:lnTo>
                      <a:lnTo>
                        <a:pt x="4117" y="3565"/>
                      </a:lnTo>
                      <a:lnTo>
                        <a:pt x="4102" y="3599"/>
                      </a:lnTo>
                      <a:lnTo>
                        <a:pt x="4084" y="3630"/>
                      </a:lnTo>
                      <a:lnTo>
                        <a:pt x="4059" y="3657"/>
                      </a:lnTo>
                      <a:lnTo>
                        <a:pt x="3677" y="4037"/>
                      </a:lnTo>
                      <a:lnTo>
                        <a:pt x="3646" y="4064"/>
                      </a:lnTo>
                      <a:lnTo>
                        <a:pt x="3610" y="4083"/>
                      </a:lnTo>
                      <a:lnTo>
                        <a:pt x="3573" y="4095"/>
                      </a:lnTo>
                      <a:lnTo>
                        <a:pt x="3533" y="4103"/>
                      </a:lnTo>
                      <a:lnTo>
                        <a:pt x="3493" y="4103"/>
                      </a:lnTo>
                      <a:lnTo>
                        <a:pt x="3453" y="4095"/>
                      </a:lnTo>
                      <a:lnTo>
                        <a:pt x="3414" y="4083"/>
                      </a:lnTo>
                      <a:lnTo>
                        <a:pt x="3380" y="4064"/>
                      </a:lnTo>
                      <a:lnTo>
                        <a:pt x="3347" y="4037"/>
                      </a:lnTo>
                      <a:lnTo>
                        <a:pt x="3228" y="3919"/>
                      </a:lnTo>
                      <a:lnTo>
                        <a:pt x="3118" y="3977"/>
                      </a:lnTo>
                      <a:lnTo>
                        <a:pt x="3005" y="4027"/>
                      </a:lnTo>
                      <a:lnTo>
                        <a:pt x="2889" y="4071"/>
                      </a:lnTo>
                      <a:lnTo>
                        <a:pt x="2770" y="4107"/>
                      </a:lnTo>
                      <a:lnTo>
                        <a:pt x="2770" y="4276"/>
                      </a:lnTo>
                      <a:lnTo>
                        <a:pt x="2766" y="4317"/>
                      </a:lnTo>
                      <a:lnTo>
                        <a:pt x="2754" y="4356"/>
                      </a:lnTo>
                      <a:lnTo>
                        <a:pt x="2737" y="4393"/>
                      </a:lnTo>
                      <a:lnTo>
                        <a:pt x="2714" y="4426"/>
                      </a:lnTo>
                      <a:lnTo>
                        <a:pt x="2687" y="4453"/>
                      </a:lnTo>
                      <a:lnTo>
                        <a:pt x="2654" y="4475"/>
                      </a:lnTo>
                      <a:lnTo>
                        <a:pt x="2617" y="4492"/>
                      </a:lnTo>
                      <a:lnTo>
                        <a:pt x="2578" y="4504"/>
                      </a:lnTo>
                      <a:lnTo>
                        <a:pt x="2537" y="4508"/>
                      </a:lnTo>
                      <a:lnTo>
                        <a:pt x="1996" y="4508"/>
                      </a:lnTo>
                      <a:lnTo>
                        <a:pt x="1953" y="4504"/>
                      </a:lnTo>
                      <a:lnTo>
                        <a:pt x="1915" y="4492"/>
                      </a:lnTo>
                      <a:lnTo>
                        <a:pt x="1877" y="4475"/>
                      </a:lnTo>
                      <a:lnTo>
                        <a:pt x="1846" y="4453"/>
                      </a:lnTo>
                      <a:lnTo>
                        <a:pt x="1817" y="4426"/>
                      </a:lnTo>
                      <a:lnTo>
                        <a:pt x="1794" y="4393"/>
                      </a:lnTo>
                      <a:lnTo>
                        <a:pt x="1777" y="4356"/>
                      </a:lnTo>
                      <a:lnTo>
                        <a:pt x="1766" y="4317"/>
                      </a:lnTo>
                      <a:lnTo>
                        <a:pt x="1763" y="4276"/>
                      </a:lnTo>
                      <a:lnTo>
                        <a:pt x="1763" y="4107"/>
                      </a:lnTo>
                      <a:lnTo>
                        <a:pt x="1644" y="4071"/>
                      </a:lnTo>
                      <a:lnTo>
                        <a:pt x="1527" y="4027"/>
                      </a:lnTo>
                      <a:lnTo>
                        <a:pt x="1414" y="3977"/>
                      </a:lnTo>
                      <a:lnTo>
                        <a:pt x="1304" y="3919"/>
                      </a:lnTo>
                      <a:lnTo>
                        <a:pt x="1185" y="4037"/>
                      </a:lnTo>
                      <a:lnTo>
                        <a:pt x="1153" y="4064"/>
                      </a:lnTo>
                      <a:lnTo>
                        <a:pt x="1118" y="4083"/>
                      </a:lnTo>
                      <a:lnTo>
                        <a:pt x="1079" y="4095"/>
                      </a:lnTo>
                      <a:lnTo>
                        <a:pt x="1040" y="4103"/>
                      </a:lnTo>
                      <a:lnTo>
                        <a:pt x="999" y="4103"/>
                      </a:lnTo>
                      <a:lnTo>
                        <a:pt x="960" y="4095"/>
                      </a:lnTo>
                      <a:lnTo>
                        <a:pt x="921" y="4083"/>
                      </a:lnTo>
                      <a:lnTo>
                        <a:pt x="886" y="4064"/>
                      </a:lnTo>
                      <a:lnTo>
                        <a:pt x="854" y="4037"/>
                      </a:lnTo>
                      <a:lnTo>
                        <a:pt x="472" y="3657"/>
                      </a:lnTo>
                      <a:lnTo>
                        <a:pt x="448" y="3630"/>
                      </a:lnTo>
                      <a:lnTo>
                        <a:pt x="429" y="3599"/>
                      </a:lnTo>
                      <a:lnTo>
                        <a:pt x="415" y="3565"/>
                      </a:lnTo>
                      <a:lnTo>
                        <a:pt x="406" y="3530"/>
                      </a:lnTo>
                      <a:lnTo>
                        <a:pt x="404" y="3493"/>
                      </a:lnTo>
                      <a:lnTo>
                        <a:pt x="406" y="3456"/>
                      </a:lnTo>
                      <a:lnTo>
                        <a:pt x="415" y="3421"/>
                      </a:lnTo>
                      <a:lnTo>
                        <a:pt x="429" y="3388"/>
                      </a:lnTo>
                      <a:lnTo>
                        <a:pt x="448" y="3357"/>
                      </a:lnTo>
                      <a:lnTo>
                        <a:pt x="472" y="3328"/>
                      </a:lnTo>
                      <a:lnTo>
                        <a:pt x="592" y="3210"/>
                      </a:lnTo>
                      <a:lnTo>
                        <a:pt x="534" y="3101"/>
                      </a:lnTo>
                      <a:lnTo>
                        <a:pt x="482" y="2988"/>
                      </a:lnTo>
                      <a:lnTo>
                        <a:pt x="438" y="2873"/>
                      </a:lnTo>
                      <a:lnTo>
                        <a:pt x="402" y="2755"/>
                      </a:lnTo>
                      <a:lnTo>
                        <a:pt x="233" y="2755"/>
                      </a:lnTo>
                      <a:lnTo>
                        <a:pt x="190" y="2751"/>
                      </a:lnTo>
                      <a:lnTo>
                        <a:pt x="152" y="2739"/>
                      </a:lnTo>
                      <a:lnTo>
                        <a:pt x="114" y="2722"/>
                      </a:lnTo>
                      <a:lnTo>
                        <a:pt x="83" y="2699"/>
                      </a:lnTo>
                      <a:lnTo>
                        <a:pt x="54" y="2672"/>
                      </a:lnTo>
                      <a:lnTo>
                        <a:pt x="31" y="2640"/>
                      </a:lnTo>
                      <a:lnTo>
                        <a:pt x="14" y="2603"/>
                      </a:lnTo>
                      <a:lnTo>
                        <a:pt x="3" y="2564"/>
                      </a:lnTo>
                      <a:lnTo>
                        <a:pt x="0" y="2523"/>
                      </a:lnTo>
                      <a:lnTo>
                        <a:pt x="0" y="1985"/>
                      </a:lnTo>
                      <a:lnTo>
                        <a:pt x="3" y="1942"/>
                      </a:lnTo>
                      <a:lnTo>
                        <a:pt x="14" y="1904"/>
                      </a:lnTo>
                      <a:lnTo>
                        <a:pt x="31" y="1867"/>
                      </a:lnTo>
                      <a:lnTo>
                        <a:pt x="54" y="1836"/>
                      </a:lnTo>
                      <a:lnTo>
                        <a:pt x="83" y="1807"/>
                      </a:lnTo>
                      <a:lnTo>
                        <a:pt x="114" y="1784"/>
                      </a:lnTo>
                      <a:lnTo>
                        <a:pt x="152" y="1767"/>
                      </a:lnTo>
                      <a:lnTo>
                        <a:pt x="190" y="1756"/>
                      </a:lnTo>
                      <a:lnTo>
                        <a:pt x="233" y="1753"/>
                      </a:lnTo>
                      <a:lnTo>
                        <a:pt x="402" y="1753"/>
                      </a:lnTo>
                      <a:lnTo>
                        <a:pt x="438" y="1634"/>
                      </a:lnTo>
                      <a:lnTo>
                        <a:pt x="482" y="1518"/>
                      </a:lnTo>
                      <a:lnTo>
                        <a:pt x="534" y="1406"/>
                      </a:lnTo>
                      <a:lnTo>
                        <a:pt x="592" y="1296"/>
                      </a:lnTo>
                      <a:lnTo>
                        <a:pt x="472" y="1178"/>
                      </a:lnTo>
                      <a:lnTo>
                        <a:pt x="448" y="1150"/>
                      </a:lnTo>
                      <a:lnTo>
                        <a:pt x="429" y="1120"/>
                      </a:lnTo>
                      <a:lnTo>
                        <a:pt x="415" y="1086"/>
                      </a:lnTo>
                      <a:lnTo>
                        <a:pt x="406" y="1050"/>
                      </a:lnTo>
                      <a:lnTo>
                        <a:pt x="404" y="1015"/>
                      </a:lnTo>
                      <a:lnTo>
                        <a:pt x="406" y="978"/>
                      </a:lnTo>
                      <a:lnTo>
                        <a:pt x="415" y="942"/>
                      </a:lnTo>
                      <a:lnTo>
                        <a:pt x="429" y="909"/>
                      </a:lnTo>
                      <a:lnTo>
                        <a:pt x="448" y="878"/>
                      </a:lnTo>
                      <a:lnTo>
                        <a:pt x="472" y="850"/>
                      </a:lnTo>
                      <a:lnTo>
                        <a:pt x="854" y="470"/>
                      </a:lnTo>
                      <a:lnTo>
                        <a:pt x="886" y="444"/>
                      </a:lnTo>
                      <a:lnTo>
                        <a:pt x="921" y="424"/>
                      </a:lnTo>
                      <a:lnTo>
                        <a:pt x="960" y="411"/>
                      </a:lnTo>
                      <a:lnTo>
                        <a:pt x="999" y="404"/>
                      </a:lnTo>
                      <a:lnTo>
                        <a:pt x="1040" y="404"/>
                      </a:lnTo>
                      <a:lnTo>
                        <a:pt x="1079" y="411"/>
                      </a:lnTo>
                      <a:lnTo>
                        <a:pt x="1118" y="424"/>
                      </a:lnTo>
                      <a:lnTo>
                        <a:pt x="1153" y="444"/>
                      </a:lnTo>
                      <a:lnTo>
                        <a:pt x="1185" y="470"/>
                      </a:lnTo>
                      <a:lnTo>
                        <a:pt x="1304" y="589"/>
                      </a:lnTo>
                      <a:lnTo>
                        <a:pt x="1414" y="531"/>
                      </a:lnTo>
                      <a:lnTo>
                        <a:pt x="1527" y="480"/>
                      </a:lnTo>
                      <a:lnTo>
                        <a:pt x="1644" y="435"/>
                      </a:lnTo>
                      <a:lnTo>
                        <a:pt x="1763" y="400"/>
                      </a:lnTo>
                      <a:lnTo>
                        <a:pt x="1763" y="232"/>
                      </a:lnTo>
                      <a:lnTo>
                        <a:pt x="1766" y="189"/>
                      </a:lnTo>
                      <a:lnTo>
                        <a:pt x="1777" y="151"/>
                      </a:lnTo>
                      <a:lnTo>
                        <a:pt x="1794" y="114"/>
                      </a:lnTo>
                      <a:lnTo>
                        <a:pt x="1817" y="82"/>
                      </a:lnTo>
                      <a:lnTo>
                        <a:pt x="1846" y="54"/>
                      </a:lnTo>
                      <a:lnTo>
                        <a:pt x="1877" y="31"/>
                      </a:lnTo>
                      <a:lnTo>
                        <a:pt x="1915" y="14"/>
                      </a:lnTo>
                      <a:lnTo>
                        <a:pt x="1953" y="3"/>
                      </a:lnTo>
                      <a:lnTo>
                        <a:pt x="1996"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35" name="Freeform 74">
                  <a:extLst>
                    <a:ext uri="{FF2B5EF4-FFF2-40B4-BE49-F238E27FC236}">
                      <a16:creationId xmlns:a16="http://schemas.microsoft.com/office/drawing/2014/main" id="{00540917-F911-91B2-4419-FF7EF108E5BD}"/>
                    </a:ext>
                  </a:extLst>
                </p:cNvPr>
                <p:cNvSpPr>
                  <a:spLocks noEditPoints="1"/>
                </p:cNvSpPr>
                <p:nvPr/>
              </p:nvSpPr>
              <p:spPr bwMode="auto">
                <a:xfrm>
                  <a:off x="-287338" y="2876551"/>
                  <a:ext cx="1331913" cy="1325563"/>
                </a:xfrm>
                <a:custGeom>
                  <a:avLst/>
                  <a:gdLst>
                    <a:gd name="T0" fmla="*/ 761 w 1678"/>
                    <a:gd name="T1" fmla="*/ 170 h 1669"/>
                    <a:gd name="T2" fmla="*/ 613 w 1678"/>
                    <a:gd name="T3" fmla="*/ 206 h 1669"/>
                    <a:gd name="T4" fmla="*/ 479 w 1678"/>
                    <a:gd name="T5" fmla="*/ 270 h 1669"/>
                    <a:gd name="T6" fmla="*/ 364 w 1678"/>
                    <a:gd name="T7" fmla="*/ 363 h 1669"/>
                    <a:gd name="T8" fmla="*/ 271 w 1678"/>
                    <a:gd name="T9" fmla="*/ 476 h 1669"/>
                    <a:gd name="T10" fmla="*/ 207 w 1678"/>
                    <a:gd name="T11" fmla="*/ 610 h 1669"/>
                    <a:gd name="T12" fmla="*/ 171 w 1678"/>
                    <a:gd name="T13" fmla="*/ 757 h 1669"/>
                    <a:gd name="T14" fmla="*/ 171 w 1678"/>
                    <a:gd name="T15" fmla="*/ 912 h 1669"/>
                    <a:gd name="T16" fmla="*/ 207 w 1678"/>
                    <a:gd name="T17" fmla="*/ 1060 h 1669"/>
                    <a:gd name="T18" fmla="*/ 271 w 1678"/>
                    <a:gd name="T19" fmla="*/ 1192 h 1669"/>
                    <a:gd name="T20" fmla="*/ 364 w 1678"/>
                    <a:gd name="T21" fmla="*/ 1306 h 1669"/>
                    <a:gd name="T22" fmla="*/ 479 w 1678"/>
                    <a:gd name="T23" fmla="*/ 1399 h 1669"/>
                    <a:gd name="T24" fmla="*/ 613 w 1678"/>
                    <a:gd name="T25" fmla="*/ 1464 h 1669"/>
                    <a:gd name="T26" fmla="*/ 761 w 1678"/>
                    <a:gd name="T27" fmla="*/ 1498 h 1669"/>
                    <a:gd name="T28" fmla="*/ 917 w 1678"/>
                    <a:gd name="T29" fmla="*/ 1498 h 1669"/>
                    <a:gd name="T30" fmla="*/ 1066 w 1678"/>
                    <a:gd name="T31" fmla="*/ 1464 h 1669"/>
                    <a:gd name="T32" fmla="*/ 1199 w 1678"/>
                    <a:gd name="T33" fmla="*/ 1399 h 1669"/>
                    <a:gd name="T34" fmla="*/ 1313 w 1678"/>
                    <a:gd name="T35" fmla="*/ 1306 h 1669"/>
                    <a:gd name="T36" fmla="*/ 1406 w 1678"/>
                    <a:gd name="T37" fmla="*/ 1192 h 1669"/>
                    <a:gd name="T38" fmla="*/ 1472 w 1678"/>
                    <a:gd name="T39" fmla="*/ 1060 h 1669"/>
                    <a:gd name="T40" fmla="*/ 1506 w 1678"/>
                    <a:gd name="T41" fmla="*/ 912 h 1669"/>
                    <a:gd name="T42" fmla="*/ 1506 w 1678"/>
                    <a:gd name="T43" fmla="*/ 757 h 1669"/>
                    <a:gd name="T44" fmla="*/ 1472 w 1678"/>
                    <a:gd name="T45" fmla="*/ 610 h 1669"/>
                    <a:gd name="T46" fmla="*/ 1406 w 1678"/>
                    <a:gd name="T47" fmla="*/ 476 h 1669"/>
                    <a:gd name="T48" fmla="*/ 1313 w 1678"/>
                    <a:gd name="T49" fmla="*/ 363 h 1669"/>
                    <a:gd name="T50" fmla="*/ 1199 w 1678"/>
                    <a:gd name="T51" fmla="*/ 270 h 1669"/>
                    <a:gd name="T52" fmla="*/ 1066 w 1678"/>
                    <a:gd name="T53" fmla="*/ 206 h 1669"/>
                    <a:gd name="T54" fmla="*/ 917 w 1678"/>
                    <a:gd name="T55" fmla="*/ 170 h 1669"/>
                    <a:gd name="T56" fmla="*/ 840 w 1678"/>
                    <a:gd name="T57" fmla="*/ 0 h 1669"/>
                    <a:gd name="T58" fmla="*/ 1008 w 1678"/>
                    <a:gd name="T59" fmla="*/ 17 h 1669"/>
                    <a:gd name="T60" fmla="*/ 1166 w 1678"/>
                    <a:gd name="T61" fmla="*/ 65 h 1669"/>
                    <a:gd name="T62" fmla="*/ 1309 w 1678"/>
                    <a:gd name="T63" fmla="*/ 142 h 1669"/>
                    <a:gd name="T64" fmla="*/ 1432 w 1678"/>
                    <a:gd name="T65" fmla="*/ 244 h 1669"/>
                    <a:gd name="T66" fmla="*/ 1535 w 1678"/>
                    <a:gd name="T67" fmla="*/ 368 h 1669"/>
                    <a:gd name="T68" fmla="*/ 1612 w 1678"/>
                    <a:gd name="T69" fmla="*/ 511 h 1669"/>
                    <a:gd name="T70" fmla="*/ 1662 w 1678"/>
                    <a:gd name="T71" fmla="*/ 667 h 1669"/>
                    <a:gd name="T72" fmla="*/ 1678 w 1678"/>
                    <a:gd name="T73" fmla="*/ 835 h 1669"/>
                    <a:gd name="T74" fmla="*/ 1662 w 1678"/>
                    <a:gd name="T75" fmla="*/ 1003 h 1669"/>
                    <a:gd name="T76" fmla="*/ 1612 w 1678"/>
                    <a:gd name="T77" fmla="*/ 1159 h 1669"/>
                    <a:gd name="T78" fmla="*/ 1535 w 1678"/>
                    <a:gd name="T79" fmla="*/ 1302 h 1669"/>
                    <a:gd name="T80" fmla="*/ 1432 w 1678"/>
                    <a:gd name="T81" fmla="*/ 1424 h 1669"/>
                    <a:gd name="T82" fmla="*/ 1309 w 1678"/>
                    <a:gd name="T83" fmla="*/ 1527 h 1669"/>
                    <a:gd name="T84" fmla="*/ 1166 w 1678"/>
                    <a:gd name="T85" fmla="*/ 1603 h 1669"/>
                    <a:gd name="T86" fmla="*/ 1008 w 1678"/>
                    <a:gd name="T87" fmla="*/ 1653 h 1669"/>
                    <a:gd name="T88" fmla="*/ 840 w 1678"/>
                    <a:gd name="T89" fmla="*/ 1669 h 1669"/>
                    <a:gd name="T90" fmla="*/ 671 w 1678"/>
                    <a:gd name="T91" fmla="*/ 1653 h 1669"/>
                    <a:gd name="T92" fmla="*/ 513 w 1678"/>
                    <a:gd name="T93" fmla="*/ 1603 h 1669"/>
                    <a:gd name="T94" fmla="*/ 370 w 1678"/>
                    <a:gd name="T95" fmla="*/ 1527 h 1669"/>
                    <a:gd name="T96" fmla="*/ 246 w 1678"/>
                    <a:gd name="T97" fmla="*/ 1424 h 1669"/>
                    <a:gd name="T98" fmla="*/ 143 w 1678"/>
                    <a:gd name="T99" fmla="*/ 1302 h 1669"/>
                    <a:gd name="T100" fmla="*/ 65 w 1678"/>
                    <a:gd name="T101" fmla="*/ 1159 h 1669"/>
                    <a:gd name="T102" fmla="*/ 17 w 1678"/>
                    <a:gd name="T103" fmla="*/ 1003 h 1669"/>
                    <a:gd name="T104" fmla="*/ 0 w 1678"/>
                    <a:gd name="T105" fmla="*/ 835 h 1669"/>
                    <a:gd name="T106" fmla="*/ 17 w 1678"/>
                    <a:gd name="T107" fmla="*/ 667 h 1669"/>
                    <a:gd name="T108" fmla="*/ 65 w 1678"/>
                    <a:gd name="T109" fmla="*/ 511 h 1669"/>
                    <a:gd name="T110" fmla="*/ 143 w 1678"/>
                    <a:gd name="T111" fmla="*/ 368 h 1669"/>
                    <a:gd name="T112" fmla="*/ 246 w 1678"/>
                    <a:gd name="T113" fmla="*/ 244 h 1669"/>
                    <a:gd name="T114" fmla="*/ 370 w 1678"/>
                    <a:gd name="T115" fmla="*/ 142 h 1669"/>
                    <a:gd name="T116" fmla="*/ 513 w 1678"/>
                    <a:gd name="T117" fmla="*/ 65 h 1669"/>
                    <a:gd name="T118" fmla="*/ 671 w 1678"/>
                    <a:gd name="T119" fmla="*/ 17 h 1669"/>
                    <a:gd name="T120" fmla="*/ 840 w 1678"/>
                    <a:gd name="T121" fmla="*/ 0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78" h="1669">
                      <a:moveTo>
                        <a:pt x="840" y="166"/>
                      </a:moveTo>
                      <a:lnTo>
                        <a:pt x="761" y="170"/>
                      </a:lnTo>
                      <a:lnTo>
                        <a:pt x="685" y="185"/>
                      </a:lnTo>
                      <a:lnTo>
                        <a:pt x="613" y="206"/>
                      </a:lnTo>
                      <a:lnTo>
                        <a:pt x="543" y="235"/>
                      </a:lnTo>
                      <a:lnTo>
                        <a:pt x="479" y="270"/>
                      </a:lnTo>
                      <a:lnTo>
                        <a:pt x="419" y="314"/>
                      </a:lnTo>
                      <a:lnTo>
                        <a:pt x="364" y="363"/>
                      </a:lnTo>
                      <a:lnTo>
                        <a:pt x="316" y="417"/>
                      </a:lnTo>
                      <a:lnTo>
                        <a:pt x="271" y="476"/>
                      </a:lnTo>
                      <a:lnTo>
                        <a:pt x="236" y="540"/>
                      </a:lnTo>
                      <a:lnTo>
                        <a:pt x="207" y="610"/>
                      </a:lnTo>
                      <a:lnTo>
                        <a:pt x="186" y="681"/>
                      </a:lnTo>
                      <a:lnTo>
                        <a:pt x="171" y="757"/>
                      </a:lnTo>
                      <a:lnTo>
                        <a:pt x="167" y="835"/>
                      </a:lnTo>
                      <a:lnTo>
                        <a:pt x="171" y="912"/>
                      </a:lnTo>
                      <a:lnTo>
                        <a:pt x="186" y="987"/>
                      </a:lnTo>
                      <a:lnTo>
                        <a:pt x="207" y="1060"/>
                      </a:lnTo>
                      <a:lnTo>
                        <a:pt x="236" y="1128"/>
                      </a:lnTo>
                      <a:lnTo>
                        <a:pt x="271" y="1192"/>
                      </a:lnTo>
                      <a:lnTo>
                        <a:pt x="316" y="1252"/>
                      </a:lnTo>
                      <a:lnTo>
                        <a:pt x="364" y="1306"/>
                      </a:lnTo>
                      <a:lnTo>
                        <a:pt x="419" y="1356"/>
                      </a:lnTo>
                      <a:lnTo>
                        <a:pt x="479" y="1399"/>
                      </a:lnTo>
                      <a:lnTo>
                        <a:pt x="543" y="1434"/>
                      </a:lnTo>
                      <a:lnTo>
                        <a:pt x="613" y="1464"/>
                      </a:lnTo>
                      <a:lnTo>
                        <a:pt x="685" y="1485"/>
                      </a:lnTo>
                      <a:lnTo>
                        <a:pt x="761" y="1498"/>
                      </a:lnTo>
                      <a:lnTo>
                        <a:pt x="840" y="1502"/>
                      </a:lnTo>
                      <a:lnTo>
                        <a:pt x="917" y="1498"/>
                      </a:lnTo>
                      <a:lnTo>
                        <a:pt x="993" y="1485"/>
                      </a:lnTo>
                      <a:lnTo>
                        <a:pt x="1066" y="1464"/>
                      </a:lnTo>
                      <a:lnTo>
                        <a:pt x="1134" y="1434"/>
                      </a:lnTo>
                      <a:lnTo>
                        <a:pt x="1199" y="1399"/>
                      </a:lnTo>
                      <a:lnTo>
                        <a:pt x="1259" y="1356"/>
                      </a:lnTo>
                      <a:lnTo>
                        <a:pt x="1313" y="1306"/>
                      </a:lnTo>
                      <a:lnTo>
                        <a:pt x="1363" y="1252"/>
                      </a:lnTo>
                      <a:lnTo>
                        <a:pt x="1406" y="1192"/>
                      </a:lnTo>
                      <a:lnTo>
                        <a:pt x="1442" y="1128"/>
                      </a:lnTo>
                      <a:lnTo>
                        <a:pt x="1472" y="1060"/>
                      </a:lnTo>
                      <a:lnTo>
                        <a:pt x="1493" y="987"/>
                      </a:lnTo>
                      <a:lnTo>
                        <a:pt x="1506" y="912"/>
                      </a:lnTo>
                      <a:lnTo>
                        <a:pt x="1511" y="835"/>
                      </a:lnTo>
                      <a:lnTo>
                        <a:pt x="1506" y="757"/>
                      </a:lnTo>
                      <a:lnTo>
                        <a:pt x="1493" y="681"/>
                      </a:lnTo>
                      <a:lnTo>
                        <a:pt x="1472" y="610"/>
                      </a:lnTo>
                      <a:lnTo>
                        <a:pt x="1442" y="540"/>
                      </a:lnTo>
                      <a:lnTo>
                        <a:pt x="1406" y="476"/>
                      </a:lnTo>
                      <a:lnTo>
                        <a:pt x="1363" y="417"/>
                      </a:lnTo>
                      <a:lnTo>
                        <a:pt x="1313" y="363"/>
                      </a:lnTo>
                      <a:lnTo>
                        <a:pt x="1259" y="314"/>
                      </a:lnTo>
                      <a:lnTo>
                        <a:pt x="1199" y="270"/>
                      </a:lnTo>
                      <a:lnTo>
                        <a:pt x="1134" y="235"/>
                      </a:lnTo>
                      <a:lnTo>
                        <a:pt x="1066" y="206"/>
                      </a:lnTo>
                      <a:lnTo>
                        <a:pt x="993" y="185"/>
                      </a:lnTo>
                      <a:lnTo>
                        <a:pt x="917" y="170"/>
                      </a:lnTo>
                      <a:lnTo>
                        <a:pt x="840" y="166"/>
                      </a:lnTo>
                      <a:close/>
                      <a:moveTo>
                        <a:pt x="840" y="0"/>
                      </a:moveTo>
                      <a:lnTo>
                        <a:pt x="925" y="4"/>
                      </a:lnTo>
                      <a:lnTo>
                        <a:pt x="1008" y="17"/>
                      </a:lnTo>
                      <a:lnTo>
                        <a:pt x="1088" y="38"/>
                      </a:lnTo>
                      <a:lnTo>
                        <a:pt x="1166" y="65"/>
                      </a:lnTo>
                      <a:lnTo>
                        <a:pt x="1239" y="101"/>
                      </a:lnTo>
                      <a:lnTo>
                        <a:pt x="1309" y="142"/>
                      </a:lnTo>
                      <a:lnTo>
                        <a:pt x="1373" y="190"/>
                      </a:lnTo>
                      <a:lnTo>
                        <a:pt x="1432" y="244"/>
                      </a:lnTo>
                      <a:lnTo>
                        <a:pt x="1486" y="304"/>
                      </a:lnTo>
                      <a:lnTo>
                        <a:pt x="1535" y="368"/>
                      </a:lnTo>
                      <a:lnTo>
                        <a:pt x="1578" y="437"/>
                      </a:lnTo>
                      <a:lnTo>
                        <a:pt x="1612" y="511"/>
                      </a:lnTo>
                      <a:lnTo>
                        <a:pt x="1641" y="586"/>
                      </a:lnTo>
                      <a:lnTo>
                        <a:pt x="1662" y="667"/>
                      </a:lnTo>
                      <a:lnTo>
                        <a:pt x="1674" y="750"/>
                      </a:lnTo>
                      <a:lnTo>
                        <a:pt x="1678" y="835"/>
                      </a:lnTo>
                      <a:lnTo>
                        <a:pt x="1674" y="920"/>
                      </a:lnTo>
                      <a:lnTo>
                        <a:pt x="1662" y="1003"/>
                      </a:lnTo>
                      <a:lnTo>
                        <a:pt x="1641" y="1083"/>
                      </a:lnTo>
                      <a:lnTo>
                        <a:pt x="1612" y="1159"/>
                      </a:lnTo>
                      <a:lnTo>
                        <a:pt x="1578" y="1232"/>
                      </a:lnTo>
                      <a:lnTo>
                        <a:pt x="1535" y="1302"/>
                      </a:lnTo>
                      <a:lnTo>
                        <a:pt x="1486" y="1366"/>
                      </a:lnTo>
                      <a:lnTo>
                        <a:pt x="1432" y="1424"/>
                      </a:lnTo>
                      <a:lnTo>
                        <a:pt x="1373" y="1478"/>
                      </a:lnTo>
                      <a:lnTo>
                        <a:pt x="1309" y="1527"/>
                      </a:lnTo>
                      <a:lnTo>
                        <a:pt x="1239" y="1569"/>
                      </a:lnTo>
                      <a:lnTo>
                        <a:pt x="1166" y="1603"/>
                      </a:lnTo>
                      <a:lnTo>
                        <a:pt x="1088" y="1632"/>
                      </a:lnTo>
                      <a:lnTo>
                        <a:pt x="1008" y="1653"/>
                      </a:lnTo>
                      <a:lnTo>
                        <a:pt x="925" y="1665"/>
                      </a:lnTo>
                      <a:lnTo>
                        <a:pt x="840" y="1669"/>
                      </a:lnTo>
                      <a:lnTo>
                        <a:pt x="754" y="1665"/>
                      </a:lnTo>
                      <a:lnTo>
                        <a:pt x="671" y="1653"/>
                      </a:lnTo>
                      <a:lnTo>
                        <a:pt x="589" y="1632"/>
                      </a:lnTo>
                      <a:lnTo>
                        <a:pt x="513" y="1603"/>
                      </a:lnTo>
                      <a:lnTo>
                        <a:pt x="439" y="1569"/>
                      </a:lnTo>
                      <a:lnTo>
                        <a:pt x="370" y="1527"/>
                      </a:lnTo>
                      <a:lnTo>
                        <a:pt x="306" y="1478"/>
                      </a:lnTo>
                      <a:lnTo>
                        <a:pt x="246" y="1424"/>
                      </a:lnTo>
                      <a:lnTo>
                        <a:pt x="191" y="1366"/>
                      </a:lnTo>
                      <a:lnTo>
                        <a:pt x="143" y="1302"/>
                      </a:lnTo>
                      <a:lnTo>
                        <a:pt x="101" y="1232"/>
                      </a:lnTo>
                      <a:lnTo>
                        <a:pt x="65" y="1159"/>
                      </a:lnTo>
                      <a:lnTo>
                        <a:pt x="38" y="1083"/>
                      </a:lnTo>
                      <a:lnTo>
                        <a:pt x="17" y="1003"/>
                      </a:lnTo>
                      <a:lnTo>
                        <a:pt x="4" y="920"/>
                      </a:lnTo>
                      <a:lnTo>
                        <a:pt x="0" y="835"/>
                      </a:lnTo>
                      <a:lnTo>
                        <a:pt x="4" y="750"/>
                      </a:lnTo>
                      <a:lnTo>
                        <a:pt x="17" y="667"/>
                      </a:lnTo>
                      <a:lnTo>
                        <a:pt x="38" y="586"/>
                      </a:lnTo>
                      <a:lnTo>
                        <a:pt x="65" y="511"/>
                      </a:lnTo>
                      <a:lnTo>
                        <a:pt x="101" y="437"/>
                      </a:lnTo>
                      <a:lnTo>
                        <a:pt x="143" y="368"/>
                      </a:lnTo>
                      <a:lnTo>
                        <a:pt x="191" y="304"/>
                      </a:lnTo>
                      <a:lnTo>
                        <a:pt x="246" y="244"/>
                      </a:lnTo>
                      <a:lnTo>
                        <a:pt x="306" y="190"/>
                      </a:lnTo>
                      <a:lnTo>
                        <a:pt x="370" y="142"/>
                      </a:lnTo>
                      <a:lnTo>
                        <a:pt x="439" y="101"/>
                      </a:lnTo>
                      <a:lnTo>
                        <a:pt x="513" y="65"/>
                      </a:lnTo>
                      <a:lnTo>
                        <a:pt x="589" y="38"/>
                      </a:lnTo>
                      <a:lnTo>
                        <a:pt x="671" y="17"/>
                      </a:lnTo>
                      <a:lnTo>
                        <a:pt x="754" y="4"/>
                      </a:lnTo>
                      <a:lnTo>
                        <a:pt x="840"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grpSp>
        </p:grpSp>
        <p:sp>
          <p:nvSpPr>
            <p:cNvPr id="26" name="TextBox 25">
              <a:extLst>
                <a:ext uri="{FF2B5EF4-FFF2-40B4-BE49-F238E27FC236}">
                  <a16:creationId xmlns:a16="http://schemas.microsoft.com/office/drawing/2014/main" id="{4A4E15AE-6F5D-F178-BEA4-FF49C97428E6}"/>
                </a:ext>
              </a:extLst>
            </p:cNvPr>
            <p:cNvSpPr txBox="1"/>
            <p:nvPr/>
          </p:nvSpPr>
          <p:spPr>
            <a:xfrm>
              <a:off x="2088640" y="5460522"/>
              <a:ext cx="2727312" cy="600164"/>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Network Testing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amp;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Verification</a:t>
              </a:r>
            </a:p>
          </p:txBody>
        </p:sp>
        <p:grpSp>
          <p:nvGrpSpPr>
            <p:cNvPr id="27" name="Group 26">
              <a:extLst>
                <a:ext uri="{FF2B5EF4-FFF2-40B4-BE49-F238E27FC236}">
                  <a16:creationId xmlns:a16="http://schemas.microsoft.com/office/drawing/2014/main" id="{41709B2C-33EE-1335-998F-BA7077C7D299}"/>
                </a:ext>
              </a:extLst>
            </p:cNvPr>
            <p:cNvGrpSpPr/>
            <p:nvPr/>
          </p:nvGrpSpPr>
          <p:grpSpPr>
            <a:xfrm>
              <a:off x="7045536" y="2390781"/>
              <a:ext cx="3824172" cy="1100355"/>
              <a:chOff x="9602028" y="2152678"/>
              <a:chExt cx="3824172" cy="1100355"/>
            </a:xfrm>
          </p:grpSpPr>
          <p:sp>
            <p:nvSpPr>
              <p:cNvPr id="28" name="TextBox 27">
                <a:extLst>
                  <a:ext uri="{FF2B5EF4-FFF2-40B4-BE49-F238E27FC236}">
                    <a16:creationId xmlns:a16="http://schemas.microsoft.com/office/drawing/2014/main" id="{AF646284-3815-45E4-54C1-F9B364DAB1C8}"/>
                  </a:ext>
                </a:extLst>
              </p:cNvPr>
              <p:cNvSpPr txBox="1"/>
              <p:nvPr/>
            </p:nvSpPr>
            <p:spPr>
              <a:xfrm>
                <a:off x="10698889" y="2178265"/>
                <a:ext cx="2727311" cy="261610"/>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itchFamily="34" charset="0"/>
                  </a:rPr>
                  <a:t>Broadband &amp; Fiber</a:t>
                </a:r>
              </a:p>
            </p:txBody>
          </p:sp>
          <p:sp>
            <p:nvSpPr>
              <p:cNvPr id="29" name="Freeform 15">
                <a:extLst>
                  <a:ext uri="{FF2B5EF4-FFF2-40B4-BE49-F238E27FC236}">
                    <a16:creationId xmlns:a16="http://schemas.microsoft.com/office/drawing/2014/main" id="{E21149CC-1562-803D-84F9-99D33448767F}"/>
                  </a:ext>
                </a:extLst>
              </p:cNvPr>
              <p:cNvSpPr>
                <a:spLocks/>
              </p:cNvSpPr>
              <p:nvPr/>
            </p:nvSpPr>
            <p:spPr bwMode="auto">
              <a:xfrm>
                <a:off x="9602028" y="2152678"/>
                <a:ext cx="1124544" cy="1100355"/>
              </a:xfrm>
              <a:custGeom>
                <a:avLst/>
                <a:gdLst>
                  <a:gd name="T0" fmla="*/ 500 w 952"/>
                  <a:gd name="T1" fmla="*/ 0 h 955"/>
                  <a:gd name="T2" fmla="*/ 552 w 952"/>
                  <a:gd name="T3" fmla="*/ 5 h 955"/>
                  <a:gd name="T4" fmla="*/ 603 w 952"/>
                  <a:gd name="T5" fmla="*/ 17 h 955"/>
                  <a:gd name="T6" fmla="*/ 653 w 952"/>
                  <a:gd name="T7" fmla="*/ 34 h 955"/>
                  <a:gd name="T8" fmla="*/ 700 w 952"/>
                  <a:gd name="T9" fmla="*/ 55 h 955"/>
                  <a:gd name="T10" fmla="*/ 746 w 952"/>
                  <a:gd name="T11" fmla="*/ 83 h 955"/>
                  <a:gd name="T12" fmla="*/ 788 w 952"/>
                  <a:gd name="T13" fmla="*/ 115 h 955"/>
                  <a:gd name="T14" fmla="*/ 827 w 952"/>
                  <a:gd name="T15" fmla="*/ 152 h 955"/>
                  <a:gd name="T16" fmla="*/ 861 w 952"/>
                  <a:gd name="T17" fmla="*/ 195 h 955"/>
                  <a:gd name="T18" fmla="*/ 891 w 952"/>
                  <a:gd name="T19" fmla="*/ 241 h 955"/>
                  <a:gd name="T20" fmla="*/ 916 w 952"/>
                  <a:gd name="T21" fmla="*/ 292 h 955"/>
                  <a:gd name="T22" fmla="*/ 934 w 952"/>
                  <a:gd name="T23" fmla="*/ 343 h 955"/>
                  <a:gd name="T24" fmla="*/ 947 w 952"/>
                  <a:gd name="T25" fmla="*/ 396 h 955"/>
                  <a:gd name="T26" fmla="*/ 952 w 952"/>
                  <a:gd name="T27" fmla="*/ 448 h 955"/>
                  <a:gd name="T28" fmla="*/ 952 w 952"/>
                  <a:gd name="T29" fmla="*/ 500 h 955"/>
                  <a:gd name="T30" fmla="*/ 947 w 952"/>
                  <a:gd name="T31" fmla="*/ 553 h 955"/>
                  <a:gd name="T32" fmla="*/ 937 w 952"/>
                  <a:gd name="T33" fmla="*/ 604 h 955"/>
                  <a:gd name="T34" fmla="*/ 920 w 952"/>
                  <a:gd name="T35" fmla="*/ 653 h 955"/>
                  <a:gd name="T36" fmla="*/ 897 w 952"/>
                  <a:gd name="T37" fmla="*/ 702 h 955"/>
                  <a:gd name="T38" fmla="*/ 870 w 952"/>
                  <a:gd name="T39" fmla="*/ 746 h 955"/>
                  <a:gd name="T40" fmla="*/ 839 w 952"/>
                  <a:gd name="T41" fmla="*/ 788 h 955"/>
                  <a:gd name="T42" fmla="*/ 801 w 952"/>
                  <a:gd name="T43" fmla="*/ 828 h 955"/>
                  <a:gd name="T44" fmla="*/ 759 w 952"/>
                  <a:gd name="T45" fmla="*/ 862 h 955"/>
                  <a:gd name="T46" fmla="*/ 712 w 952"/>
                  <a:gd name="T47" fmla="*/ 893 h 955"/>
                  <a:gd name="T48" fmla="*/ 662 w 952"/>
                  <a:gd name="T49" fmla="*/ 917 h 955"/>
                  <a:gd name="T50" fmla="*/ 611 w 952"/>
                  <a:gd name="T51" fmla="*/ 935 h 955"/>
                  <a:gd name="T52" fmla="*/ 559 w 952"/>
                  <a:gd name="T53" fmla="*/ 948 h 955"/>
                  <a:gd name="T54" fmla="*/ 505 w 952"/>
                  <a:gd name="T55" fmla="*/ 953 h 955"/>
                  <a:gd name="T56" fmla="*/ 453 w 952"/>
                  <a:gd name="T57" fmla="*/ 955 h 955"/>
                  <a:gd name="T58" fmla="*/ 400 w 952"/>
                  <a:gd name="T59" fmla="*/ 948 h 955"/>
                  <a:gd name="T60" fmla="*/ 349 w 952"/>
                  <a:gd name="T61" fmla="*/ 938 h 955"/>
                  <a:gd name="T62" fmla="*/ 300 w 952"/>
                  <a:gd name="T63" fmla="*/ 921 h 955"/>
                  <a:gd name="T64" fmla="*/ 252 w 952"/>
                  <a:gd name="T65" fmla="*/ 898 h 955"/>
                  <a:gd name="T66" fmla="*/ 207 w 952"/>
                  <a:gd name="T67" fmla="*/ 872 h 955"/>
                  <a:gd name="T68" fmla="*/ 165 w 952"/>
                  <a:gd name="T69" fmla="*/ 839 h 955"/>
                  <a:gd name="T70" fmla="*/ 127 w 952"/>
                  <a:gd name="T71" fmla="*/ 801 h 955"/>
                  <a:gd name="T72" fmla="*/ 91 w 952"/>
                  <a:gd name="T73" fmla="*/ 760 h 955"/>
                  <a:gd name="T74" fmla="*/ 61 w 952"/>
                  <a:gd name="T75" fmla="*/ 712 h 955"/>
                  <a:gd name="T76" fmla="*/ 37 w 952"/>
                  <a:gd name="T77" fmla="*/ 663 h 955"/>
                  <a:gd name="T78" fmla="*/ 18 w 952"/>
                  <a:gd name="T79" fmla="*/ 612 h 955"/>
                  <a:gd name="T80" fmla="*/ 6 w 952"/>
                  <a:gd name="T81" fmla="*/ 559 h 955"/>
                  <a:gd name="T82" fmla="*/ 0 w 952"/>
                  <a:gd name="T83" fmla="*/ 507 h 955"/>
                  <a:gd name="T84" fmla="*/ 0 w 952"/>
                  <a:gd name="T85" fmla="*/ 453 h 955"/>
                  <a:gd name="T86" fmla="*/ 5 w 952"/>
                  <a:gd name="T87" fmla="*/ 402 h 955"/>
                  <a:gd name="T88" fmla="*/ 17 w 952"/>
                  <a:gd name="T89" fmla="*/ 350 h 955"/>
                  <a:gd name="T90" fmla="*/ 33 w 952"/>
                  <a:gd name="T91" fmla="*/ 301 h 955"/>
                  <a:gd name="T92" fmla="*/ 55 w 952"/>
                  <a:gd name="T93" fmla="*/ 253 h 955"/>
                  <a:gd name="T94" fmla="*/ 82 w 952"/>
                  <a:gd name="T95" fmla="*/ 208 h 955"/>
                  <a:gd name="T96" fmla="*/ 115 w 952"/>
                  <a:gd name="T97" fmla="*/ 165 h 955"/>
                  <a:gd name="T98" fmla="*/ 152 w 952"/>
                  <a:gd name="T99" fmla="*/ 127 h 955"/>
                  <a:gd name="T100" fmla="*/ 194 w 952"/>
                  <a:gd name="T101" fmla="*/ 92 h 955"/>
                  <a:gd name="T102" fmla="*/ 241 w 952"/>
                  <a:gd name="T103" fmla="*/ 62 h 955"/>
                  <a:gd name="T104" fmla="*/ 290 w 952"/>
                  <a:gd name="T105" fmla="*/ 37 h 955"/>
                  <a:gd name="T106" fmla="*/ 343 w 952"/>
                  <a:gd name="T107" fmla="*/ 19 h 955"/>
                  <a:gd name="T108" fmla="*/ 395 w 952"/>
                  <a:gd name="T109" fmla="*/ 7 h 955"/>
                  <a:gd name="T110" fmla="*/ 447 w 952"/>
                  <a:gd name="T111" fmla="*/ 0 h 955"/>
                  <a:gd name="T112" fmla="*/ 500 w 952"/>
                  <a:gd name="T113" fmla="*/ 0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2" h="955">
                    <a:moveTo>
                      <a:pt x="500" y="0"/>
                    </a:moveTo>
                    <a:lnTo>
                      <a:pt x="552" y="5"/>
                    </a:lnTo>
                    <a:lnTo>
                      <a:pt x="603" y="17"/>
                    </a:lnTo>
                    <a:lnTo>
                      <a:pt x="653" y="34"/>
                    </a:lnTo>
                    <a:lnTo>
                      <a:pt x="700" y="55"/>
                    </a:lnTo>
                    <a:lnTo>
                      <a:pt x="746" y="83"/>
                    </a:lnTo>
                    <a:lnTo>
                      <a:pt x="788" y="115"/>
                    </a:lnTo>
                    <a:lnTo>
                      <a:pt x="827" y="152"/>
                    </a:lnTo>
                    <a:lnTo>
                      <a:pt x="861" y="195"/>
                    </a:lnTo>
                    <a:lnTo>
                      <a:pt x="891" y="241"/>
                    </a:lnTo>
                    <a:lnTo>
                      <a:pt x="916" y="292"/>
                    </a:lnTo>
                    <a:lnTo>
                      <a:pt x="934" y="343"/>
                    </a:lnTo>
                    <a:lnTo>
                      <a:pt x="947" y="396"/>
                    </a:lnTo>
                    <a:lnTo>
                      <a:pt x="952" y="448"/>
                    </a:lnTo>
                    <a:lnTo>
                      <a:pt x="952" y="500"/>
                    </a:lnTo>
                    <a:lnTo>
                      <a:pt x="947" y="553"/>
                    </a:lnTo>
                    <a:lnTo>
                      <a:pt x="937" y="604"/>
                    </a:lnTo>
                    <a:lnTo>
                      <a:pt x="920" y="653"/>
                    </a:lnTo>
                    <a:lnTo>
                      <a:pt x="897" y="702"/>
                    </a:lnTo>
                    <a:lnTo>
                      <a:pt x="870" y="746"/>
                    </a:lnTo>
                    <a:lnTo>
                      <a:pt x="839" y="788"/>
                    </a:lnTo>
                    <a:lnTo>
                      <a:pt x="801" y="828"/>
                    </a:lnTo>
                    <a:lnTo>
                      <a:pt x="759" y="862"/>
                    </a:lnTo>
                    <a:lnTo>
                      <a:pt x="712" y="893"/>
                    </a:lnTo>
                    <a:lnTo>
                      <a:pt x="662" y="917"/>
                    </a:lnTo>
                    <a:lnTo>
                      <a:pt x="611" y="935"/>
                    </a:lnTo>
                    <a:lnTo>
                      <a:pt x="559" y="948"/>
                    </a:lnTo>
                    <a:lnTo>
                      <a:pt x="505" y="953"/>
                    </a:lnTo>
                    <a:lnTo>
                      <a:pt x="453" y="955"/>
                    </a:lnTo>
                    <a:lnTo>
                      <a:pt x="400" y="948"/>
                    </a:lnTo>
                    <a:lnTo>
                      <a:pt x="349" y="938"/>
                    </a:lnTo>
                    <a:lnTo>
                      <a:pt x="300" y="921"/>
                    </a:lnTo>
                    <a:lnTo>
                      <a:pt x="252" y="898"/>
                    </a:lnTo>
                    <a:lnTo>
                      <a:pt x="207" y="872"/>
                    </a:lnTo>
                    <a:lnTo>
                      <a:pt x="165" y="839"/>
                    </a:lnTo>
                    <a:lnTo>
                      <a:pt x="127" y="801"/>
                    </a:lnTo>
                    <a:lnTo>
                      <a:pt x="91" y="760"/>
                    </a:lnTo>
                    <a:lnTo>
                      <a:pt x="61" y="712"/>
                    </a:lnTo>
                    <a:lnTo>
                      <a:pt x="37" y="663"/>
                    </a:lnTo>
                    <a:lnTo>
                      <a:pt x="18" y="612"/>
                    </a:lnTo>
                    <a:lnTo>
                      <a:pt x="6" y="559"/>
                    </a:lnTo>
                    <a:lnTo>
                      <a:pt x="0" y="507"/>
                    </a:lnTo>
                    <a:lnTo>
                      <a:pt x="0" y="453"/>
                    </a:lnTo>
                    <a:lnTo>
                      <a:pt x="5" y="402"/>
                    </a:lnTo>
                    <a:lnTo>
                      <a:pt x="17" y="350"/>
                    </a:lnTo>
                    <a:lnTo>
                      <a:pt x="33" y="301"/>
                    </a:lnTo>
                    <a:lnTo>
                      <a:pt x="55" y="253"/>
                    </a:lnTo>
                    <a:lnTo>
                      <a:pt x="82" y="208"/>
                    </a:lnTo>
                    <a:lnTo>
                      <a:pt x="115" y="165"/>
                    </a:lnTo>
                    <a:lnTo>
                      <a:pt x="152" y="127"/>
                    </a:lnTo>
                    <a:lnTo>
                      <a:pt x="194" y="92"/>
                    </a:lnTo>
                    <a:lnTo>
                      <a:pt x="241" y="62"/>
                    </a:lnTo>
                    <a:lnTo>
                      <a:pt x="290" y="37"/>
                    </a:lnTo>
                    <a:lnTo>
                      <a:pt x="343" y="19"/>
                    </a:lnTo>
                    <a:lnTo>
                      <a:pt x="395" y="7"/>
                    </a:lnTo>
                    <a:lnTo>
                      <a:pt x="447" y="0"/>
                    </a:lnTo>
                    <a:lnTo>
                      <a:pt x="500" y="0"/>
                    </a:lnTo>
                    <a:close/>
                  </a:path>
                </a:pathLst>
              </a:custGeom>
              <a:solidFill>
                <a:schemeClr val="tx2">
                  <a:lumMod val="75000"/>
                </a:schemeClr>
              </a:solid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pic>
            <p:nvPicPr>
              <p:cNvPr id="30" name="Graphic 29" descr="Workflow outline">
                <a:extLst>
                  <a:ext uri="{FF2B5EF4-FFF2-40B4-BE49-F238E27FC236}">
                    <a16:creationId xmlns:a16="http://schemas.microsoft.com/office/drawing/2014/main" id="{F4A9D206-70F9-FE40-B872-FBE9E01A389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760060" y="2298614"/>
                <a:ext cx="808481" cy="808481"/>
              </a:xfrm>
              <a:prstGeom prst="rect">
                <a:avLst/>
              </a:prstGeom>
            </p:spPr>
          </p:pic>
        </p:grpSp>
      </p:grpSp>
    </p:spTree>
    <p:extLst>
      <p:ext uri="{BB962C8B-B14F-4D97-AF65-F5344CB8AC3E}">
        <p14:creationId xmlns:p14="http://schemas.microsoft.com/office/powerpoint/2010/main" val="21044150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Content Placeholder 5">
            <a:extLst>
              <a:ext uri="{FF2B5EF4-FFF2-40B4-BE49-F238E27FC236}">
                <a16:creationId xmlns:a16="http://schemas.microsoft.com/office/drawing/2014/main" id="{D3479FBE-22D9-2788-069A-77BCEB625C3E}"/>
              </a:ext>
            </a:extLst>
          </p:cNvPr>
          <p:cNvPicPr>
            <a:picLocks noGrp="1" noChangeAspect="1"/>
          </p:cNvPicPr>
          <p:nvPr>
            <p:ph idx="1"/>
          </p:nvPr>
        </p:nvPicPr>
        <p:blipFill>
          <a:blip r:embed="rId2"/>
          <a:stretch>
            <a:fillRect/>
          </a:stretch>
        </p:blipFill>
        <p:spPr>
          <a:xfrm>
            <a:off x="1423579" y="177111"/>
            <a:ext cx="9670405" cy="6503350"/>
          </a:xfrm>
          <a:prstGeom prst="rect">
            <a:avLst/>
          </a:prstGeom>
        </p:spPr>
      </p:pic>
      <p:sp>
        <p:nvSpPr>
          <p:cNvPr id="4" name="Slide Number Placeholder 3">
            <a:extLst>
              <a:ext uri="{FF2B5EF4-FFF2-40B4-BE49-F238E27FC236}">
                <a16:creationId xmlns:a16="http://schemas.microsoft.com/office/drawing/2014/main" id="{DE86C844-861D-CC04-D177-A29153B61A75}"/>
              </a:ext>
            </a:extLst>
          </p:cNvPr>
          <p:cNvSpPr>
            <a:spLocks noGrp="1"/>
          </p:cNvSpPr>
          <p:nvPr>
            <p:ph type="sldNum" sz="quarter" idx="12"/>
          </p:nvPr>
        </p:nvSpPr>
        <p:spPr>
          <a:xfrm>
            <a:off x="11704320" y="6455664"/>
            <a:ext cx="448056"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23CFFA4C-0D1C-425F-BB04-E50ADD4A39B0}" type="slidenum">
              <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9</a:t>
            </a:fld>
            <a:endPar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50154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6E3D7-B3AC-56C9-8E40-F616D159DB00}"/>
              </a:ext>
            </a:extLst>
          </p:cNvPr>
          <p:cNvSpPr>
            <a:spLocks noGrp="1"/>
          </p:cNvSpPr>
          <p:nvPr>
            <p:ph type="title"/>
          </p:nvPr>
        </p:nvSpPr>
        <p:spPr/>
        <p:txBody>
          <a:bodyPr/>
          <a:lstStyle/>
          <a:p>
            <a:r>
              <a:rPr lang="en-US" dirty="0">
                <a:latin typeface="Tahoma" panose="020B0604030504040204" pitchFamily="34" charset="0"/>
              </a:rPr>
              <a:t>Why Washington and Pennsylvania?</a:t>
            </a:r>
          </a:p>
        </p:txBody>
      </p:sp>
      <p:sp>
        <p:nvSpPr>
          <p:cNvPr id="3" name="Content Placeholder 2">
            <a:extLst>
              <a:ext uri="{FF2B5EF4-FFF2-40B4-BE49-F238E27FC236}">
                <a16:creationId xmlns:a16="http://schemas.microsoft.com/office/drawing/2014/main" id="{870A929F-F1D1-1A40-E6FF-BACDD99A2A2E}"/>
              </a:ext>
            </a:extLst>
          </p:cNvPr>
          <p:cNvSpPr>
            <a:spLocks noGrp="1"/>
          </p:cNvSpPr>
          <p:nvPr>
            <p:ph idx="1"/>
          </p:nvPr>
        </p:nvSpPr>
        <p:spPr>
          <a:xfrm>
            <a:off x="838200" y="1333042"/>
            <a:ext cx="6844747" cy="3960318"/>
          </a:xfrm>
        </p:spPr>
        <p:txBody>
          <a:bodyPr/>
          <a:lstStyle/>
          <a:p>
            <a:r>
              <a:rPr lang="en-US" dirty="0">
                <a:latin typeface="Tahoma" panose="020B0604030504040204" pitchFamily="34" charset="0"/>
              </a:rPr>
              <a:t>Billion-dollar BEAD states</a:t>
            </a:r>
          </a:p>
          <a:p>
            <a:pPr lvl="1"/>
            <a:r>
              <a:rPr lang="en-US" dirty="0">
                <a:latin typeface="Tahoma" panose="020B0604030504040204" pitchFamily="34" charset="0"/>
              </a:rPr>
              <a:t>Washington $1.2 billion</a:t>
            </a:r>
          </a:p>
          <a:p>
            <a:pPr lvl="1"/>
            <a:r>
              <a:rPr lang="en-US" dirty="0">
                <a:latin typeface="Tahoma" panose="020B0604030504040204" pitchFamily="34" charset="0"/>
              </a:rPr>
              <a:t>Pennsylvania $1.16 billion</a:t>
            </a:r>
          </a:p>
          <a:p>
            <a:r>
              <a:rPr lang="en-US" dirty="0">
                <a:latin typeface="Tahoma" panose="020B0604030504040204" pitchFamily="34" charset="0"/>
              </a:rPr>
              <a:t>Challenging topography and population densities that necessitates use of non-fiber broadband technologies.</a:t>
            </a:r>
          </a:p>
          <a:p>
            <a:r>
              <a:rPr lang="en-US" dirty="0">
                <a:latin typeface="Tahoma" panose="020B0604030504040204" pitchFamily="34" charset="0"/>
              </a:rPr>
              <a:t>Washington SBO will allow providers to submit project bids using multiple technologies (fiber + licensed fixed wireless, etc.)</a:t>
            </a:r>
          </a:p>
          <a:p>
            <a:r>
              <a:rPr lang="en-US" dirty="0">
                <a:latin typeface="Tahoma" panose="020B0604030504040204" pitchFamily="34" charset="0"/>
              </a:rPr>
              <a:t>Strong IP Volume 2’s with early NTIA approval</a:t>
            </a:r>
          </a:p>
          <a:p>
            <a:endParaRPr lang="en-US" dirty="0"/>
          </a:p>
        </p:txBody>
      </p:sp>
      <p:pic>
        <p:nvPicPr>
          <p:cNvPr id="5" name="Picture 4" descr="A black map of washington&#10;&#10;Description automatically generated">
            <a:extLst>
              <a:ext uri="{FF2B5EF4-FFF2-40B4-BE49-F238E27FC236}">
                <a16:creationId xmlns:a16="http://schemas.microsoft.com/office/drawing/2014/main" id="{35C902BB-5E1E-A224-32F5-1930B6122225}"/>
              </a:ext>
            </a:extLst>
          </p:cNvPr>
          <p:cNvPicPr>
            <a:picLocks noChangeAspect="1"/>
          </p:cNvPicPr>
          <p:nvPr/>
        </p:nvPicPr>
        <p:blipFill>
          <a:blip r:embed="rId2">
            <a:biLevel thresh="25000"/>
            <a:extLst>
              <a:ext uri="{BEBA8EAE-BF5A-486C-A8C5-ECC9F3942E4B}">
                <a14:imgProps xmlns:a14="http://schemas.microsoft.com/office/drawing/2010/main">
                  <a14:imgLayer r:embed="rId3">
                    <a14:imgEffect>
                      <a14:colorTemperature colorTemp="6600"/>
                    </a14:imgEffect>
                  </a14:imgLayer>
                </a14:imgProps>
              </a:ext>
            </a:extLst>
          </a:blip>
          <a:stretch>
            <a:fillRect/>
          </a:stretch>
        </p:blipFill>
        <p:spPr>
          <a:xfrm>
            <a:off x="7909666" y="928034"/>
            <a:ext cx="2564185" cy="1864862"/>
          </a:xfrm>
          <a:prstGeom prst="rect">
            <a:avLst/>
          </a:prstGeom>
        </p:spPr>
      </p:pic>
      <p:pic>
        <p:nvPicPr>
          <p:cNvPr id="7" name="Picture 6" descr="A black outline of the state of pennsylvania&#10;&#10;Description automatically generated">
            <a:extLst>
              <a:ext uri="{FF2B5EF4-FFF2-40B4-BE49-F238E27FC236}">
                <a16:creationId xmlns:a16="http://schemas.microsoft.com/office/drawing/2014/main" id="{4DBCE18B-D1B8-0FAF-18BB-5EEC510B9EB7}"/>
              </a:ext>
            </a:extLst>
          </p:cNvPr>
          <p:cNvPicPr>
            <a:picLocks noChangeAspect="1"/>
          </p:cNvPicPr>
          <p:nvPr/>
        </p:nvPicPr>
        <p:blipFill>
          <a:blip r:embed="rId4"/>
          <a:stretch>
            <a:fillRect/>
          </a:stretch>
        </p:blipFill>
        <p:spPr>
          <a:xfrm>
            <a:off x="8222144" y="3038502"/>
            <a:ext cx="2254857" cy="2254857"/>
          </a:xfrm>
          <a:prstGeom prst="rect">
            <a:avLst/>
          </a:prstGeom>
        </p:spPr>
      </p:pic>
    </p:spTree>
    <p:extLst>
      <p:ext uri="{BB962C8B-B14F-4D97-AF65-F5344CB8AC3E}">
        <p14:creationId xmlns:p14="http://schemas.microsoft.com/office/powerpoint/2010/main" val="21572873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BAFCE7-2891-D1AA-0DCC-AC9B62D08C3F}"/>
              </a:ext>
            </a:extLst>
          </p:cNvPr>
          <p:cNvSpPr>
            <a:spLocks noGrp="1"/>
          </p:cNvSpPr>
          <p:nvPr>
            <p:ph idx="1"/>
          </p:nvPr>
        </p:nvSpPr>
        <p:spPr>
          <a:xfrm>
            <a:off x="838200" y="3710354"/>
            <a:ext cx="10515600" cy="2977452"/>
          </a:xfrm>
        </p:spPr>
        <p:txBody>
          <a:bodyPr>
            <a:normAutofit/>
          </a:bodyPr>
          <a:lstStyle/>
          <a:p>
            <a:pPr marL="0" indent="0" algn="l" fontAlgn="base">
              <a:buNone/>
            </a:pPr>
            <a:endParaRPr lang="en-US" sz="1800" b="1" dirty="0">
              <a:solidFill>
                <a:srgbClr val="000000"/>
              </a:solidFill>
              <a:latin typeface="Aptos" panose="020B0004020202020204" pitchFamily="34" charset="0"/>
            </a:endParaRPr>
          </a:p>
          <a:p>
            <a:pPr marL="0" indent="0" algn="l" fontAlgn="base">
              <a:buNone/>
            </a:pPr>
            <a:endParaRPr lang="en-US" b="0" i="0" dirty="0">
              <a:solidFill>
                <a:srgbClr val="242424"/>
              </a:solidFill>
              <a:effectLst/>
              <a:latin typeface="Segoe UI" panose="020B0502040204020203" pitchFamily="34" charset="0"/>
            </a:endParaRPr>
          </a:p>
          <a:p>
            <a:pPr algn="l" fontAlgn="base"/>
            <a:r>
              <a:rPr lang="en-US" sz="2400" b="1" i="0" dirty="0">
                <a:solidFill>
                  <a:srgbClr val="000000"/>
                </a:solidFill>
                <a:effectLst/>
                <a:latin typeface="Aptos" panose="020B0004020202020204" pitchFamily="34" charset="0"/>
              </a:rPr>
              <a:t>Financing Solutions:</a:t>
            </a:r>
            <a:r>
              <a:rPr lang="en-US" sz="2400" b="0" i="0" dirty="0">
                <a:solidFill>
                  <a:srgbClr val="000000"/>
                </a:solidFill>
                <a:effectLst/>
                <a:latin typeface="Aptos" panose="020B0004020202020204" pitchFamily="34" charset="0"/>
              </a:rPr>
              <a:t> Tailored financing options for both </a:t>
            </a:r>
            <a:r>
              <a:rPr lang="en-US" sz="2400" b="1" i="0" dirty="0">
                <a:solidFill>
                  <a:srgbClr val="C00000"/>
                </a:solidFill>
                <a:effectLst/>
                <a:latin typeface="Aptos" panose="020B0004020202020204" pitchFamily="34" charset="0"/>
              </a:rPr>
              <a:t>services</a:t>
            </a:r>
            <a:r>
              <a:rPr lang="en-US" sz="2400" b="0" i="0" dirty="0">
                <a:solidFill>
                  <a:srgbClr val="000000"/>
                </a:solidFill>
                <a:effectLst/>
                <a:latin typeface="Aptos" panose="020B0004020202020204" pitchFamily="34" charset="0"/>
              </a:rPr>
              <a:t> and </a:t>
            </a:r>
            <a:r>
              <a:rPr lang="en-US" sz="2400" b="1" i="0" dirty="0">
                <a:solidFill>
                  <a:srgbClr val="C00000"/>
                </a:solidFill>
                <a:effectLst/>
                <a:latin typeface="Aptos" panose="020B0004020202020204" pitchFamily="34" charset="0"/>
              </a:rPr>
              <a:t>equipment</a:t>
            </a:r>
            <a:r>
              <a:rPr lang="en-US" sz="2400" b="0" i="0" dirty="0">
                <a:solidFill>
                  <a:srgbClr val="000000"/>
                </a:solidFill>
                <a:effectLst/>
                <a:latin typeface="Aptos" panose="020B0004020202020204" pitchFamily="34" charset="0"/>
              </a:rPr>
              <a:t>, enabling project execution without upfront capital constraints.</a:t>
            </a:r>
            <a:endParaRPr lang="en-US" sz="2400" b="0" i="0" dirty="0">
              <a:solidFill>
                <a:srgbClr val="242424"/>
              </a:solidFill>
              <a:effectLst/>
              <a:latin typeface="Segoe UI" panose="020B0502040204020203" pitchFamily="34" charset="0"/>
            </a:endParaRPr>
          </a:p>
          <a:p>
            <a:pPr algn="l" fontAlgn="base"/>
            <a:r>
              <a:rPr lang="en-US" sz="2400" b="1" i="0" dirty="0">
                <a:solidFill>
                  <a:srgbClr val="000000"/>
                </a:solidFill>
                <a:effectLst/>
                <a:latin typeface="Aptos" panose="020B0004020202020204" pitchFamily="34" charset="0"/>
              </a:rPr>
              <a:t>Comprehensive Support:</a:t>
            </a:r>
            <a:r>
              <a:rPr lang="en-US" sz="2400" b="0" i="0" dirty="0">
                <a:solidFill>
                  <a:srgbClr val="000000"/>
                </a:solidFill>
                <a:effectLst/>
                <a:latin typeface="Aptos" panose="020B0004020202020204" pitchFamily="34" charset="0"/>
              </a:rPr>
              <a:t> From project inception to completion, our financial services are designed to empower applicants, ensuring compliance and enhancing project viability.</a:t>
            </a:r>
            <a:endParaRPr lang="en-US" sz="2400" b="0" i="0" dirty="0">
              <a:solidFill>
                <a:srgbClr val="242424"/>
              </a:solidFill>
              <a:effectLst/>
              <a:latin typeface="Segoe UI" panose="020B0502040204020203" pitchFamily="34" charset="0"/>
            </a:endParaRPr>
          </a:p>
          <a:p>
            <a:endParaRPr lang="en-US" dirty="0"/>
          </a:p>
        </p:txBody>
      </p:sp>
      <p:pic>
        <p:nvPicPr>
          <p:cNvPr id="4" name="Picture 2" descr="Why Partner With LEAF - Financing Products - LEAF Commercial Capital, Inc.">
            <a:extLst>
              <a:ext uri="{FF2B5EF4-FFF2-40B4-BE49-F238E27FC236}">
                <a16:creationId xmlns:a16="http://schemas.microsoft.com/office/drawing/2014/main" id="{4115D701-FFB9-4982-0034-CF6C935E5F52}"/>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191607" y="2371356"/>
            <a:ext cx="5808785" cy="1552579"/>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5" name="Picture 4" descr="MasterHeader2.png">
            <a:extLst>
              <a:ext uri="{FF2B5EF4-FFF2-40B4-BE49-F238E27FC236}">
                <a16:creationId xmlns:a16="http://schemas.microsoft.com/office/drawing/2014/main" id="{6E4917A8-D149-CF8E-5A55-FF2F7309293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16" cy="2286000"/>
          </a:xfrm>
          <a:prstGeom prst="rect">
            <a:avLst/>
          </a:prstGeom>
        </p:spPr>
      </p:pic>
      <p:sp>
        <p:nvSpPr>
          <p:cNvPr id="6" name="Slide Number Placeholder 5">
            <a:extLst>
              <a:ext uri="{FF2B5EF4-FFF2-40B4-BE49-F238E27FC236}">
                <a16:creationId xmlns:a16="http://schemas.microsoft.com/office/drawing/2014/main" id="{C3A9DB97-E15A-670A-A878-49838EABAFB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CFFA4C-0D1C-425F-BB04-E50ADD4A39B0}"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57305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0" name="Rectangle 29">
            <a:extLst>
              <a:ext uri="{FF2B5EF4-FFF2-40B4-BE49-F238E27FC236}">
                <a16:creationId xmlns:a16="http://schemas.microsoft.com/office/drawing/2014/main" id="{5A59F003-E00A-43F9-91DC-CC54E3B874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720A6DC1-D05A-31B6-BCD4-CD74E6CBC0C0}"/>
              </a:ext>
            </a:extLst>
          </p:cNvPr>
          <p:cNvPicPr>
            <a:picLocks noChangeAspect="1"/>
          </p:cNvPicPr>
          <p:nvPr/>
        </p:nvPicPr>
        <p:blipFill rotWithShape="1">
          <a:blip r:embed="rId2"/>
          <a:srcRect l="13326" t="9091" r="9502" b="-1"/>
          <a:stretch/>
        </p:blipFill>
        <p:spPr>
          <a:xfrm>
            <a:off x="20" y="10"/>
            <a:ext cx="12191981" cy="6857990"/>
          </a:xfrm>
          <a:prstGeom prst="rect">
            <a:avLst/>
          </a:prstGeom>
        </p:spPr>
      </p:pic>
      <p:sp>
        <p:nvSpPr>
          <p:cNvPr id="32" name="Rectangle 31">
            <a:extLst>
              <a:ext uri="{FF2B5EF4-FFF2-40B4-BE49-F238E27FC236}">
                <a16:creationId xmlns:a16="http://schemas.microsoft.com/office/drawing/2014/main" id="{D74A4382-E3AD-430A-9A1F-DFA3E0E77A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799865" y="-1524511"/>
            <a:ext cx="4592270" cy="12192001"/>
          </a:xfrm>
          <a:prstGeom prst="rect">
            <a:avLst/>
          </a:prstGeom>
          <a:gradFill>
            <a:gsLst>
              <a:gs pos="35000">
                <a:schemeClr val="tx1">
                  <a:alpha val="46000"/>
                </a:schemeClr>
              </a:gs>
              <a:gs pos="21000">
                <a:schemeClr val="tx1">
                  <a:alpha val="30000"/>
                </a:schemeClr>
              </a:gs>
              <a:gs pos="0">
                <a:schemeClr val="tx1">
                  <a:alpha val="0"/>
                </a:schemeClr>
              </a:gs>
              <a:gs pos="100000">
                <a:schemeClr val="tx1">
                  <a:alpha val="9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E209B62-9085-CA3D-F856-B7F61BE1A0A9}"/>
              </a:ext>
            </a:extLst>
          </p:cNvPr>
          <p:cNvSpPr>
            <a:spLocks noGrp="1"/>
          </p:cNvSpPr>
          <p:nvPr>
            <p:ph type="title"/>
          </p:nvPr>
        </p:nvSpPr>
        <p:spPr>
          <a:xfrm>
            <a:off x="404553" y="3091928"/>
            <a:ext cx="9078562" cy="2387600"/>
          </a:xfrm>
        </p:spPr>
        <p:txBody>
          <a:bodyPr vert="horz" lIns="91440" tIns="45720" rIns="91440" bIns="45720" rtlCol="0" anchor="b">
            <a:normAutofit/>
          </a:bodyPr>
          <a:lstStyle/>
          <a:p>
            <a:r>
              <a:rPr lang="en-US" sz="6600">
                <a:solidFill>
                  <a:schemeClr val="bg1"/>
                </a:solidFill>
              </a:rPr>
              <a:t>Winncom BEAD Portal</a:t>
            </a:r>
          </a:p>
        </p:txBody>
      </p:sp>
      <p:sp>
        <p:nvSpPr>
          <p:cNvPr id="34" name="Rectangle: Rounded Corners 33">
            <a:extLst>
              <a:ext uri="{FF2B5EF4-FFF2-40B4-BE49-F238E27FC236}">
                <a16:creationId xmlns:a16="http://schemas.microsoft.com/office/drawing/2014/main" id="{79F40191-0F44-4FD1-82CC-ACB507C14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575039"/>
            <a:ext cx="9785897" cy="68580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0FC570A9-E360-9763-4BCD-7771D54BE451}"/>
              </a:ext>
            </a:extLst>
          </p:cNvPr>
          <p:cNvSpPr>
            <a:spLocks noGrp="1"/>
          </p:cNvSpPr>
          <p:nvPr>
            <p:ph type="sldNum" sz="quarter" idx="12"/>
          </p:nvPr>
        </p:nvSpPr>
        <p:spPr>
          <a:xfrm>
            <a:off x="9041199" y="6356350"/>
            <a:ext cx="2743200" cy="365125"/>
          </a:xfrm>
        </p:spPr>
        <p:txBody>
          <a:bodyPr vert="horz" lIns="91440" tIns="45720" rIns="91440" bIns="45720" rtlCol="0" anchor="ctr">
            <a:normAutofit/>
          </a:bodyPr>
          <a:lstStyle/>
          <a:p>
            <a:pPr>
              <a:spcAft>
                <a:spcPts val="600"/>
              </a:spcAft>
              <a:defRPr/>
            </a:pPr>
            <a:fld id="{535878F3-CD42-4FA4-B835-F0690F02FFD1}" type="slidenum">
              <a:rPr lang="en-US">
                <a:solidFill>
                  <a:schemeClr val="bg1"/>
                </a:solidFill>
                <a:latin typeface="Calibri" panose="020F0502020204030204"/>
              </a:rPr>
              <a:pPr>
                <a:spcAft>
                  <a:spcPts val="600"/>
                </a:spcAft>
                <a:defRPr/>
              </a:pPr>
              <a:t>41</a:t>
            </a:fld>
            <a:endParaRPr lang="en-US">
              <a:solidFill>
                <a:schemeClr val="bg1"/>
              </a:solidFill>
              <a:latin typeface="Calibri" panose="020F0502020204030204"/>
            </a:endParaRPr>
          </a:p>
        </p:txBody>
      </p:sp>
    </p:spTree>
    <p:extLst>
      <p:ext uri="{BB962C8B-B14F-4D97-AF65-F5344CB8AC3E}">
        <p14:creationId xmlns:p14="http://schemas.microsoft.com/office/powerpoint/2010/main" val="28728530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F414E4-F529-3036-7F02-4C8082E116E4}"/>
              </a:ext>
            </a:extLst>
          </p:cNvPr>
          <p:cNvSpPr>
            <a:spLocks noGrp="1"/>
          </p:cNvSpPr>
          <p:nvPr>
            <p:ph idx="1"/>
          </p:nvPr>
        </p:nvSpPr>
        <p:spPr>
          <a:xfrm>
            <a:off x="298939" y="2055817"/>
            <a:ext cx="10515600" cy="4351338"/>
          </a:xfrm>
        </p:spPr>
        <p:txBody>
          <a:bodyPr>
            <a:normAutofit/>
          </a:bodyPr>
          <a:lstStyle/>
          <a:p>
            <a:pPr marL="0" indent="0">
              <a:buNone/>
            </a:pPr>
            <a:r>
              <a:rPr lang="en-US" b="1" dirty="0"/>
              <a:t>Action Items:</a:t>
            </a:r>
          </a:p>
          <a:p>
            <a:pPr marL="0" indent="0">
              <a:buNone/>
            </a:pPr>
            <a:endParaRPr lang="en-US" dirty="0"/>
          </a:p>
          <a:p>
            <a:pPr marL="457200" indent="-457200">
              <a:buFont typeface="+mj-lt"/>
              <a:buAutoNum type="arabicPeriod"/>
            </a:pPr>
            <a:r>
              <a:rPr lang="en-US" dirty="0"/>
              <a:t>Schedule a consultation to strategize on positioning your company for a successful BEAD application in your state</a:t>
            </a:r>
          </a:p>
          <a:p>
            <a:pPr marL="457200" indent="-457200">
              <a:buAutoNum type="arabicPeriod"/>
            </a:pPr>
            <a:r>
              <a:rPr lang="en-US" dirty="0"/>
              <a:t>Schedule a call to learn more about </a:t>
            </a:r>
            <a:r>
              <a:rPr lang="en-US" b="1" dirty="0">
                <a:solidFill>
                  <a:schemeClr val="tx2"/>
                </a:solidFill>
              </a:rPr>
              <a:t>Winncom BEAD Programs</a:t>
            </a:r>
          </a:p>
          <a:p>
            <a:pPr marL="0" indent="0">
              <a:buNone/>
            </a:pPr>
            <a:endParaRPr lang="en-US" dirty="0"/>
          </a:p>
          <a:p>
            <a:pPr marL="0" indent="0">
              <a:buNone/>
            </a:pPr>
            <a:r>
              <a:rPr lang="en-US" b="1" dirty="0"/>
              <a:t>Contact Information</a:t>
            </a:r>
          </a:p>
          <a:p>
            <a:pPr marL="0" indent="0">
              <a:buNone/>
            </a:pPr>
            <a:r>
              <a:rPr lang="en-US" dirty="0"/>
              <a:t>Winncom Bead Consultation: </a:t>
            </a:r>
            <a:r>
              <a:rPr lang="en-US" dirty="0">
                <a:hlinkClick r:id="rId2"/>
              </a:rPr>
              <a:t>bead@winncom.com</a:t>
            </a:r>
            <a:r>
              <a:rPr lang="en-US" dirty="0"/>
              <a:t> </a:t>
            </a:r>
          </a:p>
          <a:p>
            <a:pPr marL="0" indent="0">
              <a:buNone/>
            </a:pPr>
            <a:endParaRPr lang="en-US" dirty="0"/>
          </a:p>
          <a:p>
            <a:pPr marL="0" indent="0">
              <a:buNone/>
            </a:pPr>
            <a:r>
              <a:rPr lang="en-US" b="1" dirty="0"/>
              <a:t>Winncom BEAD Portal</a:t>
            </a:r>
          </a:p>
          <a:p>
            <a:pPr marL="0" indent="0">
              <a:buNone/>
            </a:pPr>
            <a:r>
              <a:rPr lang="en-US" dirty="0"/>
              <a:t>Registration Link</a:t>
            </a:r>
            <a:r>
              <a:rPr lang="en-US" b="1" dirty="0"/>
              <a:t>: </a:t>
            </a:r>
            <a:r>
              <a:rPr lang="en-US" b="1" dirty="0">
                <a:hlinkClick r:id="rId3"/>
              </a:rPr>
              <a:t>www.winncomus.com/bead/</a:t>
            </a:r>
            <a:r>
              <a:rPr lang="en-US" b="1" dirty="0"/>
              <a:t> </a:t>
            </a:r>
          </a:p>
          <a:p>
            <a:pPr marL="0" indent="0">
              <a:buNone/>
            </a:pPr>
            <a:endParaRPr lang="en-US" dirty="0"/>
          </a:p>
        </p:txBody>
      </p:sp>
      <p:pic>
        <p:nvPicPr>
          <p:cNvPr id="5" name="Picture 4" descr="A blue and red striped background">
            <a:extLst>
              <a:ext uri="{FF2B5EF4-FFF2-40B4-BE49-F238E27FC236}">
                <a16:creationId xmlns:a16="http://schemas.microsoft.com/office/drawing/2014/main" id="{62A7AB60-0E97-85A5-E6D1-9E70B7BED39D}"/>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 y="0"/>
            <a:ext cx="12191997" cy="2088705"/>
          </a:xfrm>
          <a:prstGeom prst="rect">
            <a:avLst/>
          </a:prstGeom>
        </p:spPr>
      </p:pic>
      <p:sp>
        <p:nvSpPr>
          <p:cNvPr id="7" name="Slide Number Placeholder 6">
            <a:extLst>
              <a:ext uri="{FF2B5EF4-FFF2-40B4-BE49-F238E27FC236}">
                <a16:creationId xmlns:a16="http://schemas.microsoft.com/office/drawing/2014/main" id="{F13A362E-725A-D85D-292E-86D732A9E70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CFFA4C-0D1C-425F-BB04-E50ADD4A39B0}"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966AFE21-2339-06AF-5FF4-565F5F04FD4A}"/>
              </a:ext>
            </a:extLst>
          </p:cNvPr>
          <p:cNvPicPr>
            <a:picLocks noChangeAspect="1"/>
          </p:cNvPicPr>
          <p:nvPr/>
        </p:nvPicPr>
        <p:blipFill rotWithShape="1">
          <a:blip r:embed="rId5"/>
          <a:srcRect t="9823" b="17690"/>
          <a:stretch/>
        </p:blipFill>
        <p:spPr>
          <a:xfrm>
            <a:off x="8229600" y="5213975"/>
            <a:ext cx="2682472" cy="1193180"/>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2797446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F9A3E38-E042-0120-E87A-0D795AA74233}"/>
              </a:ext>
            </a:extLst>
          </p:cNvPr>
          <p:cNvSpPr>
            <a:spLocks noGrp="1"/>
          </p:cNvSpPr>
          <p:nvPr>
            <p:ph type="title"/>
          </p:nvPr>
        </p:nvSpPr>
        <p:spPr/>
        <p:txBody>
          <a:bodyPr/>
          <a:lstStyle/>
          <a:p>
            <a:endParaRPr lang="en-US"/>
          </a:p>
        </p:txBody>
      </p:sp>
      <p:pic>
        <p:nvPicPr>
          <p:cNvPr id="6" name="Picture 5" descr="A blue and red striped background">
            <a:extLst>
              <a:ext uri="{FF2B5EF4-FFF2-40B4-BE49-F238E27FC236}">
                <a16:creationId xmlns:a16="http://schemas.microsoft.com/office/drawing/2014/main" id="{42B036E5-1E5A-799E-93D2-E08705EA417C}"/>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91997" cy="2088705"/>
          </a:xfrm>
          <a:prstGeom prst="rect">
            <a:avLst/>
          </a:prstGeom>
        </p:spPr>
      </p:pic>
      <p:pic>
        <p:nvPicPr>
          <p:cNvPr id="2052" name="Picture 4" descr="Questions Blue Images – Browse 131,523 Stock Photos, Vectors, and Video |  Adobe Stock">
            <a:extLst>
              <a:ext uri="{FF2B5EF4-FFF2-40B4-BE49-F238E27FC236}">
                <a16:creationId xmlns:a16="http://schemas.microsoft.com/office/drawing/2014/main" id="{C5CCF3C1-FCE8-95CA-597B-78D7DC7B26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2656" y="2134066"/>
            <a:ext cx="7806688" cy="2999368"/>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8" name="Slide Number Placeholder 7">
            <a:extLst>
              <a:ext uri="{FF2B5EF4-FFF2-40B4-BE49-F238E27FC236}">
                <a16:creationId xmlns:a16="http://schemas.microsoft.com/office/drawing/2014/main" id="{203AABAB-3589-698C-014A-EF0669760E7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CFFA4C-0D1C-425F-BB04-E50ADD4A39B0}"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FAD1D01C-7CEF-25E0-1F2B-AAB2BD7271D6}"/>
              </a:ext>
            </a:extLst>
          </p:cNvPr>
          <p:cNvPicPr>
            <a:picLocks noChangeAspect="1"/>
          </p:cNvPicPr>
          <p:nvPr/>
        </p:nvPicPr>
        <p:blipFill rotWithShape="1">
          <a:blip r:embed="rId4"/>
          <a:srcRect t="9823" b="17690"/>
          <a:stretch/>
        </p:blipFill>
        <p:spPr>
          <a:xfrm>
            <a:off x="8610600" y="5514274"/>
            <a:ext cx="2200057" cy="97859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extLst>
      <p:ext uri="{BB962C8B-B14F-4D97-AF65-F5344CB8AC3E}">
        <p14:creationId xmlns:p14="http://schemas.microsoft.com/office/powerpoint/2010/main" val="11733220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808EF-E329-9BE6-A4F4-769DB5EACA68}"/>
              </a:ext>
            </a:extLst>
          </p:cNvPr>
          <p:cNvSpPr>
            <a:spLocks noGrp="1"/>
          </p:cNvSpPr>
          <p:nvPr>
            <p:ph type="title"/>
          </p:nvPr>
        </p:nvSpPr>
        <p:spPr/>
        <p:txBody>
          <a:bodyPr/>
          <a:lstStyle/>
          <a:p>
            <a:r>
              <a:rPr lang="en-US" dirty="0">
                <a:latin typeface="Tahoma" panose="020B0604030504040204" pitchFamily="34" charset="0"/>
              </a:rPr>
              <a:t>BEAD Process for Washington and Pennsylvania</a:t>
            </a:r>
          </a:p>
        </p:txBody>
      </p:sp>
      <p:sp>
        <p:nvSpPr>
          <p:cNvPr id="3" name="Content Placeholder 2">
            <a:extLst>
              <a:ext uri="{FF2B5EF4-FFF2-40B4-BE49-F238E27FC236}">
                <a16:creationId xmlns:a16="http://schemas.microsoft.com/office/drawing/2014/main" id="{64373178-A450-FCA0-7BD6-8034A4728F65}"/>
              </a:ext>
            </a:extLst>
          </p:cNvPr>
          <p:cNvSpPr>
            <a:spLocks noGrp="1"/>
          </p:cNvSpPr>
          <p:nvPr>
            <p:ph sz="half" idx="1"/>
          </p:nvPr>
        </p:nvSpPr>
        <p:spPr/>
        <p:txBody>
          <a:bodyPr>
            <a:normAutofit fontScale="92500" lnSpcReduction="10000"/>
          </a:bodyPr>
          <a:lstStyle/>
          <a:p>
            <a:pPr marL="0" indent="0">
              <a:buNone/>
            </a:pPr>
            <a:r>
              <a:rPr lang="en-US" sz="2400" dirty="0">
                <a:latin typeface="Tahoma" panose="020B0604030504040204" pitchFamily="34" charset="0"/>
              </a:rPr>
              <a:t>Washington → </a:t>
            </a:r>
          </a:p>
          <a:p>
            <a:r>
              <a:rPr lang="en-US" dirty="0">
                <a:latin typeface="Tahoma" panose="020B0604030504040204" pitchFamily="34" charset="0"/>
              </a:rPr>
              <a:t>Vol. II approved on May 9, 2024</a:t>
            </a:r>
          </a:p>
          <a:p>
            <a:r>
              <a:rPr lang="en-US" dirty="0">
                <a:latin typeface="Tahoma" panose="020B0604030504040204" pitchFamily="34" charset="0"/>
              </a:rPr>
              <a:t>Challenge Process Final Determination (8/3)</a:t>
            </a:r>
          </a:p>
          <a:p>
            <a:r>
              <a:rPr lang="en-US" dirty="0">
                <a:latin typeface="Tahoma" panose="020B0604030504040204" pitchFamily="34" charset="0"/>
              </a:rPr>
              <a:t>No preapplication process</a:t>
            </a:r>
          </a:p>
          <a:p>
            <a:r>
              <a:rPr lang="en-US" dirty="0">
                <a:latin typeface="Tahoma" panose="020B0604030504040204" pitchFamily="34" charset="0"/>
              </a:rPr>
              <a:t>BEAD application</a:t>
            </a:r>
          </a:p>
          <a:p>
            <a:pPr lvl="1"/>
            <a:r>
              <a:rPr lang="en-US" dirty="0">
                <a:latin typeface="Tahoma" panose="020B0604030504040204" pitchFamily="34" charset="0"/>
              </a:rPr>
              <a:t>Round 1 Application (60 days)</a:t>
            </a:r>
          </a:p>
          <a:p>
            <a:pPr lvl="1"/>
            <a:r>
              <a:rPr lang="en-US" dirty="0">
                <a:latin typeface="Tahoma" panose="020B0604030504040204" pitchFamily="34" charset="0"/>
              </a:rPr>
              <a:t>Round 1 Application Review (30 days)</a:t>
            </a:r>
          </a:p>
          <a:p>
            <a:pPr lvl="1"/>
            <a:r>
              <a:rPr lang="en-US" dirty="0">
                <a:latin typeface="Tahoma" panose="020B0604030504040204" pitchFamily="34" charset="0"/>
              </a:rPr>
              <a:t>Round 2 Application (60 days)*</a:t>
            </a:r>
          </a:p>
          <a:p>
            <a:pPr lvl="1"/>
            <a:r>
              <a:rPr lang="en-US" dirty="0">
                <a:latin typeface="Tahoma" panose="020B0604030504040204" pitchFamily="34" charset="0"/>
              </a:rPr>
              <a:t>Round 2 Application Review (30 days)*</a:t>
            </a:r>
          </a:p>
          <a:p>
            <a:pPr lvl="1"/>
            <a:r>
              <a:rPr lang="en-US" dirty="0">
                <a:latin typeface="Tahoma" panose="020B0604030504040204" pitchFamily="34" charset="0"/>
              </a:rPr>
              <a:t>Direct engagement (60 days)*</a:t>
            </a:r>
          </a:p>
          <a:p>
            <a:pPr lvl="1"/>
            <a:r>
              <a:rPr lang="en-US" dirty="0">
                <a:latin typeface="Tahoma" panose="020B0604030504040204" pitchFamily="34" charset="0"/>
              </a:rPr>
              <a:t>Draft awards (30 days)</a:t>
            </a:r>
          </a:p>
          <a:p>
            <a:pPr lvl="1"/>
            <a:endParaRPr lang="en-US" dirty="0"/>
          </a:p>
        </p:txBody>
      </p:sp>
      <p:sp>
        <p:nvSpPr>
          <p:cNvPr id="4" name="Content Placeholder 3">
            <a:extLst>
              <a:ext uri="{FF2B5EF4-FFF2-40B4-BE49-F238E27FC236}">
                <a16:creationId xmlns:a16="http://schemas.microsoft.com/office/drawing/2014/main" id="{2CCF304C-793E-F29E-4109-8368E3A23EF0}"/>
              </a:ext>
            </a:extLst>
          </p:cNvPr>
          <p:cNvSpPr>
            <a:spLocks noGrp="1"/>
          </p:cNvSpPr>
          <p:nvPr>
            <p:ph sz="half" idx="2"/>
          </p:nvPr>
        </p:nvSpPr>
        <p:spPr/>
        <p:txBody>
          <a:bodyPr>
            <a:normAutofit lnSpcReduction="10000"/>
          </a:bodyPr>
          <a:lstStyle/>
          <a:p>
            <a:pPr marL="0" indent="0">
              <a:buNone/>
            </a:pPr>
            <a:r>
              <a:rPr lang="en-US" sz="2400" dirty="0">
                <a:latin typeface="Tahoma" panose="020B0604030504040204" pitchFamily="34" charset="0"/>
              </a:rPr>
              <a:t>Pennsylvania →</a:t>
            </a:r>
          </a:p>
          <a:p>
            <a:r>
              <a:rPr lang="en-US" sz="1900" dirty="0">
                <a:latin typeface="Tahoma" panose="020B0604030504040204" pitchFamily="34" charset="0"/>
              </a:rPr>
              <a:t>Vol. II approved on May 6, 2024</a:t>
            </a:r>
          </a:p>
          <a:p>
            <a:r>
              <a:rPr lang="en-US" sz="1900" dirty="0">
                <a:latin typeface="Tahoma" panose="020B0604030504040204" pitchFamily="34" charset="0"/>
              </a:rPr>
              <a:t>Challenge Process Complete (5/23)</a:t>
            </a:r>
          </a:p>
          <a:p>
            <a:r>
              <a:rPr lang="en-US" sz="1900" dirty="0">
                <a:latin typeface="Tahoma" panose="020B0604030504040204" pitchFamily="34" charset="0"/>
              </a:rPr>
              <a:t>Preapplication process </a:t>
            </a:r>
          </a:p>
          <a:p>
            <a:r>
              <a:rPr lang="en-US" sz="1900" dirty="0">
                <a:latin typeface="Tahoma" panose="020B0604030504040204" pitchFamily="34" charset="0"/>
              </a:rPr>
              <a:t>BEAD application – October/November</a:t>
            </a:r>
          </a:p>
          <a:p>
            <a:pPr lvl="1"/>
            <a:r>
              <a:rPr lang="en-US" sz="1900" dirty="0">
                <a:latin typeface="Tahoma" panose="020B0604030504040204" pitchFamily="34" charset="0"/>
              </a:rPr>
              <a:t>Round 1 Application (60 Days)</a:t>
            </a:r>
          </a:p>
          <a:p>
            <a:pPr lvl="1"/>
            <a:r>
              <a:rPr lang="en-US" sz="1900" dirty="0">
                <a:latin typeface="Tahoma" panose="020B0604030504040204" pitchFamily="34" charset="0"/>
              </a:rPr>
              <a:t>Round 1 Application Review (49 Days)</a:t>
            </a:r>
          </a:p>
          <a:p>
            <a:pPr lvl="1"/>
            <a:r>
              <a:rPr lang="en-US" sz="1900" dirty="0">
                <a:latin typeface="Tahoma" panose="020B0604030504040204" pitchFamily="34" charset="0"/>
              </a:rPr>
              <a:t>Round 2 Application (60 Days)</a:t>
            </a:r>
          </a:p>
          <a:p>
            <a:pPr lvl="1"/>
            <a:r>
              <a:rPr lang="en-US" sz="1900" dirty="0">
                <a:latin typeface="Tahoma" panose="020B0604030504040204" pitchFamily="34" charset="0"/>
              </a:rPr>
              <a:t>Round 2 Application Review (60 Days)</a:t>
            </a:r>
          </a:p>
          <a:p>
            <a:pPr lvl="1"/>
            <a:r>
              <a:rPr lang="en-US" sz="1900" dirty="0">
                <a:latin typeface="Tahoma" panose="020B0604030504040204" pitchFamily="34" charset="0"/>
              </a:rPr>
              <a:t>Drafting of the Final Proposal (60 Days)</a:t>
            </a:r>
          </a:p>
        </p:txBody>
      </p:sp>
      <p:sp>
        <p:nvSpPr>
          <p:cNvPr id="5" name="TextBox 4">
            <a:extLst>
              <a:ext uri="{FF2B5EF4-FFF2-40B4-BE49-F238E27FC236}">
                <a16:creationId xmlns:a16="http://schemas.microsoft.com/office/drawing/2014/main" id="{5E5C5F77-A6CC-AC7F-AFD9-041A535D6063}"/>
              </a:ext>
            </a:extLst>
          </p:cNvPr>
          <p:cNvSpPr txBox="1"/>
          <p:nvPr/>
        </p:nvSpPr>
        <p:spPr>
          <a:xfrm>
            <a:off x="462708" y="5218545"/>
            <a:ext cx="432172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Lato4" panose="020F0302020204030203" pitchFamily="34" charset="77"/>
                <a:ea typeface="+mn-ea"/>
                <a:cs typeface="+mn-cs"/>
              </a:rPr>
              <a:t>*If project areas are left over</a:t>
            </a:r>
          </a:p>
        </p:txBody>
      </p:sp>
    </p:spTree>
    <p:extLst>
      <p:ext uri="{BB962C8B-B14F-4D97-AF65-F5344CB8AC3E}">
        <p14:creationId xmlns:p14="http://schemas.microsoft.com/office/powerpoint/2010/main" val="35927522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9D52C-76A3-03A4-37E9-2D007586A12C}"/>
              </a:ext>
            </a:extLst>
          </p:cNvPr>
          <p:cNvSpPr>
            <a:spLocks noGrp="1"/>
          </p:cNvSpPr>
          <p:nvPr>
            <p:ph type="title"/>
          </p:nvPr>
        </p:nvSpPr>
        <p:spPr/>
        <p:txBody>
          <a:bodyPr/>
          <a:lstStyle/>
          <a:p>
            <a:r>
              <a:rPr lang="en-US" dirty="0">
                <a:latin typeface="Tahoma" panose="020B0604030504040204" pitchFamily="34" charset="0"/>
              </a:rPr>
              <a:t>BEAD Preapplication</a:t>
            </a:r>
          </a:p>
        </p:txBody>
      </p:sp>
      <p:sp>
        <p:nvSpPr>
          <p:cNvPr id="3" name="Content Placeholder 2">
            <a:extLst>
              <a:ext uri="{FF2B5EF4-FFF2-40B4-BE49-F238E27FC236}">
                <a16:creationId xmlns:a16="http://schemas.microsoft.com/office/drawing/2014/main" id="{CC66E567-611D-60F7-0AD5-1EDF94BE3643}"/>
              </a:ext>
            </a:extLst>
          </p:cNvPr>
          <p:cNvSpPr>
            <a:spLocks noGrp="1"/>
          </p:cNvSpPr>
          <p:nvPr>
            <p:ph idx="1"/>
          </p:nvPr>
        </p:nvSpPr>
        <p:spPr>
          <a:xfrm>
            <a:off x="838199" y="1333042"/>
            <a:ext cx="7659758" cy="4041598"/>
          </a:xfrm>
        </p:spPr>
        <p:txBody>
          <a:bodyPr/>
          <a:lstStyle/>
          <a:p>
            <a:r>
              <a:rPr lang="en-US" dirty="0">
                <a:latin typeface="Tahoma" panose="020B0604030504040204" pitchFamily="34" charset="0"/>
              </a:rPr>
              <a:t>The </a:t>
            </a:r>
            <a:r>
              <a:rPr lang="en-US" b="1" dirty="0">
                <a:latin typeface="Tahoma" panose="020B0604030504040204" pitchFamily="34" charset="0"/>
              </a:rPr>
              <a:t>preapplication process/prequalification/preregistration process</a:t>
            </a:r>
          </a:p>
          <a:p>
            <a:pPr lvl="1"/>
            <a:r>
              <a:rPr lang="en-US" dirty="0">
                <a:latin typeface="Tahoma" panose="020B0604030504040204" pitchFamily="34" charset="0"/>
              </a:rPr>
              <a:t>Will allow applicants to submit information to demonstrate their eligibility and capacity to compete for grants to expand broadband infrastructure to Target Locations in the state using BEAD funding. </a:t>
            </a:r>
          </a:p>
          <a:p>
            <a:pPr lvl="1"/>
            <a:r>
              <a:rPr lang="en-US" dirty="0">
                <a:latin typeface="Tahoma" panose="020B0604030504040204" pitchFamily="34" charset="0"/>
              </a:rPr>
              <a:t>Meant to streamline the application process and review of proposed projects.</a:t>
            </a:r>
          </a:p>
          <a:p>
            <a:pPr lvl="1"/>
            <a:r>
              <a:rPr lang="en-US" dirty="0">
                <a:latin typeface="Tahoma" panose="020B0604030504040204" pitchFamily="34" charset="0"/>
              </a:rPr>
              <a:t>In some states it is elective, while in others it is mandatory</a:t>
            </a:r>
          </a:p>
          <a:p>
            <a:r>
              <a:rPr lang="en-US" dirty="0" err="1">
                <a:latin typeface="Tahoma" panose="020B0604030504040204" pitchFamily="34" charset="0"/>
              </a:rPr>
              <a:t>Tarana</a:t>
            </a:r>
            <a:r>
              <a:rPr lang="en-US" dirty="0">
                <a:latin typeface="Tahoma" panose="020B0604030504040204" pitchFamily="34" charset="0"/>
              </a:rPr>
              <a:t> Wireless </a:t>
            </a:r>
            <a:r>
              <a:rPr lang="en-US" b="1" u="sng" dirty="0">
                <a:latin typeface="Tahoma" panose="020B0604030504040204" pitchFamily="34" charset="0"/>
              </a:rPr>
              <a:t>STRONGLY</a:t>
            </a:r>
            <a:r>
              <a:rPr lang="en-US" dirty="0">
                <a:latin typeface="Tahoma" panose="020B0604030504040204" pitchFamily="34" charset="0"/>
              </a:rPr>
              <a:t> encourages you to begin the process of putting together your BEAD preapplication now.</a:t>
            </a:r>
          </a:p>
        </p:txBody>
      </p:sp>
      <p:pic>
        <p:nvPicPr>
          <p:cNvPr id="5" name="Picture 4" descr="A black background with white lines&#10;&#10;Description automatically generated">
            <a:extLst>
              <a:ext uri="{FF2B5EF4-FFF2-40B4-BE49-F238E27FC236}">
                <a16:creationId xmlns:a16="http://schemas.microsoft.com/office/drawing/2014/main" id="{F3CC6368-DAA9-7701-5AA5-95A08443C762}"/>
              </a:ext>
            </a:extLst>
          </p:cNvPr>
          <p:cNvPicPr>
            <a:picLocks noChangeAspect="1"/>
          </p:cNvPicPr>
          <p:nvPr/>
        </p:nvPicPr>
        <p:blipFill>
          <a:blip r:embed="rId2"/>
          <a:stretch>
            <a:fillRect/>
          </a:stretch>
        </p:blipFill>
        <p:spPr>
          <a:xfrm>
            <a:off x="9000455" y="1760650"/>
            <a:ext cx="2453540" cy="2453540"/>
          </a:xfrm>
          <a:prstGeom prst="rect">
            <a:avLst/>
          </a:prstGeom>
        </p:spPr>
      </p:pic>
    </p:spTree>
    <p:extLst>
      <p:ext uri="{BB962C8B-B14F-4D97-AF65-F5344CB8AC3E}">
        <p14:creationId xmlns:p14="http://schemas.microsoft.com/office/powerpoint/2010/main" val="35167024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EB5C69-FE32-B081-F3B1-7828F29DDA3D}"/>
              </a:ext>
            </a:extLst>
          </p:cNvPr>
          <p:cNvSpPr>
            <a:spLocks noGrp="1"/>
          </p:cNvSpPr>
          <p:nvPr>
            <p:ph type="title"/>
          </p:nvPr>
        </p:nvSpPr>
        <p:spPr/>
        <p:txBody>
          <a:bodyPr/>
          <a:lstStyle/>
          <a:p>
            <a:r>
              <a:rPr lang="en-US" dirty="0"/>
              <a:t>Pennsylvania – Next-Generation Networks</a:t>
            </a:r>
          </a:p>
        </p:txBody>
      </p:sp>
      <p:pic>
        <p:nvPicPr>
          <p:cNvPr id="5" name="Picture 4">
            <a:extLst>
              <a:ext uri="{FF2B5EF4-FFF2-40B4-BE49-F238E27FC236}">
                <a16:creationId xmlns:a16="http://schemas.microsoft.com/office/drawing/2014/main" id="{317AA41E-CCA5-5139-4527-7FFD59363860}"/>
              </a:ext>
            </a:extLst>
          </p:cNvPr>
          <p:cNvPicPr>
            <a:picLocks noChangeAspect="1"/>
          </p:cNvPicPr>
          <p:nvPr/>
        </p:nvPicPr>
        <p:blipFill>
          <a:blip r:embed="rId2"/>
          <a:stretch>
            <a:fillRect/>
          </a:stretch>
        </p:blipFill>
        <p:spPr>
          <a:xfrm>
            <a:off x="2112165" y="1234740"/>
            <a:ext cx="7592175" cy="2760791"/>
          </a:xfrm>
          <a:prstGeom prst="rect">
            <a:avLst/>
          </a:prstGeom>
        </p:spPr>
      </p:pic>
      <p:sp>
        <p:nvSpPr>
          <p:cNvPr id="6" name="TextBox 5">
            <a:extLst>
              <a:ext uri="{FF2B5EF4-FFF2-40B4-BE49-F238E27FC236}">
                <a16:creationId xmlns:a16="http://schemas.microsoft.com/office/drawing/2014/main" id="{74F5B24E-48AD-10F2-355B-1E756DF49834}"/>
              </a:ext>
            </a:extLst>
          </p:cNvPr>
          <p:cNvSpPr txBox="1"/>
          <p:nvPr/>
        </p:nvSpPr>
        <p:spPr>
          <a:xfrm>
            <a:off x="3274382" y="3995531"/>
            <a:ext cx="526773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ennsylvania IP Vol. II (NTIA Approved), pg. 2</a:t>
            </a:r>
          </a:p>
        </p:txBody>
      </p:sp>
    </p:spTree>
    <p:extLst>
      <p:ext uri="{BB962C8B-B14F-4D97-AF65-F5344CB8AC3E}">
        <p14:creationId xmlns:p14="http://schemas.microsoft.com/office/powerpoint/2010/main" val="23931056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40F42-0F10-56F7-4E9A-C1E3B6E2DA8B}"/>
              </a:ext>
            </a:extLst>
          </p:cNvPr>
          <p:cNvSpPr>
            <a:spLocks noGrp="1"/>
          </p:cNvSpPr>
          <p:nvPr>
            <p:ph type="title"/>
          </p:nvPr>
        </p:nvSpPr>
        <p:spPr/>
        <p:txBody>
          <a:bodyPr/>
          <a:lstStyle/>
          <a:p>
            <a:r>
              <a:rPr lang="en-US" dirty="0"/>
              <a:t>Pennsylvania – Enforcing the EHCPLT</a:t>
            </a:r>
          </a:p>
        </p:txBody>
      </p:sp>
      <p:pic>
        <p:nvPicPr>
          <p:cNvPr id="5" name="Picture 4">
            <a:extLst>
              <a:ext uri="{FF2B5EF4-FFF2-40B4-BE49-F238E27FC236}">
                <a16:creationId xmlns:a16="http://schemas.microsoft.com/office/drawing/2014/main" id="{75AA59B2-095B-DE0E-643A-2D23053F9E91}"/>
              </a:ext>
            </a:extLst>
          </p:cNvPr>
          <p:cNvPicPr>
            <a:picLocks noChangeAspect="1"/>
          </p:cNvPicPr>
          <p:nvPr/>
        </p:nvPicPr>
        <p:blipFill>
          <a:blip r:embed="rId2"/>
          <a:stretch>
            <a:fillRect/>
          </a:stretch>
        </p:blipFill>
        <p:spPr>
          <a:xfrm>
            <a:off x="1669629" y="1381125"/>
            <a:ext cx="8477250" cy="2047875"/>
          </a:xfrm>
          <a:prstGeom prst="rect">
            <a:avLst/>
          </a:prstGeom>
        </p:spPr>
      </p:pic>
      <p:sp>
        <p:nvSpPr>
          <p:cNvPr id="8" name="TextBox 7">
            <a:extLst>
              <a:ext uri="{FF2B5EF4-FFF2-40B4-BE49-F238E27FC236}">
                <a16:creationId xmlns:a16="http://schemas.microsoft.com/office/drawing/2014/main" id="{1E680949-8F90-2141-8608-1C355961C8D3}"/>
              </a:ext>
            </a:extLst>
          </p:cNvPr>
          <p:cNvSpPr txBox="1"/>
          <p:nvPr/>
        </p:nvSpPr>
        <p:spPr>
          <a:xfrm>
            <a:off x="2859426" y="3429000"/>
            <a:ext cx="609765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ennsylvania IP Vol. II (NTIA Approved), pg. 37</a:t>
            </a:r>
          </a:p>
        </p:txBody>
      </p:sp>
    </p:spTree>
    <p:extLst>
      <p:ext uri="{BB962C8B-B14F-4D97-AF65-F5344CB8AC3E}">
        <p14:creationId xmlns:p14="http://schemas.microsoft.com/office/powerpoint/2010/main" val="26379191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C4293-019D-3ADA-E6E2-0065D535DFA5}"/>
              </a:ext>
            </a:extLst>
          </p:cNvPr>
          <p:cNvSpPr>
            <a:spLocks noGrp="1"/>
          </p:cNvSpPr>
          <p:nvPr>
            <p:ph type="title"/>
          </p:nvPr>
        </p:nvSpPr>
        <p:spPr/>
        <p:txBody>
          <a:bodyPr/>
          <a:lstStyle/>
          <a:p>
            <a:r>
              <a:rPr lang="en-US" dirty="0">
                <a:latin typeface="Tahoma" panose="020B0604030504040204" pitchFamily="34" charset="0"/>
              </a:rPr>
              <a:t>Preapplication Process - Pennsylvania</a:t>
            </a:r>
          </a:p>
        </p:txBody>
      </p:sp>
      <p:sp>
        <p:nvSpPr>
          <p:cNvPr id="3" name="Content Placeholder 2">
            <a:extLst>
              <a:ext uri="{FF2B5EF4-FFF2-40B4-BE49-F238E27FC236}">
                <a16:creationId xmlns:a16="http://schemas.microsoft.com/office/drawing/2014/main" id="{7F62AD6E-0107-656A-0232-B558CF6E5750}"/>
              </a:ext>
            </a:extLst>
          </p:cNvPr>
          <p:cNvSpPr>
            <a:spLocks noGrp="1"/>
          </p:cNvSpPr>
          <p:nvPr>
            <p:ph idx="1"/>
          </p:nvPr>
        </p:nvSpPr>
        <p:spPr>
          <a:xfrm>
            <a:off x="838200" y="1333042"/>
            <a:ext cx="8385313" cy="4041598"/>
          </a:xfrm>
        </p:spPr>
        <p:txBody>
          <a:bodyPr>
            <a:normAutofit fontScale="92500" lnSpcReduction="10000"/>
          </a:bodyPr>
          <a:lstStyle/>
          <a:p>
            <a:r>
              <a:rPr lang="en-US" dirty="0">
                <a:latin typeface="Tahoma" panose="020B0604030504040204" pitchFamily="34" charset="0"/>
              </a:rPr>
              <a:t>Pennsylvania (90 days)</a:t>
            </a:r>
          </a:p>
          <a:p>
            <a:pPr lvl="1"/>
            <a:r>
              <a:rPr lang="en-US" dirty="0">
                <a:latin typeface="Tahoma" panose="020B0604030504040204" pitchFamily="34" charset="0"/>
              </a:rPr>
              <a:t>Preliminary screening application</a:t>
            </a:r>
          </a:p>
          <a:p>
            <a:pPr lvl="2"/>
            <a:r>
              <a:rPr lang="en-US" dirty="0">
                <a:latin typeface="Tahoma" panose="020B0604030504040204" pitchFamily="34" charset="0"/>
              </a:rPr>
              <a:t>Audited financial information for 3 years prior to application</a:t>
            </a:r>
          </a:p>
          <a:p>
            <a:pPr lvl="2"/>
            <a:r>
              <a:rPr lang="en-US" dirty="0">
                <a:latin typeface="Tahoma" panose="020B0604030504040204" pitchFamily="34" charset="0"/>
              </a:rPr>
              <a:t>Revised PBDA-supplied.csv: Indication of proposed BSLs to be served and (optional) cost to serve each BSL</a:t>
            </a:r>
          </a:p>
          <a:p>
            <a:pPr lvl="2"/>
            <a:r>
              <a:rPr lang="en-US" dirty="0">
                <a:latin typeface="Tahoma" panose="020B0604030504040204" pitchFamily="34" charset="0"/>
              </a:rPr>
              <a:t>Proposed technology</a:t>
            </a:r>
          </a:p>
          <a:p>
            <a:pPr lvl="2"/>
            <a:r>
              <a:rPr lang="en-US" dirty="0">
                <a:latin typeface="Tahoma" panose="020B0604030504040204" pitchFamily="34" charset="0"/>
              </a:rPr>
              <a:t>Proposed speeds</a:t>
            </a:r>
          </a:p>
          <a:p>
            <a:pPr lvl="2"/>
            <a:r>
              <a:rPr lang="en-US" dirty="0">
                <a:latin typeface="Tahoma" panose="020B0604030504040204" pitchFamily="34" charset="0"/>
              </a:rPr>
              <a:t>Proposed monthly subscription cost</a:t>
            </a:r>
          </a:p>
          <a:p>
            <a:pPr lvl="2"/>
            <a:r>
              <a:rPr lang="en-US" dirty="0">
                <a:latin typeface="Tahoma" panose="020B0604030504040204" pitchFamily="34" charset="0"/>
              </a:rPr>
              <a:t>Proposed cost per passing</a:t>
            </a:r>
          </a:p>
          <a:p>
            <a:pPr lvl="2"/>
            <a:r>
              <a:rPr lang="en-US" dirty="0">
                <a:latin typeface="Tahoma" panose="020B0604030504040204" pitchFamily="34" charset="0"/>
              </a:rPr>
              <a:t>Proposed project total cost</a:t>
            </a:r>
          </a:p>
          <a:p>
            <a:pPr lvl="2"/>
            <a:r>
              <a:rPr lang="en-US" dirty="0">
                <a:latin typeface="Tahoma" panose="020B0604030504040204" pitchFamily="34" charset="0"/>
              </a:rPr>
              <a:t>Proposed matching</a:t>
            </a:r>
          </a:p>
          <a:p>
            <a:pPr lvl="2"/>
            <a:r>
              <a:rPr lang="en-US" dirty="0">
                <a:latin typeface="Tahoma" panose="020B0604030504040204" pitchFamily="34" charset="0"/>
              </a:rPr>
              <a:t>Match commitment letter</a:t>
            </a:r>
          </a:p>
          <a:p>
            <a:pPr lvl="1"/>
            <a:r>
              <a:rPr lang="en-US" dirty="0">
                <a:latin typeface="Tahoma" panose="020B0604030504040204" pitchFamily="34" charset="0"/>
              </a:rPr>
              <a:t>Upon conclusion of preliminary screening application review, the PBDA will then authorize successful applicants to submit a final application</a:t>
            </a:r>
          </a:p>
        </p:txBody>
      </p:sp>
      <p:sp>
        <p:nvSpPr>
          <p:cNvPr id="4" name="AutoShape 2" descr="Pennsylvania Broadband Development Authority - Home">
            <a:extLst>
              <a:ext uri="{FF2B5EF4-FFF2-40B4-BE49-F238E27FC236}">
                <a16:creationId xmlns:a16="http://schemas.microsoft.com/office/drawing/2014/main" id="{7DDAA19A-D36F-1652-8B5E-6AC017504D8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6" name="Picture 5" descr="A black background with a black square&#10;&#10;Description automatically generated with medium confidence">
            <a:extLst>
              <a:ext uri="{FF2B5EF4-FFF2-40B4-BE49-F238E27FC236}">
                <a16:creationId xmlns:a16="http://schemas.microsoft.com/office/drawing/2014/main" id="{68CD4DA6-3278-8231-97E2-B539C1484EDB}"/>
              </a:ext>
            </a:extLst>
          </p:cNvPr>
          <p:cNvPicPr>
            <a:picLocks noChangeAspect="1"/>
          </p:cNvPicPr>
          <p:nvPr/>
        </p:nvPicPr>
        <p:blipFill>
          <a:blip r:embed="rId3"/>
          <a:stretch>
            <a:fillRect/>
          </a:stretch>
        </p:blipFill>
        <p:spPr>
          <a:xfrm>
            <a:off x="8905460" y="1483360"/>
            <a:ext cx="2448340" cy="2448340"/>
          </a:xfrm>
          <a:prstGeom prst="rect">
            <a:avLst/>
          </a:prstGeom>
        </p:spPr>
      </p:pic>
    </p:spTree>
    <p:extLst>
      <p:ext uri="{BB962C8B-B14F-4D97-AF65-F5344CB8AC3E}">
        <p14:creationId xmlns:p14="http://schemas.microsoft.com/office/powerpoint/2010/main" val="31292756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1. White">
  <a:themeElements>
    <a:clrScheme name="Nokia 2.0">
      <a:dk1>
        <a:srgbClr val="001135"/>
      </a:dk1>
      <a:lt1>
        <a:srgbClr val="FFFFFF"/>
      </a:lt1>
      <a:dk2>
        <a:srgbClr val="666666"/>
      </a:dk2>
      <a:lt2>
        <a:srgbClr val="EBEBEB"/>
      </a:lt2>
      <a:accent1>
        <a:srgbClr val="005AFF"/>
      </a:accent1>
      <a:accent2>
        <a:srgbClr val="23ABB6"/>
      </a:accent2>
      <a:accent3>
        <a:srgbClr val="37CC73"/>
      </a:accent3>
      <a:accent4>
        <a:srgbClr val="F47F31"/>
      </a:accent4>
      <a:accent5>
        <a:srgbClr val="E03DCD"/>
      </a:accent5>
      <a:accent6>
        <a:srgbClr val="7D33F2"/>
      </a:accent6>
      <a:hlink>
        <a:srgbClr val="001135"/>
      </a:hlink>
      <a:folHlink>
        <a:srgbClr val="005AFF"/>
      </a:folHlink>
    </a:clrScheme>
    <a:fontScheme name="Nokia fonts 2023">
      <a:majorFont>
        <a:latin typeface="Nokia Pure Headline Light"/>
        <a:ea typeface=""/>
        <a:cs typeface=""/>
      </a:majorFont>
      <a:minorFont>
        <a:latin typeface="Nokia Pure Text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Aft>
            <a:spcPts val="0"/>
          </a:spcAft>
          <a:buSzPct val="100000"/>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noAutofit/>
      </a:bodyPr>
      <a:lstStyle>
        <a:defPPr marL="0" marR="0" indent="0" algn="l" defTabSz="180000" rtl="0" eaLnBrk="1" fontAlgn="auto" latinLnBrk="0" hangingPunct="1">
          <a:lnSpc>
            <a:spcPct val="100000"/>
          </a:lnSpc>
          <a:spcBef>
            <a:spcPts val="0"/>
          </a:spcBef>
          <a:spcAft>
            <a:spcPts val="0"/>
          </a:spcAft>
          <a:buClrTx/>
          <a:buSzTx/>
          <a:buFont typeface="+mj-lt"/>
          <a:buNone/>
          <a:tabLst>
            <a:tab pos="180000" algn="l"/>
          </a:tabLst>
          <a:defRPr kumimoji="0" sz="1200" b="0" i="0" u="none" strike="noStrike" kern="1200" cap="none" spc="0" normalizeH="0" baseline="0" noProof="0" dirty="0" smtClean="0">
            <a:ln>
              <a:noFill/>
            </a:ln>
            <a:solidFill>
              <a:schemeClr val="tx1"/>
            </a:solidFill>
            <a:effectLst/>
            <a:uLnTx/>
            <a:uFillTx/>
            <a:latin typeface="Nokia Pure Text Light"/>
            <a:ea typeface="+mn-ea"/>
            <a:cs typeface="+mn-cs"/>
          </a:defRPr>
        </a:defPPr>
      </a:lstStyle>
    </a:txDef>
  </a:objectDefaults>
  <a:extraClrSchemeLst/>
  <a:extLst>
    <a:ext uri="{05A4C25C-085E-4340-85A3-A5531E510DB2}">
      <thm15:themeFamily xmlns:thm15="http://schemas.microsoft.com/office/thememl/2012/main" name="Nokia 2023 - PowerPoint template v2.1.potx" id="{27821F35-33F1-48B5-99FB-3E69840039D8}" vid="{2B6959B6-4CB4-42A2-A6A8-D6E11151AED6}"/>
    </a:ext>
  </a:extLst>
</a:theme>
</file>

<file path=ppt/theme/theme2.xml><?xml version="1.0" encoding="utf-8"?>
<a:theme xmlns:a="http://schemas.openxmlformats.org/drawingml/2006/main" name="1. White">
  <a:themeElements>
    <a:clrScheme name="Nokia 2.0">
      <a:dk1>
        <a:srgbClr val="001135"/>
      </a:dk1>
      <a:lt1>
        <a:srgbClr val="FFFFFF"/>
      </a:lt1>
      <a:dk2>
        <a:srgbClr val="666666"/>
      </a:dk2>
      <a:lt2>
        <a:srgbClr val="EBEBEB"/>
      </a:lt2>
      <a:accent1>
        <a:srgbClr val="005AFF"/>
      </a:accent1>
      <a:accent2>
        <a:srgbClr val="23ABB6"/>
      </a:accent2>
      <a:accent3>
        <a:srgbClr val="37CC73"/>
      </a:accent3>
      <a:accent4>
        <a:srgbClr val="F47F31"/>
      </a:accent4>
      <a:accent5>
        <a:srgbClr val="E03DCD"/>
      </a:accent5>
      <a:accent6>
        <a:srgbClr val="7D33F2"/>
      </a:accent6>
      <a:hlink>
        <a:srgbClr val="001135"/>
      </a:hlink>
      <a:folHlink>
        <a:srgbClr val="005AFF"/>
      </a:folHlink>
    </a:clrScheme>
    <a:fontScheme name="Nokia fonts 2023">
      <a:majorFont>
        <a:latin typeface="Nokia Pure Headline Light"/>
        <a:ea typeface=""/>
        <a:cs typeface=""/>
      </a:majorFont>
      <a:minorFont>
        <a:latin typeface="Nokia Pure Text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Aft>
            <a:spcPts val="0"/>
          </a:spcAft>
          <a:buSzPct val="100000"/>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noAutofit/>
      </a:bodyPr>
      <a:lstStyle>
        <a:defPPr marL="0" marR="0" indent="0" algn="l" defTabSz="180000" rtl="0" eaLnBrk="1" fontAlgn="auto" latinLnBrk="0" hangingPunct="1">
          <a:lnSpc>
            <a:spcPct val="100000"/>
          </a:lnSpc>
          <a:spcBef>
            <a:spcPts val="0"/>
          </a:spcBef>
          <a:spcAft>
            <a:spcPts val="0"/>
          </a:spcAft>
          <a:buClrTx/>
          <a:buSzTx/>
          <a:buFont typeface="+mj-lt"/>
          <a:buNone/>
          <a:tabLst>
            <a:tab pos="180000" algn="l"/>
          </a:tabLst>
          <a:defRPr kumimoji="0" sz="1200" b="0" i="0" u="none" strike="noStrike" kern="1200" cap="none" spc="0" normalizeH="0" baseline="0" noProof="0" dirty="0" smtClean="0">
            <a:ln>
              <a:noFill/>
            </a:ln>
            <a:solidFill>
              <a:schemeClr val="tx1"/>
            </a:solidFill>
            <a:effectLst/>
            <a:uLnTx/>
            <a:uFillTx/>
            <a:latin typeface="Nokia Pure Text Light"/>
            <a:ea typeface="+mn-ea"/>
            <a:cs typeface="+mn-cs"/>
          </a:defRPr>
        </a:defPPr>
      </a:lstStyle>
    </a:txDef>
  </a:objectDefaults>
  <a:extraClrSchemeLst/>
  <a:extLst>
    <a:ext uri="{05A4C25C-085E-4340-85A3-A5531E510DB2}">
      <thm15:themeFamily xmlns:thm15="http://schemas.microsoft.com/office/thememl/2012/main" name="Nokia 2023 - PowerPoint template v2.1" id="{1E8D131C-C33C-2A46-8876-1C46E1BB7B85}" vid="{DE7A3C37-1D37-664B-8DD8-21697ECEC01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RetrospectVTI">
  <a:themeElements>
    <a:clrScheme name="New Colors">
      <a:dk1>
        <a:sysClr val="windowText" lastClr="000000"/>
      </a:dk1>
      <a:lt1>
        <a:sysClr val="window" lastClr="FFFFFF"/>
      </a:lt1>
      <a:dk2>
        <a:srgbClr val="2679A0"/>
      </a:dk2>
      <a:lt2>
        <a:srgbClr val="D9E0E6"/>
      </a:lt2>
      <a:accent1>
        <a:srgbClr val="1CBCFB"/>
      </a:accent1>
      <a:accent2>
        <a:srgbClr val="2679A0"/>
      </a:accent2>
      <a:accent3>
        <a:srgbClr val="8CD2FD"/>
      </a:accent3>
      <a:accent4>
        <a:srgbClr val="FBD21C"/>
      </a:accent4>
      <a:accent5>
        <a:srgbClr val="000000"/>
      </a:accent5>
      <a:accent6>
        <a:srgbClr val="D9E0E6"/>
      </a:accent6>
      <a:hlink>
        <a:srgbClr val="1CBCFB"/>
      </a:hlink>
      <a:folHlink>
        <a:srgbClr val="FBD21C"/>
      </a:folHlink>
    </a:clrScheme>
    <a:fontScheme name="Custom 3">
      <a:majorFont>
        <a:latin typeface="Avenir Next LT Pro Demi"/>
        <a:ea typeface=""/>
        <a:cs typeface=""/>
      </a:majorFont>
      <a:minorFont>
        <a:latin typeface="Avenir Next LT Pro"/>
        <a:ea typeface=""/>
        <a:cs typeface=""/>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Classic Company All Hands_Win32_MS v3" id="{1F352A5D-0EBE-49A2-9FF7-DEF81AB6F3C6}" vid="{D35781EA-2188-4D84-8966-791644CE1346}"/>
    </a:ext>
  </a:extLst>
</a:theme>
</file>

<file path=ppt/theme/theme7.xml><?xml version="1.0" encoding="utf-8"?>
<a:theme xmlns:a="http://schemas.openxmlformats.org/drawingml/2006/main" name="1_Tarana Theme">
  <a:themeElements>
    <a:clrScheme name="Tarana">
      <a:dk1>
        <a:srgbClr val="000000"/>
      </a:dk1>
      <a:lt1>
        <a:srgbClr val="FFFFFF"/>
      </a:lt1>
      <a:dk2>
        <a:srgbClr val="44546A"/>
      </a:dk2>
      <a:lt2>
        <a:srgbClr val="E7E6E6"/>
      </a:lt2>
      <a:accent1>
        <a:srgbClr val="0367A9"/>
      </a:accent1>
      <a:accent2>
        <a:srgbClr val="D65527"/>
      </a:accent2>
      <a:accent3>
        <a:srgbClr val="A5A5A5"/>
      </a:accent3>
      <a:accent4>
        <a:srgbClr val="FFC000"/>
      </a:accent4>
      <a:accent5>
        <a:srgbClr val="00417D"/>
      </a:accent5>
      <a:accent6>
        <a:srgbClr val="B0CDE3"/>
      </a:accent6>
      <a:hlink>
        <a:srgbClr val="0367A9"/>
      </a:hlink>
      <a:folHlink>
        <a:srgbClr val="B3B5B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err="1" smtClean="0">
            <a:latin typeface="Lato4" panose="020F0302020204030203" pitchFamily="34" charset="77"/>
          </a:defRPr>
        </a:defPPr>
      </a:lstStyle>
    </a:txDef>
  </a:objectDefaults>
  <a:extraClrSchemeLst/>
  <a:extLst>
    <a:ext uri="{05A4C25C-085E-4340-85A3-A5531E510DB2}">
      <thm15:themeFamily xmlns:thm15="http://schemas.microsoft.com/office/thememl/2012/main" name="Presentation6" id="{7F886D00-4A42-0444-AF33-DB74D69BC595}" vid="{AEDE3E19-C11C-814D-A9A7-8FB531EA0D7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5d471751-9675-428d-917b-70f44f9630b0}" enabled="0" method="" siteId="{5d471751-9675-428d-917b-70f44f9630b0}" removed="1"/>
</clbl:labelList>
</file>

<file path=docProps/app.xml><?xml version="1.0" encoding="utf-8"?>
<Properties xmlns="http://schemas.openxmlformats.org/officeDocument/2006/extended-properties" xmlns:vt="http://schemas.openxmlformats.org/officeDocument/2006/docPropsVTypes">
  <TotalTime>2917</TotalTime>
  <Words>2475</Words>
  <Application>Microsoft Office PowerPoint</Application>
  <PresentationFormat>Widescreen</PresentationFormat>
  <Paragraphs>380</Paragraphs>
  <Slides>43</Slides>
  <Notes>27</Notes>
  <HiddenSlides>0</HiddenSlides>
  <MMClips>0</MMClips>
  <ScaleCrop>false</ScaleCrop>
  <HeadingPairs>
    <vt:vector size="8" baseType="variant">
      <vt:variant>
        <vt:lpstr>Fonts Used</vt:lpstr>
      </vt:variant>
      <vt:variant>
        <vt:i4>22</vt:i4>
      </vt:variant>
      <vt:variant>
        <vt:lpstr>Theme</vt:lpstr>
      </vt:variant>
      <vt:variant>
        <vt:i4>7</vt:i4>
      </vt:variant>
      <vt:variant>
        <vt:lpstr>Embedded OLE Servers</vt:lpstr>
      </vt:variant>
      <vt:variant>
        <vt:i4>1</vt:i4>
      </vt:variant>
      <vt:variant>
        <vt:lpstr>Slide Titles</vt:lpstr>
      </vt:variant>
      <vt:variant>
        <vt:i4>43</vt:i4>
      </vt:variant>
    </vt:vector>
  </HeadingPairs>
  <TitlesOfParts>
    <vt:vector size="73" baseType="lpstr">
      <vt:lpstr>.PingFang SC Regular</vt:lpstr>
      <vt:lpstr>Aptos</vt:lpstr>
      <vt:lpstr>Aptos Display</vt:lpstr>
      <vt:lpstr>Arial</vt:lpstr>
      <vt:lpstr>Avenir Next LT Pro</vt:lpstr>
      <vt:lpstr>Avenir Next LT Pro Demi</vt:lpstr>
      <vt:lpstr>Calibri</vt:lpstr>
      <vt:lpstr>Calibri Light</vt:lpstr>
      <vt:lpstr>Courier New</vt:lpstr>
      <vt:lpstr>Encode Sans Semi Expanded Light</vt:lpstr>
      <vt:lpstr>Encode Sans SemiBold</vt:lpstr>
      <vt:lpstr>Lato Light</vt:lpstr>
      <vt:lpstr>Lato4</vt:lpstr>
      <vt:lpstr>Montserrat</vt:lpstr>
      <vt:lpstr>Nokia Pure Headline Light</vt:lpstr>
      <vt:lpstr>Nokia Pure Headline Ultra Light</vt:lpstr>
      <vt:lpstr>Nokia Pure Text</vt:lpstr>
      <vt:lpstr>Nokia Pure Text Light</vt:lpstr>
      <vt:lpstr>Segoe UI</vt:lpstr>
      <vt:lpstr>System Font Regular</vt:lpstr>
      <vt:lpstr>Tahoma</vt:lpstr>
      <vt:lpstr>Wingdings</vt:lpstr>
      <vt:lpstr>3_1. White</vt:lpstr>
      <vt:lpstr>1. White</vt:lpstr>
      <vt:lpstr>Office Theme</vt:lpstr>
      <vt:lpstr>1_Office Theme</vt:lpstr>
      <vt:lpstr>2_Office Theme</vt:lpstr>
      <vt:lpstr>RetrospectVTI</vt:lpstr>
      <vt:lpstr>1_Tarana Theme</vt:lpstr>
      <vt:lpstr>think-cell Slide</vt:lpstr>
      <vt:lpstr>PowerPoint Presentation</vt:lpstr>
      <vt:lpstr>WEBINAR’S AGENDA</vt:lpstr>
      <vt:lpstr>First Movers Webinar: Pennsylvania and Washington</vt:lpstr>
      <vt:lpstr>Why Washington and Pennsylvania?</vt:lpstr>
      <vt:lpstr>BEAD Process for Washington and Pennsylvania</vt:lpstr>
      <vt:lpstr>BEAD Preapplication</vt:lpstr>
      <vt:lpstr>Pennsylvania – Next-Generation Networks</vt:lpstr>
      <vt:lpstr>Pennsylvania – Enforcing the EHCPLT</vt:lpstr>
      <vt:lpstr>Preapplication Process - Pennsylvania</vt:lpstr>
      <vt:lpstr>Pennsylvania Scoring Criteria – Non-Priority Projects</vt:lpstr>
      <vt:lpstr>Washington Scoring Criteria – Non-Priority Projects (100 pts Max.</vt:lpstr>
      <vt:lpstr>Washington Scoring Criteria – Hybrid Technology Project Bids</vt:lpstr>
      <vt:lpstr>Considering ngFWA for your BEAD strategy</vt:lpstr>
      <vt:lpstr>Our Engagement with SBOs has been extensive and productive</vt:lpstr>
      <vt:lpstr>Live Tech Demos: Washington &amp; Pennsylvania</vt:lpstr>
      <vt:lpstr>Winncom BEAD Strategy &amp; Services</vt:lpstr>
      <vt:lpstr>PowerPoint Presentation</vt:lpstr>
      <vt:lpstr>Network Planning  &amp;  Design</vt:lpstr>
      <vt:lpstr>PowerPoint Presentation</vt:lpstr>
      <vt:lpstr>Exist Technology</vt:lpstr>
      <vt:lpstr>Ookla Qualifying Broadband Speeds</vt:lpstr>
      <vt:lpstr>Previous Government Funding</vt:lpstr>
      <vt:lpstr>PowerPoint Presentation</vt:lpstr>
      <vt:lpstr>Winncom Enhanced Services</vt:lpstr>
      <vt:lpstr>Enhanced Services: High-Level Fiber Design</vt:lpstr>
      <vt:lpstr>WHERE, WHAT and HOW MUCH To Bid?</vt:lpstr>
      <vt:lpstr>The WHERE</vt:lpstr>
      <vt:lpstr>The NETWORK</vt:lpstr>
      <vt:lpstr>The MONEY (Pro Forma)</vt:lpstr>
      <vt:lpstr>Supporting  Analytics</vt:lpstr>
      <vt:lpstr>HOW Can We Do This?</vt:lpstr>
      <vt:lpstr>Grant Writing Service</vt:lpstr>
      <vt:lpstr>Winncom Grant Writing Services</vt:lpstr>
      <vt:lpstr>PowerPoint Presentation</vt:lpstr>
      <vt:lpstr>Application Overview</vt:lpstr>
      <vt:lpstr>Timeline Estimates</vt:lpstr>
      <vt:lpstr>Professional Engineering Services</vt:lpstr>
      <vt:lpstr>PowerPoint Presentation</vt:lpstr>
      <vt:lpstr>PowerPoint Presentation</vt:lpstr>
      <vt:lpstr>PowerPoint Presentation</vt:lpstr>
      <vt:lpstr>Winncom BEAD Portal</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ri Adams (Nokia)</dc:creator>
  <cp:lastModifiedBy>Alex Cernik</cp:lastModifiedBy>
  <cp:revision>7</cp:revision>
  <dcterms:created xsi:type="dcterms:W3CDTF">2024-05-23T19:43:25Z</dcterms:created>
  <dcterms:modified xsi:type="dcterms:W3CDTF">2024-07-18T17:14:38Z</dcterms:modified>
</cp:coreProperties>
</file>